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763" r:id="rId2"/>
    <p:sldMasterId id="2147483800" r:id="rId3"/>
    <p:sldMasterId id="2147483818" r:id="rId4"/>
    <p:sldMasterId id="2147483862" r:id="rId5"/>
  </p:sldMasterIdLst>
  <p:notesMasterIdLst>
    <p:notesMasterId r:id="rId48"/>
  </p:notesMasterIdLst>
  <p:handoutMasterIdLst>
    <p:handoutMasterId r:id="rId49"/>
  </p:handoutMasterIdLst>
  <p:sldIdLst>
    <p:sldId id="276" r:id="rId6"/>
    <p:sldId id="281" r:id="rId7"/>
    <p:sldId id="338" r:id="rId8"/>
    <p:sldId id="274" r:id="rId9"/>
    <p:sldId id="348" r:id="rId10"/>
    <p:sldId id="340" r:id="rId11"/>
    <p:sldId id="339" r:id="rId12"/>
    <p:sldId id="341" r:id="rId13"/>
    <p:sldId id="342" r:id="rId14"/>
    <p:sldId id="349" r:id="rId15"/>
    <p:sldId id="275" r:id="rId16"/>
    <p:sldId id="277" r:id="rId17"/>
    <p:sldId id="256" r:id="rId18"/>
    <p:sldId id="428" r:id="rId19"/>
    <p:sldId id="430" r:id="rId20"/>
    <p:sldId id="431" r:id="rId21"/>
    <p:sldId id="328" r:id="rId22"/>
    <p:sldId id="1087" r:id="rId23"/>
    <p:sldId id="1071" r:id="rId24"/>
    <p:sldId id="937" r:id="rId25"/>
    <p:sldId id="948" r:id="rId26"/>
    <p:sldId id="1082" r:id="rId27"/>
    <p:sldId id="1075" r:id="rId28"/>
    <p:sldId id="1076" r:id="rId29"/>
    <p:sldId id="1085" r:id="rId30"/>
    <p:sldId id="1081" r:id="rId31"/>
    <p:sldId id="949" r:id="rId32"/>
    <p:sldId id="938" r:id="rId33"/>
    <p:sldId id="1072" r:id="rId34"/>
    <p:sldId id="1083" r:id="rId35"/>
    <p:sldId id="1086" r:id="rId36"/>
    <p:sldId id="282" r:id="rId37"/>
    <p:sldId id="351" r:id="rId38"/>
    <p:sldId id="284" r:id="rId39"/>
    <p:sldId id="347" r:id="rId40"/>
    <p:sldId id="287" r:id="rId41"/>
    <p:sldId id="278" r:id="rId42"/>
    <p:sldId id="286" r:id="rId43"/>
    <p:sldId id="290" r:id="rId44"/>
    <p:sldId id="289" r:id="rId45"/>
    <p:sldId id="337" r:id="rId46"/>
    <p:sldId id="279" r:id="rId47"/>
  </p:sldIdLst>
  <p:sldSz cx="12192000" cy="6858000"/>
  <p:notesSz cx="7099300" cy="10234613"/>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0B576A84-9ED3-40B1-93E7-842FBFFBC1D9}">
          <p14:sldIdLst>
            <p14:sldId id="276"/>
            <p14:sldId id="281"/>
            <p14:sldId id="338"/>
            <p14:sldId id="274"/>
            <p14:sldId id="348"/>
            <p14:sldId id="340"/>
            <p14:sldId id="339"/>
            <p14:sldId id="341"/>
            <p14:sldId id="342"/>
            <p14:sldId id="349"/>
            <p14:sldId id="275"/>
            <p14:sldId id="277"/>
            <p14:sldId id="256"/>
            <p14:sldId id="428"/>
            <p14:sldId id="430"/>
            <p14:sldId id="431"/>
            <p14:sldId id="328"/>
            <p14:sldId id="1087"/>
            <p14:sldId id="1071"/>
            <p14:sldId id="937"/>
            <p14:sldId id="948"/>
            <p14:sldId id="1082"/>
            <p14:sldId id="1075"/>
            <p14:sldId id="1076"/>
            <p14:sldId id="1085"/>
            <p14:sldId id="1081"/>
            <p14:sldId id="949"/>
            <p14:sldId id="938"/>
            <p14:sldId id="1072"/>
            <p14:sldId id="1083"/>
            <p14:sldId id="1086"/>
          </p14:sldIdLst>
        </p14:section>
        <p14:section name="Handout Pitch Deck" id="{364DF9F5-68AB-8B4E-86CE-7677B5AF18EB}">
          <p14:sldIdLst>
            <p14:sldId id="282"/>
            <p14:sldId id="351"/>
            <p14:sldId id="284"/>
            <p14:sldId id="347"/>
            <p14:sldId id="287"/>
            <p14:sldId id="278"/>
            <p14:sldId id="286"/>
            <p14:sldId id="290"/>
            <p14:sldId id="289"/>
            <p14:sldId id="337"/>
            <p14:sldId id="279"/>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üller, Michael" initials="MM" lastIdx="10" clrIdx="0">
    <p:extLst>
      <p:ext uri="{19B8F6BF-5375-455C-9EA6-DF929625EA0E}">
        <p15:presenceInfo xmlns:p15="http://schemas.microsoft.com/office/powerpoint/2012/main" userId="Müller, Michael" providerId="None"/>
      </p:ext>
    </p:extLst>
  </p:cmAuthor>
  <p:cmAuthor id="2" name="Coskina, Paradiso" initials="CP" lastIdx="9" clrIdx="1">
    <p:extLst>
      <p:ext uri="{19B8F6BF-5375-455C-9EA6-DF929625EA0E}">
        <p15:presenceInfo xmlns:p15="http://schemas.microsoft.com/office/powerpoint/2012/main" userId="Coskina, Paradiso" providerId="None"/>
      </p:ext>
    </p:extLst>
  </p:cmAuthor>
  <p:cmAuthor id="3" name="Günther, Denise" initials="GD" lastIdx="2" clrIdx="2">
    <p:extLst>
      <p:ext uri="{19B8F6BF-5375-455C-9EA6-DF929625EA0E}">
        <p15:presenceInfo xmlns:p15="http://schemas.microsoft.com/office/powerpoint/2012/main" userId="S-1-5-21-1470310658-615973273-11539462-9994" providerId="AD"/>
      </p:ext>
    </p:extLst>
  </p:cmAuthor>
  <p:cmAuthor id="4" name="IRu, IVA2" initials="IRu" lastIdx="3" clrIdx="3">
    <p:extLst>
      <p:ext uri="{19B8F6BF-5375-455C-9EA6-DF929625EA0E}">
        <p15:presenceInfo xmlns:p15="http://schemas.microsoft.com/office/powerpoint/2012/main" userId="IRu, IVA2"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BDE22"/>
    <a:srgbClr val="FFFFFF"/>
    <a:srgbClr val="878787"/>
    <a:srgbClr val="DDD1E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73" autoAdjust="0"/>
    <p:restoredTop sz="96927" autoAdjust="0"/>
  </p:normalViewPr>
  <p:slideViewPr>
    <p:cSldViewPr showGuides="1">
      <p:cViewPr varScale="1">
        <p:scale>
          <a:sx n="127" d="100"/>
          <a:sy n="127" d="100"/>
        </p:scale>
        <p:origin x="156" y="20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p:scale>
          <a:sx n="86" d="100"/>
          <a:sy n="86" d="100"/>
        </p:scale>
        <p:origin x="4176" y="-53"/>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commentAuthors" Target="commentAuthor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5.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s>
</file>

<file path=ppt/comments/comment1.xml><?xml version="1.0" encoding="utf-8"?>
<p:cmLst xmlns:a="http://schemas.openxmlformats.org/drawingml/2006/main" xmlns:r="http://schemas.openxmlformats.org/officeDocument/2006/relationships" xmlns:p="http://schemas.openxmlformats.org/presentationml/2006/main">
  <p:cm authorId="4" dt="2025-06-20T17:23:19.767" idx="1">
    <p:pos x="10" y="10"/>
    <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10A9696-6A3F-4F1A-B8E9-595B4141A0E6}" type="doc">
      <dgm:prSet loTypeId="urn:microsoft.com/office/officeart/2008/layout/AlternatingHexagons" loCatId="list" qsTypeId="urn:microsoft.com/office/officeart/2005/8/quickstyle/simple1" qsCatId="simple" csTypeId="urn:microsoft.com/office/officeart/2005/8/colors/accent0_3" csCatId="mainScheme" phldr="1"/>
      <dgm:spPr/>
      <dgm:t>
        <a:bodyPr/>
        <a:lstStyle/>
        <a:p>
          <a:endParaRPr lang="de-DE"/>
        </a:p>
      </dgm:t>
    </dgm:pt>
    <dgm:pt modelId="{59CF5AE8-35C4-4CF2-9068-649AD14BC640}">
      <dgm:prSet phldrT="[Text]" custT="1"/>
      <dgm:spPr/>
      <dgm:t>
        <a:bodyPr/>
        <a:lstStyle/>
        <a:p>
          <a:r>
            <a:rPr lang="de-DE" sz="1400" dirty="0"/>
            <a:t>4x </a:t>
          </a:r>
          <a:br>
            <a:rPr lang="de-DE" sz="1400" dirty="0"/>
          </a:br>
          <a:r>
            <a:rPr lang="de-DE" sz="1400" dirty="0"/>
            <a:t>Wasser-stoff</a:t>
          </a:r>
        </a:p>
      </dgm:t>
    </dgm:pt>
    <dgm:pt modelId="{7E0538D3-4590-43CC-96FB-F1A23B5956E5}" type="parTrans" cxnId="{C92A4B35-B0E1-4E70-94D5-66023B514C2A}">
      <dgm:prSet/>
      <dgm:spPr/>
      <dgm:t>
        <a:bodyPr/>
        <a:lstStyle/>
        <a:p>
          <a:endParaRPr lang="de-DE"/>
        </a:p>
      </dgm:t>
    </dgm:pt>
    <dgm:pt modelId="{4B9E3336-E564-408B-AB45-59B385399036}" type="sibTrans" cxnId="{C92A4B35-B0E1-4E70-94D5-66023B514C2A}">
      <dgm:prSet custT="1"/>
      <dgm:spPr/>
      <dgm:t>
        <a:bodyPr/>
        <a:lstStyle/>
        <a:p>
          <a:r>
            <a:rPr lang="de-DE" sz="1400" dirty="0"/>
            <a:t>2x </a:t>
          </a:r>
          <a:br>
            <a:rPr lang="de-DE" sz="1400" dirty="0"/>
          </a:br>
          <a:r>
            <a:rPr lang="de-DE" sz="1400" dirty="0"/>
            <a:t>Mikro-elektronik</a:t>
          </a:r>
        </a:p>
      </dgm:t>
    </dgm:pt>
    <dgm:pt modelId="{0524E486-E652-4A76-9CF1-E9FC8D770A6B}">
      <dgm:prSet phldrT="[Text]" custT="1"/>
      <dgm:spPr/>
      <dgm:t>
        <a:bodyPr/>
        <a:lstStyle/>
        <a:p>
          <a:r>
            <a:rPr lang="de-DE" sz="1400" dirty="0"/>
            <a:t>2x Batterie-zellen</a:t>
          </a:r>
        </a:p>
      </dgm:t>
    </dgm:pt>
    <dgm:pt modelId="{52E217F9-96E6-4304-AA5D-16743253C64A}" type="parTrans" cxnId="{5904606B-80FE-4D6A-A330-48C30FF6B895}">
      <dgm:prSet/>
      <dgm:spPr/>
      <dgm:t>
        <a:bodyPr/>
        <a:lstStyle/>
        <a:p>
          <a:endParaRPr lang="de-DE"/>
        </a:p>
      </dgm:t>
    </dgm:pt>
    <dgm:pt modelId="{3BC75725-B729-4F9A-9264-1FC7170A62FD}" type="sibTrans" cxnId="{5904606B-80FE-4D6A-A330-48C30FF6B895}">
      <dgm:prSet custT="1"/>
      <dgm:spPr/>
      <dgm:t>
        <a:bodyPr/>
        <a:lstStyle/>
        <a:p>
          <a:r>
            <a:rPr lang="de-DE" sz="1300" dirty="0"/>
            <a:t>1x </a:t>
          </a:r>
          <a:br>
            <a:rPr lang="de-DE" sz="1300" dirty="0"/>
          </a:br>
          <a:r>
            <a:rPr lang="de-DE" sz="1400" dirty="0"/>
            <a:t>Cloud-Infrastruktur</a:t>
          </a:r>
        </a:p>
      </dgm:t>
    </dgm:pt>
    <dgm:pt modelId="{BE6DB211-18E5-4452-8CEC-3076A701B15C}">
      <dgm:prSet phldrT="[Text]" custT="1"/>
      <dgm:spPr/>
      <dgm:t>
        <a:bodyPr/>
        <a:lstStyle/>
        <a:p>
          <a:r>
            <a:rPr lang="de-DE" sz="1400" dirty="0"/>
            <a:t>Weitere in Konzeption</a:t>
          </a:r>
        </a:p>
      </dgm:t>
    </dgm:pt>
    <dgm:pt modelId="{8CD82F1E-A09C-4892-ABEB-AFA72FB92605}" type="parTrans" cxnId="{251793DB-A472-432E-B50F-B1B5ACED135A}">
      <dgm:prSet/>
      <dgm:spPr/>
      <dgm:t>
        <a:bodyPr/>
        <a:lstStyle/>
        <a:p>
          <a:endParaRPr lang="de-DE"/>
        </a:p>
      </dgm:t>
    </dgm:pt>
    <dgm:pt modelId="{3C5E2498-AEBF-47DE-9EEF-F242ECB03322}" type="sibTrans" cxnId="{251793DB-A472-432E-B50F-B1B5ACED135A}">
      <dgm:prSet custT="1"/>
      <dgm:spPr/>
      <dgm:t>
        <a:bodyPr/>
        <a:lstStyle/>
        <a:p>
          <a:r>
            <a:rPr lang="de-DE" sz="1400" dirty="0"/>
            <a:t>1x </a:t>
          </a:r>
          <a:br>
            <a:rPr lang="de-DE" sz="1400" dirty="0"/>
          </a:br>
          <a:r>
            <a:rPr lang="de-DE" sz="1400" dirty="0"/>
            <a:t>Medizin</a:t>
          </a:r>
        </a:p>
      </dgm:t>
    </dgm:pt>
    <dgm:pt modelId="{B6BBE2D2-B9EA-4433-85A0-A0DEDE3D4DF0}" type="pres">
      <dgm:prSet presAssocID="{710A9696-6A3F-4F1A-B8E9-595B4141A0E6}" presName="Name0" presStyleCnt="0">
        <dgm:presLayoutVars>
          <dgm:chMax/>
          <dgm:chPref/>
          <dgm:dir/>
          <dgm:animLvl val="lvl"/>
        </dgm:presLayoutVars>
      </dgm:prSet>
      <dgm:spPr/>
    </dgm:pt>
    <dgm:pt modelId="{6C57E49E-388A-4A2B-9E38-347A47FCE540}" type="pres">
      <dgm:prSet presAssocID="{59CF5AE8-35C4-4CF2-9068-649AD14BC640}" presName="composite" presStyleCnt="0"/>
      <dgm:spPr/>
    </dgm:pt>
    <dgm:pt modelId="{7A385981-7724-4247-A147-38FB7BDD9928}" type="pres">
      <dgm:prSet presAssocID="{59CF5AE8-35C4-4CF2-9068-649AD14BC640}" presName="Parent1" presStyleLbl="node1" presStyleIdx="0" presStyleCnt="6">
        <dgm:presLayoutVars>
          <dgm:chMax val="1"/>
          <dgm:chPref val="1"/>
          <dgm:bulletEnabled val="1"/>
        </dgm:presLayoutVars>
      </dgm:prSet>
      <dgm:spPr/>
    </dgm:pt>
    <dgm:pt modelId="{F2B55FA7-CB1A-452E-A5B8-18F1CAE92FBF}" type="pres">
      <dgm:prSet presAssocID="{59CF5AE8-35C4-4CF2-9068-649AD14BC640}" presName="Childtext1" presStyleLbl="revTx" presStyleIdx="0" presStyleCnt="3" custLinFactX="-80146" custLinFactNeighborX="-100000" custLinFactNeighborY="1337">
        <dgm:presLayoutVars>
          <dgm:chMax val="0"/>
          <dgm:chPref val="0"/>
          <dgm:bulletEnabled val="1"/>
        </dgm:presLayoutVars>
      </dgm:prSet>
      <dgm:spPr/>
    </dgm:pt>
    <dgm:pt modelId="{348BEC79-479A-4FA0-A58D-494C902657B1}" type="pres">
      <dgm:prSet presAssocID="{59CF5AE8-35C4-4CF2-9068-649AD14BC640}" presName="BalanceSpacing" presStyleCnt="0"/>
      <dgm:spPr/>
    </dgm:pt>
    <dgm:pt modelId="{A270FFD6-47E0-439E-9123-57DD2FB3E4F9}" type="pres">
      <dgm:prSet presAssocID="{59CF5AE8-35C4-4CF2-9068-649AD14BC640}" presName="BalanceSpacing1" presStyleCnt="0"/>
      <dgm:spPr/>
    </dgm:pt>
    <dgm:pt modelId="{F0227C10-0A8B-4D67-B47B-E846A6E85A8D}" type="pres">
      <dgm:prSet presAssocID="{4B9E3336-E564-408B-AB45-59B385399036}" presName="Accent1Text" presStyleLbl="node1" presStyleIdx="1" presStyleCnt="6" custLinFactNeighborY="-3165"/>
      <dgm:spPr/>
    </dgm:pt>
    <dgm:pt modelId="{0FF940E7-6256-4DE3-B66D-CA8F4B0FF683}" type="pres">
      <dgm:prSet presAssocID="{4B9E3336-E564-408B-AB45-59B385399036}" presName="spaceBetweenRectangles" presStyleCnt="0"/>
      <dgm:spPr/>
    </dgm:pt>
    <dgm:pt modelId="{33387597-0890-4247-90D0-C7F6E1710ACA}" type="pres">
      <dgm:prSet presAssocID="{0524E486-E652-4A76-9CF1-E9FC8D770A6B}" presName="composite" presStyleCnt="0"/>
      <dgm:spPr/>
    </dgm:pt>
    <dgm:pt modelId="{650F0D3F-8013-4127-B1B4-CFB8AA6E2E7E}" type="pres">
      <dgm:prSet presAssocID="{0524E486-E652-4A76-9CF1-E9FC8D770A6B}" presName="Parent1" presStyleLbl="node1" presStyleIdx="2" presStyleCnt="6" custLinFactX="-10928" custLinFactNeighborX="-100000" custLinFactNeighborY="0">
        <dgm:presLayoutVars>
          <dgm:chMax val="1"/>
          <dgm:chPref val="1"/>
          <dgm:bulletEnabled val="1"/>
        </dgm:presLayoutVars>
      </dgm:prSet>
      <dgm:spPr/>
    </dgm:pt>
    <dgm:pt modelId="{A6D7AC76-1261-42A8-A0DC-761BEEDD8188}" type="pres">
      <dgm:prSet presAssocID="{0524E486-E652-4A76-9CF1-E9FC8D770A6B}" presName="Childtext1" presStyleLbl="revTx" presStyleIdx="1" presStyleCnt="3" custLinFactY="-37692" custLinFactNeighborX="52959" custLinFactNeighborY="-100000">
        <dgm:presLayoutVars>
          <dgm:chMax val="0"/>
          <dgm:chPref val="0"/>
          <dgm:bulletEnabled val="1"/>
        </dgm:presLayoutVars>
      </dgm:prSet>
      <dgm:spPr/>
    </dgm:pt>
    <dgm:pt modelId="{21ADF23A-FBB8-4CAC-AE89-F4ACFCF620A1}" type="pres">
      <dgm:prSet presAssocID="{0524E486-E652-4A76-9CF1-E9FC8D770A6B}" presName="BalanceSpacing" presStyleCnt="0"/>
      <dgm:spPr/>
    </dgm:pt>
    <dgm:pt modelId="{C15C6D7B-9C10-48AD-8CCA-87A87223DA00}" type="pres">
      <dgm:prSet presAssocID="{0524E486-E652-4A76-9CF1-E9FC8D770A6B}" presName="BalanceSpacing1" presStyleCnt="0"/>
      <dgm:spPr/>
    </dgm:pt>
    <dgm:pt modelId="{BD7B7FAC-794E-48FB-A793-0FE9D997F4DF}" type="pres">
      <dgm:prSet presAssocID="{3BC75725-B729-4F9A-9264-1FC7170A62FD}" presName="Accent1Text" presStyleLbl="node1" presStyleIdx="3" presStyleCnt="6"/>
      <dgm:spPr/>
    </dgm:pt>
    <dgm:pt modelId="{12D8A6C2-B85A-4577-9808-E7A6AE1A6722}" type="pres">
      <dgm:prSet presAssocID="{3BC75725-B729-4F9A-9264-1FC7170A62FD}" presName="spaceBetweenRectangles" presStyleCnt="0"/>
      <dgm:spPr/>
    </dgm:pt>
    <dgm:pt modelId="{92962B3A-98E6-43FE-A6D9-C34EED792823}" type="pres">
      <dgm:prSet presAssocID="{BE6DB211-18E5-4452-8CEC-3076A701B15C}" presName="composite" presStyleCnt="0"/>
      <dgm:spPr/>
    </dgm:pt>
    <dgm:pt modelId="{6E6C4929-A395-423B-9E08-0A77AE579D0E}" type="pres">
      <dgm:prSet presAssocID="{BE6DB211-18E5-4452-8CEC-3076A701B15C}" presName="Parent1" presStyleLbl="node1" presStyleIdx="4" presStyleCnt="6">
        <dgm:presLayoutVars>
          <dgm:chMax val="1"/>
          <dgm:chPref val="1"/>
          <dgm:bulletEnabled val="1"/>
        </dgm:presLayoutVars>
      </dgm:prSet>
      <dgm:spPr/>
    </dgm:pt>
    <dgm:pt modelId="{056A4670-E92D-444D-97A1-606CA2EE65DB}" type="pres">
      <dgm:prSet presAssocID="{BE6DB211-18E5-4452-8CEC-3076A701B15C}" presName="Childtext1" presStyleLbl="revTx" presStyleIdx="2" presStyleCnt="3">
        <dgm:presLayoutVars>
          <dgm:chMax val="0"/>
          <dgm:chPref val="0"/>
          <dgm:bulletEnabled val="1"/>
        </dgm:presLayoutVars>
      </dgm:prSet>
      <dgm:spPr/>
    </dgm:pt>
    <dgm:pt modelId="{DE062958-3CCD-4F8B-ACE8-A9470FC2E3C3}" type="pres">
      <dgm:prSet presAssocID="{BE6DB211-18E5-4452-8CEC-3076A701B15C}" presName="BalanceSpacing" presStyleCnt="0"/>
      <dgm:spPr/>
    </dgm:pt>
    <dgm:pt modelId="{A45156C3-260A-49F7-9ABA-1185C430B921}" type="pres">
      <dgm:prSet presAssocID="{BE6DB211-18E5-4452-8CEC-3076A701B15C}" presName="BalanceSpacing1" presStyleCnt="0"/>
      <dgm:spPr/>
    </dgm:pt>
    <dgm:pt modelId="{2C102149-4337-4741-87FB-ECD57B5C4C75}" type="pres">
      <dgm:prSet presAssocID="{3C5E2498-AEBF-47DE-9EEF-F242ECB03322}" presName="Accent1Text" presStyleLbl="node1" presStyleIdx="5" presStyleCnt="6"/>
      <dgm:spPr/>
    </dgm:pt>
  </dgm:ptLst>
  <dgm:cxnLst>
    <dgm:cxn modelId="{B91BE419-740F-4A3E-8A90-0B97195EF97D}" type="presOf" srcId="{710A9696-6A3F-4F1A-B8E9-595B4141A0E6}" destId="{B6BBE2D2-B9EA-4433-85A0-A0DEDE3D4DF0}" srcOrd="0" destOrd="0" presId="urn:microsoft.com/office/officeart/2008/layout/AlternatingHexagons"/>
    <dgm:cxn modelId="{C92A4B35-B0E1-4E70-94D5-66023B514C2A}" srcId="{710A9696-6A3F-4F1A-B8E9-595B4141A0E6}" destId="{59CF5AE8-35C4-4CF2-9068-649AD14BC640}" srcOrd="0" destOrd="0" parTransId="{7E0538D3-4590-43CC-96FB-F1A23B5956E5}" sibTransId="{4B9E3336-E564-408B-AB45-59B385399036}"/>
    <dgm:cxn modelId="{92FF803A-C1C0-42A4-9CD7-2808AC9921C0}" type="presOf" srcId="{3BC75725-B729-4F9A-9264-1FC7170A62FD}" destId="{BD7B7FAC-794E-48FB-A793-0FE9D997F4DF}" srcOrd="0" destOrd="0" presId="urn:microsoft.com/office/officeart/2008/layout/AlternatingHexagons"/>
    <dgm:cxn modelId="{97442161-1D2F-4AAB-B46B-45A1642F5913}" type="presOf" srcId="{4B9E3336-E564-408B-AB45-59B385399036}" destId="{F0227C10-0A8B-4D67-B47B-E846A6E85A8D}" srcOrd="0" destOrd="0" presId="urn:microsoft.com/office/officeart/2008/layout/AlternatingHexagons"/>
    <dgm:cxn modelId="{5904606B-80FE-4D6A-A330-48C30FF6B895}" srcId="{710A9696-6A3F-4F1A-B8E9-595B4141A0E6}" destId="{0524E486-E652-4A76-9CF1-E9FC8D770A6B}" srcOrd="1" destOrd="0" parTransId="{52E217F9-96E6-4304-AA5D-16743253C64A}" sibTransId="{3BC75725-B729-4F9A-9264-1FC7170A62FD}"/>
    <dgm:cxn modelId="{02BC6076-9BFF-4B9E-8E6B-21B35F65B275}" type="presOf" srcId="{0524E486-E652-4A76-9CF1-E9FC8D770A6B}" destId="{650F0D3F-8013-4127-B1B4-CFB8AA6E2E7E}" srcOrd="0" destOrd="0" presId="urn:microsoft.com/office/officeart/2008/layout/AlternatingHexagons"/>
    <dgm:cxn modelId="{D8060259-ECE6-42CA-BD91-49BA1AF3A16F}" type="presOf" srcId="{59CF5AE8-35C4-4CF2-9068-649AD14BC640}" destId="{7A385981-7724-4247-A147-38FB7BDD9928}" srcOrd="0" destOrd="0" presId="urn:microsoft.com/office/officeart/2008/layout/AlternatingHexagons"/>
    <dgm:cxn modelId="{251793DB-A472-432E-B50F-B1B5ACED135A}" srcId="{710A9696-6A3F-4F1A-B8E9-595B4141A0E6}" destId="{BE6DB211-18E5-4452-8CEC-3076A701B15C}" srcOrd="2" destOrd="0" parTransId="{8CD82F1E-A09C-4892-ABEB-AFA72FB92605}" sibTransId="{3C5E2498-AEBF-47DE-9EEF-F242ECB03322}"/>
    <dgm:cxn modelId="{497BC0E5-063D-4C3D-B1D0-D072964B82DC}" type="presOf" srcId="{BE6DB211-18E5-4452-8CEC-3076A701B15C}" destId="{6E6C4929-A395-423B-9E08-0A77AE579D0E}" srcOrd="0" destOrd="0" presId="urn:microsoft.com/office/officeart/2008/layout/AlternatingHexagons"/>
    <dgm:cxn modelId="{718F74F9-DF82-47B2-9A6E-9D5347FC094B}" type="presOf" srcId="{3C5E2498-AEBF-47DE-9EEF-F242ECB03322}" destId="{2C102149-4337-4741-87FB-ECD57B5C4C75}" srcOrd="0" destOrd="0" presId="urn:microsoft.com/office/officeart/2008/layout/AlternatingHexagons"/>
    <dgm:cxn modelId="{E48B1714-52A1-45BA-B852-1A76CF7A4DC1}" type="presParOf" srcId="{B6BBE2D2-B9EA-4433-85A0-A0DEDE3D4DF0}" destId="{6C57E49E-388A-4A2B-9E38-347A47FCE540}" srcOrd="0" destOrd="0" presId="urn:microsoft.com/office/officeart/2008/layout/AlternatingHexagons"/>
    <dgm:cxn modelId="{2ED96C0E-080A-494C-A0AA-F3BB9F7C848D}" type="presParOf" srcId="{6C57E49E-388A-4A2B-9E38-347A47FCE540}" destId="{7A385981-7724-4247-A147-38FB7BDD9928}" srcOrd="0" destOrd="0" presId="urn:microsoft.com/office/officeart/2008/layout/AlternatingHexagons"/>
    <dgm:cxn modelId="{34EF41ED-5751-444F-AA85-A37E117A7BDF}" type="presParOf" srcId="{6C57E49E-388A-4A2B-9E38-347A47FCE540}" destId="{F2B55FA7-CB1A-452E-A5B8-18F1CAE92FBF}" srcOrd="1" destOrd="0" presId="urn:microsoft.com/office/officeart/2008/layout/AlternatingHexagons"/>
    <dgm:cxn modelId="{9A356705-ABE8-44AA-9BB1-9880413C85A4}" type="presParOf" srcId="{6C57E49E-388A-4A2B-9E38-347A47FCE540}" destId="{348BEC79-479A-4FA0-A58D-494C902657B1}" srcOrd="2" destOrd="0" presId="urn:microsoft.com/office/officeart/2008/layout/AlternatingHexagons"/>
    <dgm:cxn modelId="{A25D2FA0-F5FA-4D16-B687-58E800411E1F}" type="presParOf" srcId="{6C57E49E-388A-4A2B-9E38-347A47FCE540}" destId="{A270FFD6-47E0-439E-9123-57DD2FB3E4F9}" srcOrd="3" destOrd="0" presId="urn:microsoft.com/office/officeart/2008/layout/AlternatingHexagons"/>
    <dgm:cxn modelId="{F2177CA9-BFFF-4015-88EF-8C0991559591}" type="presParOf" srcId="{6C57E49E-388A-4A2B-9E38-347A47FCE540}" destId="{F0227C10-0A8B-4D67-B47B-E846A6E85A8D}" srcOrd="4" destOrd="0" presId="urn:microsoft.com/office/officeart/2008/layout/AlternatingHexagons"/>
    <dgm:cxn modelId="{9A6D3D75-7329-493A-B160-097455E84B72}" type="presParOf" srcId="{B6BBE2D2-B9EA-4433-85A0-A0DEDE3D4DF0}" destId="{0FF940E7-6256-4DE3-B66D-CA8F4B0FF683}" srcOrd="1" destOrd="0" presId="urn:microsoft.com/office/officeart/2008/layout/AlternatingHexagons"/>
    <dgm:cxn modelId="{8A26D6CE-1D00-41E0-B6D8-7F476F92E3C2}" type="presParOf" srcId="{B6BBE2D2-B9EA-4433-85A0-A0DEDE3D4DF0}" destId="{33387597-0890-4247-90D0-C7F6E1710ACA}" srcOrd="2" destOrd="0" presId="urn:microsoft.com/office/officeart/2008/layout/AlternatingHexagons"/>
    <dgm:cxn modelId="{B25A0BD5-346D-4242-A6F3-C494ACBDA4A4}" type="presParOf" srcId="{33387597-0890-4247-90D0-C7F6E1710ACA}" destId="{650F0D3F-8013-4127-B1B4-CFB8AA6E2E7E}" srcOrd="0" destOrd="0" presId="urn:microsoft.com/office/officeart/2008/layout/AlternatingHexagons"/>
    <dgm:cxn modelId="{7ADFC348-3D10-4504-BBCB-6FC3EE627B77}" type="presParOf" srcId="{33387597-0890-4247-90D0-C7F6E1710ACA}" destId="{A6D7AC76-1261-42A8-A0DC-761BEEDD8188}" srcOrd="1" destOrd="0" presId="urn:microsoft.com/office/officeart/2008/layout/AlternatingHexagons"/>
    <dgm:cxn modelId="{0960516E-8D09-42E5-B177-B142C7972CB2}" type="presParOf" srcId="{33387597-0890-4247-90D0-C7F6E1710ACA}" destId="{21ADF23A-FBB8-4CAC-AE89-F4ACFCF620A1}" srcOrd="2" destOrd="0" presId="urn:microsoft.com/office/officeart/2008/layout/AlternatingHexagons"/>
    <dgm:cxn modelId="{68D14DA8-1D08-4B70-AE95-088C5132BC11}" type="presParOf" srcId="{33387597-0890-4247-90D0-C7F6E1710ACA}" destId="{C15C6D7B-9C10-48AD-8CCA-87A87223DA00}" srcOrd="3" destOrd="0" presId="urn:microsoft.com/office/officeart/2008/layout/AlternatingHexagons"/>
    <dgm:cxn modelId="{C7EB3E06-8460-4309-BC18-0138BD1366E8}" type="presParOf" srcId="{33387597-0890-4247-90D0-C7F6E1710ACA}" destId="{BD7B7FAC-794E-48FB-A793-0FE9D997F4DF}" srcOrd="4" destOrd="0" presId="urn:microsoft.com/office/officeart/2008/layout/AlternatingHexagons"/>
    <dgm:cxn modelId="{D452BDF3-78D8-4ED0-8B81-512D42D049F0}" type="presParOf" srcId="{B6BBE2D2-B9EA-4433-85A0-A0DEDE3D4DF0}" destId="{12D8A6C2-B85A-4577-9808-E7A6AE1A6722}" srcOrd="3" destOrd="0" presId="urn:microsoft.com/office/officeart/2008/layout/AlternatingHexagons"/>
    <dgm:cxn modelId="{B5A28975-998D-4DDB-A3D3-3A14B039DD47}" type="presParOf" srcId="{B6BBE2D2-B9EA-4433-85A0-A0DEDE3D4DF0}" destId="{92962B3A-98E6-43FE-A6D9-C34EED792823}" srcOrd="4" destOrd="0" presId="urn:microsoft.com/office/officeart/2008/layout/AlternatingHexagons"/>
    <dgm:cxn modelId="{AA6A6700-014D-43FA-AF13-1A8CA851F1DE}" type="presParOf" srcId="{92962B3A-98E6-43FE-A6D9-C34EED792823}" destId="{6E6C4929-A395-423B-9E08-0A77AE579D0E}" srcOrd="0" destOrd="0" presId="urn:microsoft.com/office/officeart/2008/layout/AlternatingHexagons"/>
    <dgm:cxn modelId="{D0FE1786-3F94-4815-9C60-A371213C4A18}" type="presParOf" srcId="{92962B3A-98E6-43FE-A6D9-C34EED792823}" destId="{056A4670-E92D-444D-97A1-606CA2EE65DB}" srcOrd="1" destOrd="0" presId="urn:microsoft.com/office/officeart/2008/layout/AlternatingHexagons"/>
    <dgm:cxn modelId="{A70CB06C-B979-4DAD-9AAE-B66F18D0A63C}" type="presParOf" srcId="{92962B3A-98E6-43FE-A6D9-C34EED792823}" destId="{DE062958-3CCD-4F8B-ACE8-A9470FC2E3C3}" srcOrd="2" destOrd="0" presId="urn:microsoft.com/office/officeart/2008/layout/AlternatingHexagons"/>
    <dgm:cxn modelId="{BD1CC755-4B73-4A32-8B02-17B7703D0BD0}" type="presParOf" srcId="{92962B3A-98E6-43FE-A6D9-C34EED792823}" destId="{A45156C3-260A-49F7-9ABA-1185C430B921}" srcOrd="3" destOrd="0" presId="urn:microsoft.com/office/officeart/2008/layout/AlternatingHexagons"/>
    <dgm:cxn modelId="{983DE1A5-DBF4-47F4-9A82-87286B4F57BF}" type="presParOf" srcId="{92962B3A-98E6-43FE-A6D9-C34EED792823}" destId="{2C102149-4337-4741-87FB-ECD57B5C4C75}" srcOrd="4" destOrd="0" presId="urn:microsoft.com/office/officeart/2008/layout/AlternatingHexagon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D2CA4F7-04A8-495D-9CA2-A54ACA5CD489}"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IE"/>
        </a:p>
      </dgm:t>
    </dgm:pt>
    <dgm:pt modelId="{C03D33E2-78D5-4067-AF82-E5DBC7C5C205}">
      <dgm:prSet phldrT="[Text]" custT="1"/>
      <dgm:spPr/>
      <dgm:t>
        <a:bodyPr/>
        <a:lstStyle/>
        <a:p>
          <a:r>
            <a:rPr lang="de-DE" sz="1800" b="1"/>
            <a:t>Mitgliedstaaten identifizieren und konzipieren ein IPCEI</a:t>
          </a:r>
          <a:endParaRPr lang="en-IE" sz="1800" b="1"/>
        </a:p>
      </dgm:t>
    </dgm:pt>
    <dgm:pt modelId="{2CA92C88-BA5E-4922-BCCA-03BD16B42C36}" type="parTrans" cxnId="{C4A68D52-81DE-4FEA-9029-8F17A95B6F53}">
      <dgm:prSet/>
      <dgm:spPr/>
      <dgm:t>
        <a:bodyPr/>
        <a:lstStyle/>
        <a:p>
          <a:endParaRPr lang="en-IE"/>
        </a:p>
      </dgm:t>
    </dgm:pt>
    <dgm:pt modelId="{8B421E87-A9A2-4DFC-977A-F3ACBA175B72}" type="sibTrans" cxnId="{C4A68D52-81DE-4FEA-9029-8F17A95B6F53}">
      <dgm:prSet/>
      <dgm:spPr/>
      <dgm:t>
        <a:bodyPr/>
        <a:lstStyle/>
        <a:p>
          <a:endParaRPr lang="en-IE"/>
        </a:p>
      </dgm:t>
    </dgm:pt>
    <dgm:pt modelId="{024F2A57-2799-490B-A788-6B6B7B5DCA45}">
      <dgm:prSet phldrT="[Text]" custT="1"/>
      <dgm:spPr/>
      <dgm:t>
        <a:bodyPr/>
        <a:lstStyle/>
        <a:p>
          <a:r>
            <a:rPr lang="de-DE" sz="1800" b="1" noProof="0"/>
            <a:t>Mitgliedstaaten sammeln und wählen Projektvorschläge aus</a:t>
          </a:r>
        </a:p>
      </dgm:t>
    </dgm:pt>
    <dgm:pt modelId="{B657C6AC-60F0-4F96-8359-82D0E45992D2}" type="parTrans" cxnId="{272C404E-A8F5-4F6B-B5CC-BB9528332571}">
      <dgm:prSet/>
      <dgm:spPr/>
      <dgm:t>
        <a:bodyPr/>
        <a:lstStyle/>
        <a:p>
          <a:endParaRPr lang="en-IE"/>
        </a:p>
      </dgm:t>
    </dgm:pt>
    <dgm:pt modelId="{628AE583-19FD-460C-8D1C-CC041B22FDC1}" type="sibTrans" cxnId="{272C404E-A8F5-4F6B-B5CC-BB9528332571}">
      <dgm:prSet/>
      <dgm:spPr/>
      <dgm:t>
        <a:bodyPr/>
        <a:lstStyle/>
        <a:p>
          <a:endParaRPr lang="en-IE"/>
        </a:p>
      </dgm:t>
    </dgm:pt>
    <dgm:pt modelId="{D329C34F-6963-4D4B-BC10-1DFB823519E1}">
      <dgm:prSet phldrT="[Text]" custT="1"/>
      <dgm:spPr/>
      <dgm:t>
        <a:bodyPr/>
        <a:lstStyle/>
        <a:p>
          <a:r>
            <a:rPr lang="de-DE" sz="1800" b="1"/>
            <a:t>Europäische Kommission bewertet und genehmigt IPCEI</a:t>
          </a:r>
          <a:endParaRPr lang="en-IE" sz="1800" b="1"/>
        </a:p>
      </dgm:t>
    </dgm:pt>
    <dgm:pt modelId="{BCC6FB75-E22C-494C-BC31-4C3CA3CE7142}" type="parTrans" cxnId="{8B8CAA35-3944-46D9-98E7-0FB45A18C9C4}">
      <dgm:prSet/>
      <dgm:spPr/>
      <dgm:t>
        <a:bodyPr/>
        <a:lstStyle/>
        <a:p>
          <a:endParaRPr lang="en-IE"/>
        </a:p>
      </dgm:t>
    </dgm:pt>
    <dgm:pt modelId="{1DBE3D4F-38B1-4B94-890B-3438800233B6}" type="sibTrans" cxnId="{8B8CAA35-3944-46D9-98E7-0FB45A18C9C4}">
      <dgm:prSet/>
      <dgm:spPr/>
      <dgm:t>
        <a:bodyPr/>
        <a:lstStyle/>
        <a:p>
          <a:endParaRPr lang="en-IE"/>
        </a:p>
      </dgm:t>
    </dgm:pt>
    <dgm:pt modelId="{D7DF6A34-2E0A-41D5-A882-940FCC9B5C43}" type="pres">
      <dgm:prSet presAssocID="{BD2CA4F7-04A8-495D-9CA2-A54ACA5CD489}" presName="Name0" presStyleCnt="0">
        <dgm:presLayoutVars>
          <dgm:dir/>
          <dgm:animLvl val="lvl"/>
          <dgm:resizeHandles val="exact"/>
        </dgm:presLayoutVars>
      </dgm:prSet>
      <dgm:spPr/>
    </dgm:pt>
    <dgm:pt modelId="{B087BC2B-423E-4A30-882B-A4797A0949AB}" type="pres">
      <dgm:prSet presAssocID="{C03D33E2-78D5-4067-AF82-E5DBC7C5C205}" presName="parTxOnly" presStyleLbl="node1" presStyleIdx="0" presStyleCnt="3" custScaleX="113025">
        <dgm:presLayoutVars>
          <dgm:chMax val="0"/>
          <dgm:chPref val="0"/>
          <dgm:bulletEnabled val="1"/>
        </dgm:presLayoutVars>
      </dgm:prSet>
      <dgm:spPr/>
    </dgm:pt>
    <dgm:pt modelId="{82FF2ADC-BD10-47DA-9FAB-3497C22AFA44}" type="pres">
      <dgm:prSet presAssocID="{8B421E87-A9A2-4DFC-977A-F3ACBA175B72}" presName="parTxOnlySpace" presStyleCnt="0"/>
      <dgm:spPr/>
    </dgm:pt>
    <dgm:pt modelId="{6BBBEE68-A805-496A-A99C-31362DD5D11C}" type="pres">
      <dgm:prSet presAssocID="{024F2A57-2799-490B-A788-6B6B7B5DCA45}" presName="parTxOnly" presStyleLbl="node1" presStyleIdx="1" presStyleCnt="3" custScaleX="125859">
        <dgm:presLayoutVars>
          <dgm:chMax val="0"/>
          <dgm:chPref val="0"/>
          <dgm:bulletEnabled val="1"/>
        </dgm:presLayoutVars>
      </dgm:prSet>
      <dgm:spPr/>
    </dgm:pt>
    <dgm:pt modelId="{928980F1-1187-47BD-98F3-E2521E548F4F}" type="pres">
      <dgm:prSet presAssocID="{628AE583-19FD-460C-8D1C-CC041B22FDC1}" presName="parTxOnlySpace" presStyleCnt="0"/>
      <dgm:spPr/>
    </dgm:pt>
    <dgm:pt modelId="{52AE7A1E-CBB2-4A99-BDA3-3DFE67D3A629}" type="pres">
      <dgm:prSet presAssocID="{D329C34F-6963-4D4B-BC10-1DFB823519E1}" presName="parTxOnly" presStyleLbl="node1" presStyleIdx="2" presStyleCnt="3" custScaleX="114047">
        <dgm:presLayoutVars>
          <dgm:chMax val="0"/>
          <dgm:chPref val="0"/>
          <dgm:bulletEnabled val="1"/>
        </dgm:presLayoutVars>
      </dgm:prSet>
      <dgm:spPr/>
    </dgm:pt>
  </dgm:ptLst>
  <dgm:cxnLst>
    <dgm:cxn modelId="{E31D4B2F-039C-4C66-9917-166DB3DDA73E}" type="presOf" srcId="{C03D33E2-78D5-4067-AF82-E5DBC7C5C205}" destId="{B087BC2B-423E-4A30-882B-A4797A0949AB}" srcOrd="0" destOrd="0" presId="urn:microsoft.com/office/officeart/2005/8/layout/chevron1"/>
    <dgm:cxn modelId="{8B8CAA35-3944-46D9-98E7-0FB45A18C9C4}" srcId="{BD2CA4F7-04A8-495D-9CA2-A54ACA5CD489}" destId="{D329C34F-6963-4D4B-BC10-1DFB823519E1}" srcOrd="2" destOrd="0" parTransId="{BCC6FB75-E22C-494C-BC31-4C3CA3CE7142}" sibTransId="{1DBE3D4F-38B1-4B94-890B-3438800233B6}"/>
    <dgm:cxn modelId="{272C404E-A8F5-4F6B-B5CC-BB9528332571}" srcId="{BD2CA4F7-04A8-495D-9CA2-A54ACA5CD489}" destId="{024F2A57-2799-490B-A788-6B6B7B5DCA45}" srcOrd="1" destOrd="0" parTransId="{B657C6AC-60F0-4F96-8359-82D0E45992D2}" sibTransId="{628AE583-19FD-460C-8D1C-CC041B22FDC1}"/>
    <dgm:cxn modelId="{C4A68D52-81DE-4FEA-9029-8F17A95B6F53}" srcId="{BD2CA4F7-04A8-495D-9CA2-A54ACA5CD489}" destId="{C03D33E2-78D5-4067-AF82-E5DBC7C5C205}" srcOrd="0" destOrd="0" parTransId="{2CA92C88-BA5E-4922-BCCA-03BD16B42C36}" sibTransId="{8B421E87-A9A2-4DFC-977A-F3ACBA175B72}"/>
    <dgm:cxn modelId="{3356AC8A-BE23-40B1-B224-5C930676045D}" type="presOf" srcId="{BD2CA4F7-04A8-495D-9CA2-A54ACA5CD489}" destId="{D7DF6A34-2E0A-41D5-A882-940FCC9B5C43}" srcOrd="0" destOrd="0" presId="urn:microsoft.com/office/officeart/2005/8/layout/chevron1"/>
    <dgm:cxn modelId="{9DE8BE99-A916-4AC1-B635-14874027772A}" type="presOf" srcId="{D329C34F-6963-4D4B-BC10-1DFB823519E1}" destId="{52AE7A1E-CBB2-4A99-BDA3-3DFE67D3A629}" srcOrd="0" destOrd="0" presId="urn:microsoft.com/office/officeart/2005/8/layout/chevron1"/>
    <dgm:cxn modelId="{4FFEB2E6-0215-4C77-9D1C-469F0CCE8AE6}" type="presOf" srcId="{024F2A57-2799-490B-A788-6B6B7B5DCA45}" destId="{6BBBEE68-A805-496A-A99C-31362DD5D11C}" srcOrd="0" destOrd="0" presId="urn:microsoft.com/office/officeart/2005/8/layout/chevron1"/>
    <dgm:cxn modelId="{8A87F805-A3EF-4F19-8C68-1A9B5BAE69CB}" type="presParOf" srcId="{D7DF6A34-2E0A-41D5-A882-940FCC9B5C43}" destId="{B087BC2B-423E-4A30-882B-A4797A0949AB}" srcOrd="0" destOrd="0" presId="urn:microsoft.com/office/officeart/2005/8/layout/chevron1"/>
    <dgm:cxn modelId="{387C21D8-550D-4148-9B4C-11498A08262B}" type="presParOf" srcId="{D7DF6A34-2E0A-41D5-A882-940FCC9B5C43}" destId="{82FF2ADC-BD10-47DA-9FAB-3497C22AFA44}" srcOrd="1" destOrd="0" presId="urn:microsoft.com/office/officeart/2005/8/layout/chevron1"/>
    <dgm:cxn modelId="{2376D518-F6FF-49D3-AA16-F9833889469F}" type="presParOf" srcId="{D7DF6A34-2E0A-41D5-A882-940FCC9B5C43}" destId="{6BBBEE68-A805-496A-A99C-31362DD5D11C}" srcOrd="2" destOrd="0" presId="urn:microsoft.com/office/officeart/2005/8/layout/chevron1"/>
    <dgm:cxn modelId="{D6F1E0A0-5E62-4465-964D-2E6D8488206E}" type="presParOf" srcId="{D7DF6A34-2E0A-41D5-A882-940FCC9B5C43}" destId="{928980F1-1187-47BD-98F3-E2521E548F4F}" srcOrd="3" destOrd="0" presId="urn:microsoft.com/office/officeart/2005/8/layout/chevron1"/>
    <dgm:cxn modelId="{21CC7B38-74A6-4D46-B5EF-ACEE61D9B7CF}" type="presParOf" srcId="{D7DF6A34-2E0A-41D5-A882-940FCC9B5C43}" destId="{52AE7A1E-CBB2-4A99-BDA3-3DFE67D3A629}"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385981-7724-4247-A147-38FB7BDD9928}">
      <dsp:nvSpPr>
        <dsp:cNvPr id="0" name=""/>
        <dsp:cNvSpPr/>
      </dsp:nvSpPr>
      <dsp:spPr>
        <a:xfrm rot="5400000">
          <a:off x="4647828" y="112293"/>
          <a:ext cx="1675342" cy="1457547"/>
        </a:xfrm>
        <a:prstGeom prst="hexagon">
          <a:avLst>
            <a:gd name="adj" fmla="val 25000"/>
            <a:gd name="vf" fmla="val 11547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dirty="0"/>
            <a:t>4x </a:t>
          </a:r>
          <a:br>
            <a:rPr lang="de-DE" sz="1400" kern="1200" dirty="0"/>
          </a:br>
          <a:r>
            <a:rPr lang="de-DE" sz="1400" kern="1200" dirty="0"/>
            <a:t>Wasser-stoff</a:t>
          </a:r>
        </a:p>
      </dsp:txBody>
      <dsp:txXfrm rot="-5400000">
        <a:off x="4983859" y="264470"/>
        <a:ext cx="1003279" cy="1153194"/>
      </dsp:txXfrm>
    </dsp:sp>
    <dsp:sp modelId="{F2B55FA7-CB1A-452E-A5B8-18F1CAE92FBF}">
      <dsp:nvSpPr>
        <dsp:cNvPr id="0" name=""/>
        <dsp:cNvSpPr/>
      </dsp:nvSpPr>
      <dsp:spPr>
        <a:xfrm>
          <a:off x="2890344" y="351904"/>
          <a:ext cx="1869682" cy="1005205"/>
        </a:xfrm>
        <a:prstGeom prst="rect">
          <a:avLst/>
        </a:prstGeom>
        <a:noFill/>
        <a:ln>
          <a:noFill/>
        </a:ln>
        <a:effectLst/>
      </dsp:spPr>
      <dsp:style>
        <a:lnRef idx="0">
          <a:scrgbClr r="0" g="0" b="0"/>
        </a:lnRef>
        <a:fillRef idx="0">
          <a:scrgbClr r="0" g="0" b="0"/>
        </a:fillRef>
        <a:effectRef idx="0">
          <a:scrgbClr r="0" g="0" b="0"/>
        </a:effectRef>
        <a:fontRef idx="minor"/>
      </dsp:style>
    </dsp:sp>
    <dsp:sp modelId="{F0227C10-0A8B-4D67-B47B-E846A6E85A8D}">
      <dsp:nvSpPr>
        <dsp:cNvPr id="0" name=""/>
        <dsp:cNvSpPr/>
      </dsp:nvSpPr>
      <dsp:spPr>
        <a:xfrm rot="5400000">
          <a:off x="3073676" y="108897"/>
          <a:ext cx="1675342" cy="1457547"/>
        </a:xfrm>
        <a:prstGeom prst="hexagon">
          <a:avLst>
            <a:gd name="adj" fmla="val 25000"/>
            <a:gd name="vf" fmla="val 11547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de-DE" sz="1400" kern="1200" dirty="0"/>
            <a:t>2x </a:t>
          </a:r>
          <a:br>
            <a:rPr lang="de-DE" sz="1400" kern="1200" dirty="0"/>
          </a:br>
          <a:r>
            <a:rPr lang="de-DE" sz="1400" kern="1200" dirty="0"/>
            <a:t>Mikro-elektronik</a:t>
          </a:r>
        </a:p>
      </dsp:txBody>
      <dsp:txXfrm rot="-5400000">
        <a:off x="3409707" y="261074"/>
        <a:ext cx="1003279" cy="1153194"/>
      </dsp:txXfrm>
    </dsp:sp>
    <dsp:sp modelId="{650F0D3F-8013-4127-B1B4-CFB8AA6E2E7E}">
      <dsp:nvSpPr>
        <dsp:cNvPr id="0" name=""/>
        <dsp:cNvSpPr/>
      </dsp:nvSpPr>
      <dsp:spPr>
        <a:xfrm rot="5400000">
          <a:off x="2240907" y="1534324"/>
          <a:ext cx="1675342" cy="1457547"/>
        </a:xfrm>
        <a:prstGeom prst="hexagon">
          <a:avLst>
            <a:gd name="adj" fmla="val 25000"/>
            <a:gd name="vf" fmla="val 11547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dirty="0"/>
            <a:t>2x Batterie-zellen</a:t>
          </a:r>
        </a:p>
      </dsp:txBody>
      <dsp:txXfrm rot="-5400000">
        <a:off x="2576938" y="1686501"/>
        <a:ext cx="1003279" cy="1153194"/>
      </dsp:txXfrm>
    </dsp:sp>
    <dsp:sp modelId="{A6D7AC76-1261-42A8-A0DC-761BEEDD8188}">
      <dsp:nvSpPr>
        <dsp:cNvPr id="0" name=""/>
        <dsp:cNvSpPr/>
      </dsp:nvSpPr>
      <dsp:spPr>
        <a:xfrm>
          <a:off x="3055175" y="376407"/>
          <a:ext cx="1809369" cy="1005205"/>
        </a:xfrm>
        <a:prstGeom prst="rect">
          <a:avLst/>
        </a:prstGeom>
        <a:noFill/>
        <a:ln>
          <a:noFill/>
        </a:ln>
        <a:effectLst/>
      </dsp:spPr>
      <dsp:style>
        <a:lnRef idx="0">
          <a:scrgbClr r="0" g="0" b="0"/>
        </a:lnRef>
        <a:fillRef idx="0">
          <a:scrgbClr r="0" g="0" b="0"/>
        </a:fillRef>
        <a:effectRef idx="0">
          <a:scrgbClr r="0" g="0" b="0"/>
        </a:effectRef>
        <a:fontRef idx="minor"/>
      </dsp:style>
    </dsp:sp>
    <dsp:sp modelId="{BD7B7FAC-794E-48FB-A793-0FE9D997F4DF}">
      <dsp:nvSpPr>
        <dsp:cNvPr id="0" name=""/>
        <dsp:cNvSpPr/>
      </dsp:nvSpPr>
      <dsp:spPr>
        <a:xfrm rot="5400000">
          <a:off x="5431888" y="1534324"/>
          <a:ext cx="1675342" cy="1457547"/>
        </a:xfrm>
        <a:prstGeom prst="hexagon">
          <a:avLst>
            <a:gd name="adj" fmla="val 25000"/>
            <a:gd name="vf" fmla="val 11547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r>
            <a:rPr lang="de-DE" sz="1300" kern="1200" dirty="0"/>
            <a:t>1x </a:t>
          </a:r>
          <a:br>
            <a:rPr lang="de-DE" sz="1300" kern="1200" dirty="0"/>
          </a:br>
          <a:r>
            <a:rPr lang="de-DE" sz="1400" kern="1200" dirty="0"/>
            <a:t>Cloud-Infrastruktur</a:t>
          </a:r>
        </a:p>
      </dsp:txBody>
      <dsp:txXfrm rot="-5400000">
        <a:off x="5767919" y="1686501"/>
        <a:ext cx="1003279" cy="1153194"/>
      </dsp:txXfrm>
    </dsp:sp>
    <dsp:sp modelId="{6E6C4929-A395-423B-9E08-0A77AE579D0E}">
      <dsp:nvSpPr>
        <dsp:cNvPr id="0" name=""/>
        <dsp:cNvSpPr/>
      </dsp:nvSpPr>
      <dsp:spPr>
        <a:xfrm rot="5400000">
          <a:off x="4647828" y="2956354"/>
          <a:ext cx="1675342" cy="1457547"/>
        </a:xfrm>
        <a:prstGeom prst="hexagon">
          <a:avLst>
            <a:gd name="adj" fmla="val 25000"/>
            <a:gd name="vf" fmla="val 11547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dirty="0"/>
            <a:t>Weitere in Konzeption</a:t>
          </a:r>
        </a:p>
      </dsp:txBody>
      <dsp:txXfrm rot="-5400000">
        <a:off x="4983859" y="3108531"/>
        <a:ext cx="1003279" cy="1153194"/>
      </dsp:txXfrm>
    </dsp:sp>
    <dsp:sp modelId="{056A4670-E92D-444D-97A1-606CA2EE65DB}">
      <dsp:nvSpPr>
        <dsp:cNvPr id="0" name=""/>
        <dsp:cNvSpPr/>
      </dsp:nvSpPr>
      <dsp:spPr>
        <a:xfrm>
          <a:off x="6258502" y="3182525"/>
          <a:ext cx="1869682" cy="1005205"/>
        </a:xfrm>
        <a:prstGeom prst="rect">
          <a:avLst/>
        </a:prstGeom>
        <a:noFill/>
        <a:ln>
          <a:noFill/>
        </a:ln>
        <a:effectLst/>
      </dsp:spPr>
      <dsp:style>
        <a:lnRef idx="0">
          <a:scrgbClr r="0" g="0" b="0"/>
        </a:lnRef>
        <a:fillRef idx="0">
          <a:scrgbClr r="0" g="0" b="0"/>
        </a:fillRef>
        <a:effectRef idx="0">
          <a:scrgbClr r="0" g="0" b="0"/>
        </a:effectRef>
        <a:fontRef idx="minor"/>
      </dsp:style>
    </dsp:sp>
    <dsp:sp modelId="{2C102149-4337-4741-87FB-ECD57B5C4C75}">
      <dsp:nvSpPr>
        <dsp:cNvPr id="0" name=""/>
        <dsp:cNvSpPr/>
      </dsp:nvSpPr>
      <dsp:spPr>
        <a:xfrm rot="5400000">
          <a:off x="3073676" y="2956354"/>
          <a:ext cx="1675342" cy="1457547"/>
        </a:xfrm>
        <a:prstGeom prst="hexagon">
          <a:avLst>
            <a:gd name="adj" fmla="val 25000"/>
            <a:gd name="vf" fmla="val 11547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de-DE" sz="1400" kern="1200" dirty="0"/>
            <a:t>1x </a:t>
          </a:r>
          <a:br>
            <a:rPr lang="de-DE" sz="1400" kern="1200" dirty="0"/>
          </a:br>
          <a:r>
            <a:rPr lang="de-DE" sz="1400" kern="1200" dirty="0"/>
            <a:t>Medizin</a:t>
          </a:r>
        </a:p>
      </dsp:txBody>
      <dsp:txXfrm rot="-5400000">
        <a:off x="3409707" y="3108531"/>
        <a:ext cx="1003279" cy="11531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87BC2B-423E-4A30-882B-A4797A0949AB}">
      <dsp:nvSpPr>
        <dsp:cNvPr id="0" name=""/>
        <dsp:cNvSpPr/>
      </dsp:nvSpPr>
      <dsp:spPr>
        <a:xfrm>
          <a:off x="1217" y="735920"/>
          <a:ext cx="3569059" cy="1263104"/>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de-DE" sz="1800" b="1" kern="1200"/>
            <a:t>Mitgliedstaaten identifizieren und konzipieren ein IPCEI</a:t>
          </a:r>
          <a:endParaRPr lang="en-IE" sz="1800" b="1" kern="1200"/>
        </a:p>
      </dsp:txBody>
      <dsp:txXfrm>
        <a:off x="632769" y="735920"/>
        <a:ext cx="2305955" cy="1263104"/>
      </dsp:txXfrm>
    </dsp:sp>
    <dsp:sp modelId="{6BBBEE68-A805-496A-A99C-31362DD5D11C}">
      <dsp:nvSpPr>
        <dsp:cNvPr id="0" name=""/>
        <dsp:cNvSpPr/>
      </dsp:nvSpPr>
      <dsp:spPr>
        <a:xfrm>
          <a:off x="3254500" y="735920"/>
          <a:ext cx="3974326" cy="1263104"/>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de-DE" sz="1800" b="1" kern="1200" noProof="0"/>
            <a:t>Mitgliedstaaten sammeln und wählen Projektvorschläge aus</a:t>
          </a:r>
        </a:p>
      </dsp:txBody>
      <dsp:txXfrm>
        <a:off x="3886052" y="735920"/>
        <a:ext cx="2711222" cy="1263104"/>
      </dsp:txXfrm>
    </dsp:sp>
    <dsp:sp modelId="{52AE7A1E-CBB2-4A99-BDA3-3DFE67D3A629}">
      <dsp:nvSpPr>
        <dsp:cNvPr id="0" name=""/>
        <dsp:cNvSpPr/>
      </dsp:nvSpPr>
      <dsp:spPr>
        <a:xfrm>
          <a:off x="6913050" y="735920"/>
          <a:ext cx="3601331" cy="1263104"/>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de-DE" sz="1800" b="1" kern="1200"/>
            <a:t>Europäische Kommission bewertet und genehmigt IPCEI</a:t>
          </a:r>
          <a:endParaRPr lang="en-IE" sz="1800" b="1" kern="1200"/>
        </a:p>
      </dsp:txBody>
      <dsp:txXfrm>
        <a:off x="7544602" y="735920"/>
        <a:ext cx="2338227" cy="1263104"/>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p:cNvSpPr>
            <a:spLocks noGrp="1"/>
          </p:cNvSpPr>
          <p:nvPr>
            <p:ph type="sldNum" sz="quarter" idx="3"/>
          </p:nvPr>
        </p:nvSpPr>
        <p:spPr>
          <a:xfrm>
            <a:off x="3549651" y="9721107"/>
            <a:ext cx="2961628" cy="312584"/>
          </a:xfrm>
          <a:prstGeom prst="rect">
            <a:avLst/>
          </a:prstGeom>
        </p:spPr>
        <p:txBody>
          <a:bodyPr vert="horz" lIns="99048" tIns="49524" rIns="99048" bIns="49524" rtlCol="0" anchor="b"/>
          <a:lstStyle>
            <a:lvl1pPr algn="r">
              <a:defRPr sz="1300"/>
            </a:lvl1pPr>
          </a:lstStyle>
          <a:p>
            <a:r>
              <a:rPr lang="de-DE" dirty="0">
                <a:solidFill>
                  <a:schemeClr val="accent4"/>
                </a:solidFill>
              </a:rPr>
              <a:t>© VDI/VDE-IT </a:t>
            </a:r>
            <a:r>
              <a:rPr lang="de-DE" dirty="0">
                <a:solidFill>
                  <a:schemeClr val="accent4"/>
                </a:solidFill>
                <a:sym typeface="Wingdings" panose="05000000000000000000" pitchFamily="2" charset="2"/>
              </a:rPr>
              <a:t></a:t>
            </a:r>
            <a:r>
              <a:rPr lang="de-DE" dirty="0">
                <a:solidFill>
                  <a:schemeClr val="accent4"/>
                </a:solidFill>
              </a:rPr>
              <a:t>  </a:t>
            </a:r>
            <a:fld id="{12CCBF5E-5E1E-43A5-B4E2-C140E7BD9013}" type="slidenum">
              <a:rPr lang="de-DE">
                <a:solidFill>
                  <a:schemeClr val="accent4"/>
                </a:solidFill>
              </a:rPr>
              <a:pPr/>
              <a:t>‹Nr.›</a:t>
            </a:fld>
            <a:r>
              <a:rPr lang="de-DE" dirty="0">
                <a:solidFill>
                  <a:schemeClr val="accent4"/>
                </a:solidFill>
              </a:rPr>
              <a:t> </a:t>
            </a:r>
          </a:p>
        </p:txBody>
      </p:sp>
      <p:pic>
        <p:nvPicPr>
          <p:cNvPr id="6" name="Grafik 5"/>
          <p:cNvPicPr>
            <a:picLocks noChangeAspect="1"/>
          </p:cNvPicPr>
          <p:nvPr/>
        </p:nvPicPr>
        <p:blipFill rotWithShape="1">
          <a:blip r:embed="rId2" cstate="print">
            <a:extLst>
              <a:ext uri="{28A0092B-C50C-407E-A947-70E740481C1C}">
                <a14:useLocalDpi xmlns:a14="http://schemas.microsoft.com/office/drawing/2010/main" val="0"/>
              </a:ext>
            </a:extLst>
          </a:blip>
          <a:srcRect b="69559"/>
          <a:stretch/>
        </p:blipFill>
        <p:spPr bwMode="auto">
          <a:xfrm>
            <a:off x="5029008" y="401930"/>
            <a:ext cx="1490667" cy="30852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930761791"/>
      </p:ext>
    </p:extLst>
  </p:cSld>
  <p:clrMap bg1="lt1" tx1="dk1" bg2="lt2" tx2="dk2" accent1="accent1" accent2="accent2" accent3="accent3" accent4="accent4" accent5="accent5" accent6="accent6" hlink="hlink" folHlink="folHlink"/>
  <p:extLst mod="1">
    <p:ext uri="{56416CCD-93CA-4268-BC5B-53C4BB910035}">
      <p15:sldGuideLst xmlns:p15="http://schemas.microsoft.com/office/powerpoint/2012/main">
        <p15:guide id="2" pos="2236" userDrawn="1">
          <p15:clr>
            <a:srgbClr val="F26B43"/>
          </p15:clr>
        </p15:guide>
        <p15:guide id="3" pos="352" userDrawn="1">
          <p15:clr>
            <a:srgbClr val="F26B43"/>
          </p15:clr>
        </p15:guide>
        <p15:guide id="4" pos="4109" userDrawn="1">
          <p15:clr>
            <a:srgbClr val="F26B43"/>
          </p15:clr>
        </p15:guide>
        <p15:guide id="6" orient="horz" pos="640" userDrawn="1">
          <p15:clr>
            <a:srgbClr val="F26B43"/>
          </p15:clr>
        </p15:guide>
        <p15:guide id="7" orient="horz" pos="3941" userDrawn="1">
          <p15:clr>
            <a:srgbClr val="F26B43"/>
          </p15:clr>
        </p15:guide>
        <p15:guide id="8" orient="horz" pos="2519" userDrawn="1">
          <p15:clr>
            <a:srgbClr val="F26B43"/>
          </p15:clr>
        </p15:guide>
        <p15:guide id="9" orient="horz" pos="439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79425" y="1279525"/>
            <a:ext cx="6140450" cy="3454400"/>
          </a:xfrm>
          <a:prstGeom prst="rect">
            <a:avLst/>
          </a:prstGeom>
          <a:noFill/>
          <a:ln w="12700">
            <a:solidFill>
              <a:prstClr val="black"/>
            </a:solidFill>
          </a:ln>
        </p:spPr>
        <p:txBody>
          <a:bodyPr vert="horz" lIns="99048" tIns="49524" rIns="99048" bIns="49524" rtlCol="0" anchor="ctr"/>
          <a:lstStyle/>
          <a:p>
            <a:endParaRPr lang="en-GB"/>
          </a:p>
        </p:txBody>
      </p:sp>
      <p:sp>
        <p:nvSpPr>
          <p:cNvPr id="5" name="Notizenplatzhalter 4"/>
          <p:cNvSpPr>
            <a:spLocks noGrp="1"/>
          </p:cNvSpPr>
          <p:nvPr>
            <p:ph type="body" sz="quarter" idx="3"/>
          </p:nvPr>
        </p:nvSpPr>
        <p:spPr>
          <a:xfrm>
            <a:off x="709930" y="4925407"/>
            <a:ext cx="5679440" cy="4382915"/>
          </a:xfrm>
          <a:prstGeom prst="rect">
            <a:avLst/>
          </a:prstGeom>
        </p:spPr>
        <p:txBody>
          <a:bodyPr vert="horz" lIns="99048" tIns="49524" rIns="99048" bIns="49524" rtlCol="0"/>
          <a:lstStyle/>
          <a:p>
            <a:pPr lvl="0" algn="l" rtl="0"/>
            <a:r>
              <a:rPr lang="en-GB" b="0" i="0" u="none" baseline="0"/>
              <a:t>Text bearbeiten</a:t>
            </a:r>
          </a:p>
          <a:p>
            <a:pPr lvl="1" algn="l" rtl="0"/>
            <a:r>
              <a:rPr lang="en-GB" b="0" i="0" u="none" baseline="0"/>
              <a:t>Zweite Ebene</a:t>
            </a:r>
          </a:p>
          <a:p>
            <a:pPr lvl="2" algn="l" rtl="0"/>
            <a:r>
              <a:rPr lang="en-GB" b="0" i="0" u="none" baseline="0"/>
              <a:t>Dritte Ebene</a:t>
            </a:r>
          </a:p>
          <a:p>
            <a:pPr lvl="3" algn="l" rtl="0"/>
            <a:r>
              <a:rPr lang="en-GB" b="0" i="0" u="none" baseline="0"/>
              <a:t>Vierte Ebene</a:t>
            </a:r>
          </a:p>
          <a:p>
            <a:pPr lvl="4" algn="l" rtl="0"/>
            <a:r>
              <a:rPr lang="en-GB" b="0" i="0" u="none" baseline="0"/>
              <a:t>Fünfte Ebene</a:t>
            </a:r>
            <a:endParaRPr lang="en-GB" dirty="0"/>
          </a:p>
        </p:txBody>
      </p:sp>
      <p:sp>
        <p:nvSpPr>
          <p:cNvPr id="8" name="Foliennummernplatzhalter 4"/>
          <p:cNvSpPr>
            <a:spLocks noGrp="1"/>
          </p:cNvSpPr>
          <p:nvPr>
            <p:ph type="sldNum" sz="quarter" idx="5"/>
          </p:nvPr>
        </p:nvSpPr>
        <p:spPr>
          <a:xfrm>
            <a:off x="3549651" y="9721107"/>
            <a:ext cx="2961628" cy="312584"/>
          </a:xfrm>
          <a:prstGeom prst="rect">
            <a:avLst/>
          </a:prstGeom>
        </p:spPr>
        <p:txBody>
          <a:bodyPr vert="horz" lIns="99048" tIns="49524" rIns="99048" bIns="49524" rtlCol="0" anchor="b"/>
          <a:lstStyle>
            <a:lvl1pPr algn="r">
              <a:defRPr sz="1300"/>
            </a:lvl1pPr>
          </a:lstStyle>
          <a:p>
            <a:pPr algn="l" rtl="0"/>
            <a:r>
              <a:rPr lang="en-GB" b="0" i="0" u="none" baseline="0">
                <a:solidFill>
                  <a:schemeClr val="accent4"/>
                </a:solidFill>
              </a:rPr>
              <a:t>© VDI/VDE-IT </a:t>
            </a:r>
            <a:r>
              <a:rPr lang="en-GB" b="0" i="0" u="none" baseline="0">
                <a:solidFill>
                  <a:schemeClr val="accent4"/>
                </a:solidFill>
                <a:sym typeface="Wingdings" panose="05000000000000000000" pitchFamily="2" charset="2"/>
              </a:rPr>
              <a:t></a:t>
            </a:r>
            <a:r>
              <a:rPr lang="en-GB" b="0" i="0" u="none" baseline="0">
                <a:solidFill>
                  <a:schemeClr val="accent4"/>
                </a:solidFill>
              </a:rPr>
              <a:t>  </a:t>
            </a:r>
            <a:fld id="{12CCBF5E-5E1E-43A5-B4E2-C140E7BD9013}" type="slidenum">
              <a:rPr>
                <a:solidFill>
                  <a:schemeClr val="accent4"/>
                </a:solidFill>
              </a:rPr>
              <a:pPr algn="l" rtl="0"/>
              <a:t>‹Nr.›</a:t>
            </a:fld>
            <a:r>
              <a:rPr lang="en-GB" b="0" i="0" u="none" baseline="0">
                <a:solidFill>
                  <a:schemeClr val="accent4"/>
                </a:solidFill>
              </a:rPr>
              <a:t> </a:t>
            </a:r>
          </a:p>
        </p:txBody>
      </p:sp>
      <p:pic>
        <p:nvPicPr>
          <p:cNvPr id="9" name="Grafik 8"/>
          <p:cNvPicPr>
            <a:picLocks noChangeAspect="1"/>
          </p:cNvPicPr>
          <p:nvPr/>
        </p:nvPicPr>
        <p:blipFill rotWithShape="1">
          <a:blip r:embed="rId2" cstate="print">
            <a:extLst>
              <a:ext uri="{28A0092B-C50C-407E-A947-70E740481C1C}">
                <a14:useLocalDpi xmlns:a14="http://schemas.microsoft.com/office/drawing/2010/main" val="0"/>
              </a:ext>
            </a:extLst>
          </a:blip>
          <a:srcRect b="69559"/>
          <a:stretch/>
        </p:blipFill>
        <p:spPr bwMode="auto">
          <a:xfrm>
            <a:off x="5029008" y="401930"/>
            <a:ext cx="1490667" cy="30852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9574371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177800" indent="-171450" algn="l" defTabSz="914400" rtl="0" eaLnBrk="1" latinLnBrk="0" hangingPunct="1">
      <a:buClr>
        <a:schemeClr val="accent1"/>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2pPr>
    <a:lvl3pPr marL="360363" indent="-171450" algn="l" defTabSz="914400" rtl="0" eaLnBrk="1" latinLnBrk="0" hangingPunct="1">
      <a:buClr>
        <a:schemeClr val="accent1"/>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3pPr>
    <a:lvl4pPr marL="538163" indent="-171450" algn="l" defTabSz="914400" rtl="0" eaLnBrk="1" latinLnBrk="0" hangingPunct="1">
      <a:buClr>
        <a:schemeClr val="accent1"/>
      </a:buClr>
      <a:buFont typeface="Wingdings" panose="05000000000000000000" pitchFamily="2" charset="2"/>
      <a:buChar char="§"/>
      <a:tabLst/>
      <a:defRPr sz="1200" kern="1200">
        <a:solidFill>
          <a:schemeClr val="tx1"/>
        </a:solidFill>
        <a:latin typeface="Arial" panose="020B0604020202020204" pitchFamily="34" charset="0"/>
        <a:ea typeface="+mn-ea"/>
        <a:cs typeface="Arial" panose="020B0604020202020204" pitchFamily="34" charset="0"/>
      </a:defRPr>
    </a:lvl4pPr>
    <a:lvl5pPr marL="714375" indent="-171450" algn="l" defTabSz="914400" rtl="0" eaLnBrk="1" latinLnBrk="0" hangingPunct="1">
      <a:buClr>
        <a:schemeClr val="accent1"/>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3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a:t>
            </a:fld>
            <a:endParaRPr kumimoji="0" lang="en-GB" sz="13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41127387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3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a:t>
            </a:fld>
            <a:endParaRPr kumimoji="0" lang="en-GB" sz="13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6341884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3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9</a:t>
            </a:fld>
            <a:endParaRPr kumimoji="0" lang="en-GB" sz="13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5025917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3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0</a:t>
            </a:fld>
            <a:endParaRPr kumimoji="0" lang="en-GB" sz="13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4513346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3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1</a:t>
            </a:fld>
            <a:endParaRPr kumimoji="0" lang="en-GB" sz="13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40120934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Für die Zwecke dieser Mitteilung bezeichnet der Begriff „erste gewerbliche Nutzung“ die Hochskalierung von Pilotanlagen, Demonstrationsanlagen oder neuartiger Ausrüstungen und Einrichtungen. Er deckt die auf die Pilotphase folgenden Schritte (einschließlich der Testphase) ab, nicht aber die Massenproduktion oder kommerzielle Tätigkeiten. Begrenzte ggf. in dem spezifischen Sektor erfolgende Verkäufe im Zusammenhang mit der Testphase (z. B. Verkauf von Mustern, Verkauf zur Feedbackerhaltung oder Verkauf zum Zwecke der Zertifizierung) fallen nicht unter den Begriff „kommerzielle Tätigkeiten“.</a:t>
            </a:r>
            <a:endParaRPr lang="en-IE"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3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2</a:t>
            </a:fld>
            <a:endParaRPr kumimoji="0" lang="en-GB" sz="13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0886440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3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4</a:t>
            </a:fld>
            <a:endParaRPr kumimoji="0" lang="en-GB" sz="13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5531591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Was wird gemacht?</a:t>
            </a:r>
          </a:p>
          <a:p>
            <a:r>
              <a:rPr lang="de-DE" dirty="0"/>
              <a:t>Wer ist die Zielgruppe (Außerhalb des Sektors)?</a:t>
            </a:r>
          </a:p>
          <a:p>
            <a:r>
              <a:rPr lang="de-DE" dirty="0"/>
              <a:t>Wie wird die Zielgruppe erreicht?</a:t>
            </a:r>
          </a:p>
          <a:p>
            <a:r>
              <a:rPr lang="de-DE" dirty="0"/>
              <a:t>Wann (und wie oft) wird die Aktivität durchgeführt?</a:t>
            </a:r>
          </a:p>
          <a:p>
            <a:r>
              <a:rPr lang="de-DE" dirty="0"/>
              <a:t>Wozu diese Art der Aktivität? Was ist das Ziel der Aktivität?</a:t>
            </a:r>
          </a:p>
          <a:p>
            <a:r>
              <a:rPr lang="de-DE" dirty="0"/>
              <a:t>Wo wird die Aktivität ausgeführt (außerhalb des MS der fördert)?</a:t>
            </a:r>
          </a:p>
          <a:p>
            <a:r>
              <a:rPr lang="de-DE" dirty="0"/>
              <a:t>Warum diese Aktivität und Zielgruppe?</a:t>
            </a: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3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5</a:t>
            </a:fld>
            <a:endParaRPr kumimoji="0" lang="en-GB" sz="13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0897674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3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6</a:t>
            </a:fld>
            <a:endParaRPr kumimoji="0" lang="en-GB" sz="13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8703888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14.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svg"/><Relationship Id="rId2" Type="http://schemas.openxmlformats.org/officeDocument/2006/relationships/image" Target="../media/image11.jpeg"/><Relationship Id="rId1" Type="http://schemas.openxmlformats.org/officeDocument/2006/relationships/slideMaster" Target="../slideMasters/slideMaster3.xml"/><Relationship Id="rId6" Type="http://schemas.openxmlformats.org/officeDocument/2006/relationships/image" Target="../media/image18.sv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14.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svg"/><Relationship Id="rId2" Type="http://schemas.openxmlformats.org/officeDocument/2006/relationships/image" Target="../media/image11.jpeg"/><Relationship Id="rId1" Type="http://schemas.openxmlformats.org/officeDocument/2006/relationships/slideMaster" Target="../slideMasters/slideMaster4.xml"/><Relationship Id="rId6" Type="http://schemas.openxmlformats.org/officeDocument/2006/relationships/image" Target="../media/image18.sv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27.svg"/><Relationship Id="rId13" Type="http://schemas.openxmlformats.org/officeDocument/2006/relationships/image" Target="../media/image14.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9.svg"/><Relationship Id="rId2" Type="http://schemas.openxmlformats.org/officeDocument/2006/relationships/image" Target="../media/image11.jpeg"/><Relationship Id="rId1" Type="http://schemas.openxmlformats.org/officeDocument/2006/relationships/slideMaster" Target="../slideMasters/slideMaster5.xml"/><Relationship Id="rId6" Type="http://schemas.openxmlformats.org/officeDocument/2006/relationships/image" Target="../media/image26.sv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8.svg"/><Relationship Id="rId4" Type="http://schemas.openxmlformats.org/officeDocument/2006/relationships/image" Target="../media/image25.svg"/><Relationship Id="rId9" Type="http://schemas.openxmlformats.org/officeDocument/2006/relationships/image" Target="../media/image21.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9" name="Rechteck 8"/>
          <p:cNvSpPr/>
          <p:nvPr userDrawn="1"/>
        </p:nvSpPr>
        <p:spPr>
          <a:xfrm>
            <a:off x="0" y="908050"/>
            <a:ext cx="168000" cy="5949950"/>
          </a:xfrm>
          <a:prstGeom prst="rect">
            <a:avLst/>
          </a:prstGeom>
          <a:solidFill>
            <a:srgbClr val="DDD1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a:p>
        </p:txBody>
      </p:sp>
      <p:sp>
        <p:nvSpPr>
          <p:cNvPr id="10" name="Rechteck 9"/>
          <p:cNvSpPr/>
          <p:nvPr userDrawn="1"/>
        </p:nvSpPr>
        <p:spPr>
          <a:xfrm>
            <a:off x="168000" y="908050"/>
            <a:ext cx="12024000" cy="5949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108000" bIns="0" rtlCol="0" anchor="ctr"/>
          <a:lstStyle/>
          <a:p>
            <a:pPr algn="ctr" rtl="0"/>
            <a:endParaRPr lang="en-GB" sz="1800"/>
          </a:p>
        </p:txBody>
      </p:sp>
      <p:sp>
        <p:nvSpPr>
          <p:cNvPr id="11" name="Titel 10"/>
          <p:cNvSpPr>
            <a:spLocks noGrp="1"/>
          </p:cNvSpPr>
          <p:nvPr>
            <p:ph type="title" hasCustomPrompt="1"/>
          </p:nvPr>
        </p:nvSpPr>
        <p:spPr>
          <a:xfrm>
            <a:off x="912284" y="1653739"/>
            <a:ext cx="10515600" cy="1271206"/>
          </a:xfrm>
        </p:spPr>
        <p:txBody>
          <a:bodyPr anchor="t"/>
          <a:lstStyle>
            <a:lvl1pPr>
              <a:defRPr sz="3800">
                <a:solidFill>
                  <a:schemeClr val="bg2"/>
                </a:solidFill>
              </a:defRPr>
            </a:lvl1pPr>
          </a:lstStyle>
          <a:p>
            <a:pPr algn="l" rtl="0"/>
            <a:r>
              <a:rPr lang="en-GB" b="0" i="0" u="none" baseline="0" dirty="0" err="1"/>
              <a:t>Titel</a:t>
            </a:r>
            <a:r>
              <a:rPr lang="en-GB" b="0" i="0" u="none" baseline="0" dirty="0"/>
              <a:t> der </a:t>
            </a:r>
            <a:r>
              <a:rPr lang="en-GB" b="0" i="0" u="none" baseline="0" dirty="0" err="1"/>
              <a:t>präsentation</a:t>
            </a:r>
            <a:r>
              <a:rPr lang="en-GB" b="0" i="0" u="none" baseline="0" dirty="0"/>
              <a:t> |</a:t>
            </a:r>
            <a:br>
              <a:rPr lang="en-GB" b="0" i="0" u="none" baseline="0" dirty="0"/>
            </a:br>
            <a:r>
              <a:rPr lang="en-GB" b="0" i="0" u="none" baseline="0" dirty="0"/>
              <a:t>Headline </a:t>
            </a:r>
            <a:r>
              <a:rPr lang="en-GB" b="0" i="0" u="none" baseline="0" dirty="0" err="1"/>
              <a:t>eingeben</a:t>
            </a:r>
            <a:endParaRPr lang="en-GB" b="0" i="0" u="none" baseline="0" dirty="0"/>
          </a:p>
        </p:txBody>
      </p:sp>
      <p:sp>
        <p:nvSpPr>
          <p:cNvPr id="13" name="Textplatzhalter 12"/>
          <p:cNvSpPr>
            <a:spLocks noGrp="1"/>
          </p:cNvSpPr>
          <p:nvPr>
            <p:ph type="body" sz="quarter" idx="11" hasCustomPrompt="1"/>
          </p:nvPr>
        </p:nvSpPr>
        <p:spPr>
          <a:xfrm>
            <a:off x="912285" y="3185204"/>
            <a:ext cx="10526183" cy="369332"/>
          </a:xfrm>
        </p:spPr>
        <p:txBody>
          <a:bodyPr>
            <a:spAutoFit/>
          </a:bodyPr>
          <a:lstStyle>
            <a:lvl1pPr marL="0" indent="0">
              <a:buFontTx/>
              <a:buNone/>
              <a:defRPr>
                <a:solidFill>
                  <a:schemeClr val="bg2"/>
                </a:solidFill>
              </a:defRPr>
            </a:lvl1pPr>
          </a:lstStyle>
          <a:p>
            <a:pPr lvl="0" algn="l" rtl="0"/>
            <a:r>
              <a:rPr lang="en-GB" b="0" i="0" u="none" baseline="0" dirty="0"/>
              <a:t>Ort </a:t>
            </a:r>
            <a:r>
              <a:rPr lang="en-GB" b="0" i="0" u="none" baseline="0" dirty="0" err="1"/>
              <a:t>eingeben</a:t>
            </a:r>
            <a:endParaRPr lang="en-GB" b="0" i="0" u="none" baseline="0" dirty="0"/>
          </a:p>
        </p:txBody>
      </p:sp>
      <p:pic>
        <p:nvPicPr>
          <p:cNvPr id="6"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40416" y="257246"/>
            <a:ext cx="1812610" cy="560924"/>
          </a:xfrm>
          <a:prstGeom prst="rect">
            <a:avLst/>
          </a:prstGeom>
        </p:spPr>
      </p:pic>
      <p:pic>
        <p:nvPicPr>
          <p:cNvPr id="7" name="Grafik 6">
            <a:extLst>
              <a:ext uri="{FF2B5EF4-FFF2-40B4-BE49-F238E27FC236}">
                <a16:creationId xmlns:a16="http://schemas.microsoft.com/office/drawing/2014/main" id="{060F617C-7C48-4593-B6C0-8C52C683AF96}"/>
              </a:ext>
            </a:extLst>
          </p:cNvPr>
          <p:cNvPicPr>
            <a:picLocks noChangeAspect="1"/>
          </p:cNvPicPr>
          <p:nvPr userDrawn="1"/>
        </p:nvPicPr>
        <p:blipFill rotWithShape="1">
          <a:blip r:embed="rId3"/>
          <a:srcRect l="11160" t="8732" r="10722" b="13048"/>
          <a:stretch/>
        </p:blipFill>
        <p:spPr>
          <a:xfrm>
            <a:off x="8184232" y="61769"/>
            <a:ext cx="1368152" cy="846951"/>
          </a:xfrm>
          <a:prstGeom prst="rect">
            <a:avLst/>
          </a:prstGeom>
        </p:spPr>
      </p:pic>
    </p:spTree>
    <p:extLst>
      <p:ext uri="{BB962C8B-B14F-4D97-AF65-F5344CB8AC3E}">
        <p14:creationId xmlns:p14="http://schemas.microsoft.com/office/powerpoint/2010/main" val="198262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Leerfolie ohne Logo">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a:xfrm>
            <a:off x="912286" y="6374816"/>
            <a:ext cx="10484464" cy="221932"/>
          </a:xfrm>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a:solidFill>
                  <a:schemeClr val="accent5"/>
                </a:solidFill>
              </a:rPr>
              <a:pPr algn="l" rtl="0"/>
              <a:t>‹Nr.›</a:t>
            </a:fld>
            <a:r>
              <a:rPr lang="en-GB" sz="1000" b="0" i="0" u="none" baseline="0">
                <a:solidFill>
                  <a:schemeClr val="accent5"/>
                </a:solidFill>
              </a:rPr>
              <a:t> </a:t>
            </a:r>
            <a:endParaRPr lang="en-GB" sz="1000" dirty="0">
              <a:solidFill>
                <a:schemeClr val="accent5"/>
              </a:solidFill>
            </a:endParaRPr>
          </a:p>
        </p:txBody>
      </p:sp>
      <p:pic>
        <p:nvPicPr>
          <p:cNvPr id="4" name="Grafik 3">
            <a:extLst>
              <a:ext uri="{FF2B5EF4-FFF2-40B4-BE49-F238E27FC236}">
                <a16:creationId xmlns:a16="http://schemas.microsoft.com/office/drawing/2014/main" id="{C2206B70-1186-4AC9-BD35-54543886198A}"/>
              </a:ext>
            </a:extLst>
          </p:cNvPr>
          <p:cNvPicPr>
            <a:picLocks noChangeAspect="1"/>
          </p:cNvPicPr>
          <p:nvPr userDrawn="1"/>
        </p:nvPicPr>
        <p:blipFill rotWithShape="1">
          <a:blip r:embed="rId2"/>
          <a:srcRect l="11160" t="8732" r="10722" b="13048"/>
          <a:stretch/>
        </p:blipFill>
        <p:spPr>
          <a:xfrm>
            <a:off x="8184232" y="421809"/>
            <a:ext cx="1368152" cy="846951"/>
          </a:xfrm>
          <a:prstGeom prst="rect">
            <a:avLst/>
          </a:prstGeom>
        </p:spPr>
      </p:pic>
    </p:spTree>
    <p:extLst>
      <p:ext uri="{BB962C8B-B14F-4D97-AF65-F5344CB8AC3E}">
        <p14:creationId xmlns:p14="http://schemas.microsoft.com/office/powerpoint/2010/main" val="1455401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over page option 1">
    <p:bg>
      <p:bgPr>
        <a:gradFill>
          <a:gsLst>
            <a:gs pos="70000">
              <a:srgbClr val="022783"/>
            </a:gs>
            <a:gs pos="0">
              <a:srgbClr val="637983"/>
            </a:gs>
            <a:gs pos="32000">
              <a:srgbClr val="003399"/>
            </a:gs>
            <a:gs pos="97000">
              <a:srgbClr val="031E73"/>
            </a:gs>
          </a:gsLst>
          <a:path path="circle">
            <a:fillToRect l="100000" t="100000"/>
          </a:path>
        </a:gra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4675400-3E4A-4805-76D4-89E3DBA2294C}"/>
              </a:ext>
            </a:extLst>
          </p:cNvPr>
          <p:cNvSpPr>
            <a:spLocks noGrp="1"/>
          </p:cNvSpPr>
          <p:nvPr>
            <p:ph type="sldNum" sz="quarter" idx="4"/>
          </p:nvPr>
        </p:nvSpPr>
        <p:spPr>
          <a:xfrm>
            <a:off x="838200" y="6317486"/>
            <a:ext cx="2743200" cy="172523"/>
          </a:xfrm>
          <a:prstGeom prst="rect">
            <a:avLst/>
          </a:prstGeom>
          <a:noFill/>
        </p:spPr>
        <p:txBody>
          <a:bodyPr vert="horz" lIns="91440" tIns="45720" rIns="91440" bIns="45720" rtlCol="0" anchor="ctr"/>
          <a:lstStyle>
            <a:lvl1pPr algn="r">
              <a:defRPr sz="1200">
                <a:solidFill>
                  <a:schemeClr val="bg1"/>
                </a:solidFill>
                <a:latin typeface="+mn-lt"/>
              </a:defRPr>
            </a:lvl1pPr>
          </a:lstStyle>
          <a:p>
            <a:pPr algn="l"/>
            <a:r>
              <a:rPr lang="fr-BE"/>
              <a:t>DD/MM/YYYY</a:t>
            </a:r>
            <a:endParaRPr lang="en-IE"/>
          </a:p>
        </p:txBody>
      </p:sp>
      <p:sp>
        <p:nvSpPr>
          <p:cNvPr id="4" name="Title 1">
            <a:extLst>
              <a:ext uri="{FF2B5EF4-FFF2-40B4-BE49-F238E27FC236}">
                <a16:creationId xmlns:a16="http://schemas.microsoft.com/office/drawing/2014/main" id="{DB290A50-B43D-A2B6-515F-75425256ACB5}"/>
              </a:ext>
            </a:extLst>
          </p:cNvPr>
          <p:cNvSpPr>
            <a:spLocks noGrp="1"/>
          </p:cNvSpPr>
          <p:nvPr>
            <p:ph type="title" hasCustomPrompt="1"/>
          </p:nvPr>
        </p:nvSpPr>
        <p:spPr>
          <a:xfrm>
            <a:off x="838200" y="3040714"/>
            <a:ext cx="10515600" cy="1020337"/>
          </a:xfrm>
          <a:noFill/>
        </p:spPr>
        <p:txBody>
          <a:bodyPr>
            <a:noAutofit/>
          </a:bodyPr>
          <a:lstStyle>
            <a:lvl1pPr>
              <a:defRPr sz="8800">
                <a:solidFill>
                  <a:schemeClr val="bg1"/>
                </a:solidFill>
              </a:defRPr>
            </a:lvl1pPr>
          </a:lstStyle>
          <a:p>
            <a:r>
              <a:rPr lang="en-US"/>
              <a:t>Title</a:t>
            </a:r>
            <a:endParaRPr lang="en-IE"/>
          </a:p>
        </p:txBody>
      </p:sp>
      <p:sp>
        <p:nvSpPr>
          <p:cNvPr id="15" name="Content Placeholder 14">
            <a:extLst>
              <a:ext uri="{FF2B5EF4-FFF2-40B4-BE49-F238E27FC236}">
                <a16:creationId xmlns:a16="http://schemas.microsoft.com/office/drawing/2014/main" id="{69D02D42-BA7D-84CC-873F-80F08362B35A}"/>
              </a:ext>
            </a:extLst>
          </p:cNvPr>
          <p:cNvSpPr>
            <a:spLocks noGrp="1"/>
          </p:cNvSpPr>
          <p:nvPr>
            <p:ph sz="quarter" idx="11"/>
          </p:nvPr>
        </p:nvSpPr>
        <p:spPr>
          <a:xfrm>
            <a:off x="838200" y="4219575"/>
            <a:ext cx="4929188" cy="611188"/>
          </a:xfrm>
        </p:spPr>
        <p:txBody>
          <a:bodyPr/>
          <a:lstStyle>
            <a:lvl1pPr marL="0" indent="0">
              <a:buNone/>
              <a:defRPr>
                <a:solidFill>
                  <a:schemeClr val="bg1"/>
                </a:solidFill>
              </a:defRPr>
            </a:lvl1pPr>
          </a:lstStyle>
          <a:p>
            <a:pPr lvl="0"/>
            <a:r>
              <a:rPr lang="en-US"/>
              <a:t>Click to edit Master text styles</a:t>
            </a:r>
          </a:p>
        </p:txBody>
      </p:sp>
      <p:sp>
        <p:nvSpPr>
          <p:cNvPr id="11" name="Content Placeholder 2">
            <a:extLst>
              <a:ext uri="{FF2B5EF4-FFF2-40B4-BE49-F238E27FC236}">
                <a16:creationId xmlns:a16="http://schemas.microsoft.com/office/drawing/2014/main" id="{C600E4EF-7051-9AAC-2C78-0958FBC514BC}"/>
              </a:ext>
            </a:extLst>
          </p:cNvPr>
          <p:cNvSpPr>
            <a:spLocks noGrp="1"/>
          </p:cNvSpPr>
          <p:nvPr>
            <p:ph sz="half" idx="10"/>
          </p:nvPr>
        </p:nvSpPr>
        <p:spPr>
          <a:xfrm>
            <a:off x="838199" y="5243158"/>
            <a:ext cx="3176847" cy="304616"/>
          </a:xfrm>
          <a:solidFill>
            <a:schemeClr val="accent5"/>
          </a:solidFill>
          <a:ln w="12700" cap="rnd">
            <a:noFill/>
            <a:round/>
          </a:ln>
        </p:spPr>
        <p:style>
          <a:lnRef idx="2">
            <a:schemeClr val="accent1"/>
          </a:lnRef>
          <a:fillRef idx="1">
            <a:schemeClr val="lt1"/>
          </a:fillRef>
          <a:effectRef idx="0">
            <a:schemeClr val="accent1"/>
          </a:effectRef>
          <a:fontRef idx="minor">
            <a:schemeClr val="dk1"/>
          </a:fontRef>
        </p:style>
        <p:txBody>
          <a:bodyPr anchor="ctr">
            <a:noAutofit/>
          </a:bodyPr>
          <a:lstStyle>
            <a:lvl1pPr marL="0" indent="0">
              <a:buNone/>
              <a:defRPr sz="1600" b="0" i="1">
                <a:solidFill>
                  <a:schemeClr val="tx2"/>
                </a:solidFill>
              </a:defRPr>
            </a:lvl1pPr>
          </a:lstStyle>
          <a:p>
            <a:pPr lvl="0"/>
            <a:r>
              <a:rPr lang="en-US"/>
              <a:t>Click to edit Master text styles</a:t>
            </a:r>
          </a:p>
        </p:txBody>
      </p:sp>
      <p:pic>
        <p:nvPicPr>
          <p:cNvPr id="3" name="Picture 2">
            <a:extLst>
              <a:ext uri="{FF2B5EF4-FFF2-40B4-BE49-F238E27FC236}">
                <a16:creationId xmlns:a16="http://schemas.microsoft.com/office/drawing/2014/main" id="{85D80D5D-B11B-B8B1-1D33-81E7377D5953}"/>
              </a:ext>
              <a:ext uri="{C183D7F6-B498-43B3-948B-1728B52AA6E4}">
                <adec:decorative xmlns:adec="http://schemas.microsoft.com/office/drawing/2017/decorative" val="0"/>
              </a:ext>
            </a:extLst>
          </p:cNvPr>
          <p:cNvPicPr/>
          <p:nvPr userDrawn="1"/>
        </p:nvPicPr>
        <p:blipFill>
          <a:blip r:embed="rId2"/>
          <a:srcRect/>
          <a:stretch/>
        </p:blipFill>
        <p:spPr>
          <a:xfrm>
            <a:off x="9463383" y="5751940"/>
            <a:ext cx="2544024" cy="914705"/>
          </a:xfrm>
          <a:prstGeom prst="rect">
            <a:avLst/>
          </a:prstGeom>
          <a:noFill/>
        </p:spPr>
      </p:pic>
    </p:spTree>
    <p:extLst>
      <p:ext uri="{BB962C8B-B14F-4D97-AF65-F5344CB8AC3E}">
        <p14:creationId xmlns:p14="http://schemas.microsoft.com/office/powerpoint/2010/main" val="4089177854"/>
      </p:ext>
    </p:extLst>
  </p:cSld>
  <p:clrMapOvr>
    <a:masterClrMapping/>
  </p:clrMapOvr>
  <p:extLst>
    <p:ext uri="{DCECCB84-F9BA-43D5-87BE-67443E8EF086}">
      <p15:sldGuideLst xmlns:p15="http://schemas.microsoft.com/office/powerpoint/2012/main">
        <p15:guide id="3" orient="horz" pos="2160">
          <p15:clr>
            <a:srgbClr val="FBAE40"/>
          </p15:clr>
        </p15:guide>
        <p15:guide id="4"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 page option 2">
    <p:bg>
      <p:bgPr>
        <a:gradFill flip="none" rotWithShape="1">
          <a:gsLst>
            <a:gs pos="70000">
              <a:srgbClr val="022783"/>
            </a:gs>
            <a:gs pos="0">
              <a:srgbClr val="637983"/>
            </a:gs>
            <a:gs pos="32000">
              <a:srgbClr val="003399"/>
            </a:gs>
            <a:gs pos="97000">
              <a:srgbClr val="031E73"/>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8" name="Picture 7" descr="A red dotted line with a couple of people&#10;&#10;Description automatically generated with medium confidence" hidden="1">
            <a:extLst>
              <a:ext uri="{FF2B5EF4-FFF2-40B4-BE49-F238E27FC236}">
                <a16:creationId xmlns:a16="http://schemas.microsoft.com/office/drawing/2014/main" id="{95398073-E69B-2867-360F-504F7007FD00}"/>
              </a:ext>
            </a:extLst>
          </p:cNvPr>
          <p:cNvPicPr>
            <a:picLocks noGrp="1" noRot="1" noChangeAspect="1" noMove="1" noResize="1" noEditPoints="1" noAdjustHandles="1" noChangeArrowheads="1" noChangeShapeType="1" noCrop="1"/>
          </p:cNvPicPr>
          <p:nvPr/>
        </p:nvPicPr>
        <p:blipFill>
          <a:blip r:embed="rId2">
            <a:alphaModFix amt="20000"/>
          </a:blip>
          <a:stretch>
            <a:fillRect/>
          </a:stretch>
        </p:blipFill>
        <p:spPr>
          <a:xfrm>
            <a:off x="0" y="0"/>
            <a:ext cx="12192000" cy="6858000"/>
          </a:xfrm>
          <a:prstGeom prst="rect">
            <a:avLst/>
          </a:prstGeom>
        </p:spPr>
      </p:pic>
      <p:pic>
        <p:nvPicPr>
          <p:cNvPr id="3" name="Picture 2" descr="A red dotted line with a couple of people&#10;&#10;Description automatically generated with medium confidence" hidden="1">
            <a:extLst>
              <a:ext uri="{FF2B5EF4-FFF2-40B4-BE49-F238E27FC236}">
                <a16:creationId xmlns:a16="http://schemas.microsoft.com/office/drawing/2014/main" id="{6437CF6F-3079-899D-F025-61C0BCD596A4}"/>
              </a:ext>
            </a:extLst>
          </p:cNvPr>
          <p:cNvPicPr/>
          <p:nvPr userDrawn="1"/>
        </p:nvPicPr>
        <p:blipFill>
          <a:blip r:embed="rId2">
            <a:alphaModFix amt="20000"/>
          </a:blip>
          <a:stretch>
            <a:fill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id="{0C0DE3EC-C86A-9ACF-30E0-2827F08B50E4}"/>
              </a:ext>
            </a:extLst>
          </p:cNvPr>
          <p:cNvPicPr>
            <a:picLocks noChangeAspect="1"/>
          </p:cNvPicPr>
          <p:nvPr userDrawn="1"/>
        </p:nvPicPr>
        <p:blipFill>
          <a:blip r:embed="rId3"/>
          <a:srcRect/>
          <a:stretch/>
        </p:blipFill>
        <p:spPr>
          <a:xfrm>
            <a:off x="9472080" y="5752263"/>
            <a:ext cx="2551064" cy="917236"/>
          </a:xfrm>
          <a:prstGeom prst="rect">
            <a:avLst/>
          </a:prstGeom>
        </p:spPr>
      </p:pic>
      <p:sp>
        <p:nvSpPr>
          <p:cNvPr id="12" name="Rectangle 11">
            <a:extLst>
              <a:ext uri="{FF2B5EF4-FFF2-40B4-BE49-F238E27FC236}">
                <a16:creationId xmlns:a16="http://schemas.microsoft.com/office/drawing/2014/main" id="{10A8D108-563C-4B6B-DE93-33CDBF3AF548}"/>
              </a:ext>
            </a:extLst>
          </p:cNvPr>
          <p:cNvSpPr/>
          <p:nvPr userDrawn="1"/>
        </p:nvSpPr>
        <p:spPr>
          <a:xfrm>
            <a:off x="0" y="0"/>
            <a:ext cx="12192000" cy="21426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3" name="Title 2">
            <a:extLst>
              <a:ext uri="{FF2B5EF4-FFF2-40B4-BE49-F238E27FC236}">
                <a16:creationId xmlns:a16="http://schemas.microsoft.com/office/drawing/2014/main" id="{89F4ADAB-91FB-A1FF-8DB8-22F30FFCFA94}"/>
              </a:ext>
            </a:extLst>
          </p:cNvPr>
          <p:cNvSpPr txBox="1">
            <a:spLocks/>
          </p:cNvSpPr>
          <p:nvPr userDrawn="1"/>
        </p:nvSpPr>
        <p:spPr>
          <a:xfrm>
            <a:off x="838200" y="1201479"/>
            <a:ext cx="10515600" cy="1462595"/>
          </a:xfrm>
          <a:prstGeom prst="rect">
            <a:avLst/>
          </a:prstGeom>
          <a:solidFill>
            <a:schemeClr val="bg1"/>
          </a:solidFill>
          <a:ln>
            <a:gradFill flip="none" rotWithShape="1">
              <a:gsLst>
                <a:gs pos="36000">
                  <a:schemeClr val="accent4">
                    <a:lumMod val="60000"/>
                    <a:lumOff val="40000"/>
                    <a:alpha val="81000"/>
                  </a:schemeClr>
                </a:gs>
                <a:gs pos="0">
                  <a:srgbClr val="FBEBD8">
                    <a:alpha val="26000"/>
                  </a:srgbClr>
                </a:gs>
                <a:gs pos="67000">
                  <a:schemeClr val="accent4">
                    <a:lumMod val="75000"/>
                    <a:alpha val="66000"/>
                  </a:schemeClr>
                </a:gs>
                <a:gs pos="100000">
                  <a:schemeClr val="accent4">
                    <a:lumMod val="50000"/>
                  </a:schemeClr>
                </a:gs>
              </a:gsLst>
              <a:lin ang="2700000" scaled="1"/>
              <a:tileRect/>
            </a:gradFill>
          </a:ln>
          <a:effectLst>
            <a:outerShdw blurRad="88900" dist="76200" dir="5400000" algn="tl" rotWithShape="0">
              <a:srgbClr val="475869">
                <a:alpha val="63000"/>
              </a:srgbClr>
            </a:outerShdw>
          </a:effectLst>
        </p:spPr>
        <p:txBody>
          <a:bodyPr vert="horz" lIns="91440" tIns="45720" rIns="91440" bIns="45720" rtlCol="0" anchor="ctr" anchorCtr="0">
            <a:noAutofit/>
          </a:bodyPr>
          <a:lstStyle>
            <a:lvl1pPr algn="l" defTabSz="914400" rtl="0" eaLnBrk="1" latinLnBrk="0" hangingPunct="1">
              <a:lnSpc>
                <a:spcPct val="90000"/>
              </a:lnSpc>
              <a:spcBef>
                <a:spcPct val="0"/>
              </a:spcBef>
              <a:buNone/>
              <a:defRPr sz="4400" kern="1200">
                <a:solidFill>
                  <a:schemeClr val="tx2"/>
                </a:solidFill>
                <a:latin typeface="+mj-lt"/>
                <a:ea typeface="+mj-ea"/>
                <a:cs typeface="+mj-cs"/>
              </a:defRPr>
            </a:lvl1pPr>
          </a:lstStyle>
          <a:p>
            <a:pPr>
              <a:buClrTx/>
              <a:buFontTx/>
            </a:pPr>
            <a:r>
              <a:rPr lang="en-GB" sz="8800">
                <a:solidFill>
                  <a:srgbClr val="E04900"/>
                </a:solidFill>
              </a:rPr>
              <a:t>Title</a:t>
            </a:r>
          </a:p>
        </p:txBody>
      </p:sp>
    </p:spTree>
    <p:extLst>
      <p:ext uri="{BB962C8B-B14F-4D97-AF65-F5344CB8AC3E}">
        <p14:creationId xmlns:p14="http://schemas.microsoft.com/office/powerpoint/2010/main" val="24653499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hapter page option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D5B256C-F848-9C9F-2A9C-E218DE9A1995}"/>
              </a:ext>
            </a:extLst>
          </p:cNvPr>
          <p:cNvSpPr/>
          <p:nvPr userDrawn="1"/>
        </p:nvSpPr>
        <p:spPr>
          <a:xfrm>
            <a:off x="0" y="0"/>
            <a:ext cx="12192000" cy="3810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solidFill>
                <a:schemeClr val="bg1"/>
              </a:solidFill>
            </a:endParaRPr>
          </a:p>
        </p:txBody>
      </p:sp>
      <p:sp>
        <p:nvSpPr>
          <p:cNvPr id="3" name="Slide Number Placeholder 2">
            <a:extLst>
              <a:ext uri="{FF2B5EF4-FFF2-40B4-BE49-F238E27FC236}">
                <a16:creationId xmlns:a16="http://schemas.microsoft.com/office/drawing/2014/main" id="{E92597A6-449C-FD56-6361-6B67C1420435}"/>
              </a:ext>
            </a:extLst>
          </p:cNvPr>
          <p:cNvSpPr>
            <a:spLocks noGrp="1"/>
          </p:cNvSpPr>
          <p:nvPr>
            <p:ph type="sldNum" sz="quarter" idx="10"/>
          </p:nvPr>
        </p:nvSpPr>
        <p:spPr/>
        <p:txBody>
          <a:bodyPr/>
          <a:lstStyle/>
          <a:p>
            <a:pPr algn="l"/>
            <a:fld id="{768364BB-9B21-4D29-A19C-C6410F652861}" type="slidenum">
              <a:rPr lang="en-IE" smtClean="0"/>
              <a:pPr algn="l"/>
              <a:t>‹Nr.›</a:t>
            </a:fld>
            <a:endParaRPr lang="en-IE"/>
          </a:p>
        </p:txBody>
      </p:sp>
      <p:sp>
        <p:nvSpPr>
          <p:cNvPr id="4" name="Rectangle 3">
            <a:extLst>
              <a:ext uri="{FF2B5EF4-FFF2-40B4-BE49-F238E27FC236}">
                <a16:creationId xmlns:a16="http://schemas.microsoft.com/office/drawing/2014/main" id="{EE1DFA4B-D09C-D3C7-CF14-10151C0BAF5D}"/>
              </a:ext>
            </a:extLst>
          </p:cNvPr>
          <p:cNvSpPr/>
          <p:nvPr/>
        </p:nvSpPr>
        <p:spPr>
          <a:xfrm>
            <a:off x="0" y="0"/>
            <a:ext cx="12192000" cy="3810000"/>
          </a:xfrm>
          <a:prstGeom prst="rect">
            <a:avLst/>
          </a:prstGeom>
          <a:gradFill flip="none" rotWithShape="1">
            <a:gsLst>
              <a:gs pos="29000">
                <a:srgbClr val="003399"/>
              </a:gs>
              <a:gs pos="0">
                <a:srgbClr val="69808A"/>
              </a:gs>
              <a:gs pos="61000">
                <a:srgbClr val="012B8A"/>
              </a:gs>
              <a:gs pos="100000">
                <a:srgbClr val="031E73"/>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solidFill>
                <a:schemeClr val="bg1"/>
              </a:solidFill>
            </a:endParaRPr>
          </a:p>
        </p:txBody>
      </p:sp>
      <p:sp>
        <p:nvSpPr>
          <p:cNvPr id="2" name="Title 1">
            <a:extLst>
              <a:ext uri="{FF2B5EF4-FFF2-40B4-BE49-F238E27FC236}">
                <a16:creationId xmlns:a16="http://schemas.microsoft.com/office/drawing/2014/main" id="{D922CA66-7408-CA5B-7EAD-6C36A01B53B5}"/>
              </a:ext>
            </a:extLst>
          </p:cNvPr>
          <p:cNvSpPr>
            <a:spLocks noGrp="1"/>
          </p:cNvSpPr>
          <p:nvPr>
            <p:ph type="title" hasCustomPrompt="1"/>
          </p:nvPr>
        </p:nvSpPr>
        <p:spPr>
          <a:xfrm>
            <a:off x="838200" y="3434898"/>
            <a:ext cx="10515600" cy="816904"/>
          </a:xfrm>
          <a:solidFill>
            <a:schemeClr val="bg1"/>
          </a:solidFill>
        </p:spPr>
        <p:txBody>
          <a:bodyPr lIns="180000"/>
          <a:lstStyle>
            <a:lvl1pPr>
              <a:defRPr/>
            </a:lvl1pPr>
          </a:lstStyle>
          <a:p>
            <a:r>
              <a:rPr lang="en-US"/>
              <a:t>Title</a:t>
            </a:r>
            <a:endParaRPr lang="en-IE"/>
          </a:p>
        </p:txBody>
      </p:sp>
      <p:sp>
        <p:nvSpPr>
          <p:cNvPr id="7" name="Content Placeholder 6">
            <a:extLst>
              <a:ext uri="{FF2B5EF4-FFF2-40B4-BE49-F238E27FC236}">
                <a16:creationId xmlns:a16="http://schemas.microsoft.com/office/drawing/2014/main" id="{CA90F452-4E6C-2A2B-2B9D-88A3D16A05C1}"/>
              </a:ext>
            </a:extLst>
          </p:cNvPr>
          <p:cNvSpPr>
            <a:spLocks noGrp="1"/>
          </p:cNvSpPr>
          <p:nvPr>
            <p:ph sz="quarter" idx="11"/>
          </p:nvPr>
        </p:nvSpPr>
        <p:spPr>
          <a:xfrm>
            <a:off x="838200" y="4441825"/>
            <a:ext cx="10515600" cy="587375"/>
          </a:xfrm>
        </p:spPr>
        <p:txBody>
          <a:bodyPr>
            <a:noAutofit/>
          </a:bodyPr>
          <a:lstStyle>
            <a:lvl1pPr marL="0" indent="0">
              <a:buNone/>
              <a:defRPr sz="2000"/>
            </a:lvl1pPr>
          </a:lstStyle>
          <a:p>
            <a:pPr lvl="0"/>
            <a:r>
              <a:rPr lang="en-US"/>
              <a:t>Click to edit Master text styles</a:t>
            </a:r>
          </a:p>
        </p:txBody>
      </p:sp>
    </p:spTree>
    <p:extLst>
      <p:ext uri="{BB962C8B-B14F-4D97-AF65-F5344CB8AC3E}">
        <p14:creationId xmlns:p14="http://schemas.microsoft.com/office/powerpoint/2010/main" val="8841477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body text 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solidFill>
            <a:schemeClr val="bg1"/>
          </a:solidFill>
        </p:spPr>
        <p:txBody>
          <a:bodyPr/>
          <a:lstStyle>
            <a:lvl1pPr>
              <a:defRPr>
                <a:solidFill>
                  <a:srgbClr val="55676F"/>
                </a:solidFill>
              </a:defRPr>
            </a:lvl1pPr>
          </a:lstStyle>
          <a:p>
            <a:r>
              <a:rPr lang="en-US"/>
              <a:t>Click to edit Master title style</a:t>
            </a:r>
            <a:endParaRPr lang="en-IE"/>
          </a:p>
        </p:txBody>
      </p:sp>
      <p:sp>
        <p:nvSpPr>
          <p:cNvPr id="7" name="Text Placeholder 2">
            <a:extLst>
              <a:ext uri="{FF2B5EF4-FFF2-40B4-BE49-F238E27FC236}">
                <a16:creationId xmlns:a16="http://schemas.microsoft.com/office/drawing/2014/main" id="{ABBD8A8F-01F7-069C-2D69-AFCA2F78DFC9}"/>
              </a:ext>
            </a:extLst>
          </p:cNvPr>
          <p:cNvSpPr>
            <a:spLocks noGrp="1"/>
          </p:cNvSpPr>
          <p:nvPr>
            <p:ph idx="1"/>
          </p:nvPr>
        </p:nvSpPr>
        <p:spPr>
          <a:xfrm>
            <a:off x="838200" y="1825625"/>
            <a:ext cx="10515600" cy="3638473"/>
          </a:xfrm>
          <a:prstGeom prst="rect">
            <a:avLst/>
          </a:prstGeom>
        </p:spPr>
        <p:txBody>
          <a:bodyPr vert="horz" lIns="144000" tIns="144000" rIns="144000" bIns="144000" rtlCol="0">
            <a:noAutofit/>
          </a:bodyPr>
          <a:lstStyle>
            <a:lvl1pPr marL="0" indent="0">
              <a:buNone/>
              <a:defRPr sz="2000"/>
            </a:lvl1pPr>
          </a:lstStyle>
          <a:p>
            <a:pPr lvl="0"/>
            <a:r>
              <a:rPr lang="en-US"/>
              <a:t>Click to edit Master text styles</a:t>
            </a:r>
          </a:p>
        </p:txBody>
      </p:sp>
      <p:sp>
        <p:nvSpPr>
          <p:cNvPr id="3" name="Slide Number Placeholder 5">
            <a:extLst>
              <a:ext uri="{FF2B5EF4-FFF2-40B4-BE49-F238E27FC236}">
                <a16:creationId xmlns:a16="http://schemas.microsoft.com/office/drawing/2014/main" id="{487499CD-21D1-84C4-7FD1-F33A396395B0}"/>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Nr.›</a:t>
            </a:fld>
            <a:endParaRPr lang="en-IE"/>
          </a:p>
        </p:txBody>
      </p:sp>
      <p:sp>
        <p:nvSpPr>
          <p:cNvPr id="5" name="Rectangle 4">
            <a:extLst>
              <a:ext uri="{FF2B5EF4-FFF2-40B4-BE49-F238E27FC236}">
                <a16:creationId xmlns:a16="http://schemas.microsoft.com/office/drawing/2014/main" id="{68FC60C8-35F5-AFE8-8E67-5DD976B1893A}"/>
              </a:ext>
            </a:extLst>
          </p:cNvPr>
          <p:cNvSpPr/>
          <p:nvPr userDrawn="1"/>
        </p:nvSpPr>
        <p:spPr>
          <a:xfrm>
            <a:off x="631768" y="0"/>
            <a:ext cx="145576" cy="1393902"/>
          </a:xfrm>
          <a:prstGeom prst="rect">
            <a:avLst/>
          </a:prstGeom>
          <a:solidFill>
            <a:schemeClr val="accent4">
              <a:lumMod val="75000"/>
            </a:schemeClr>
          </a:solidFill>
          <a:ln w="3175">
            <a:noFill/>
          </a:ln>
          <a:effectLst>
            <a:outerShdw blurRad="38100" dist="25400" dir="5400000" algn="t" rotWithShape="0">
              <a:schemeClr val="tx1">
                <a:alpha val="27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14368348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body text two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199" y="1989056"/>
            <a:ext cx="5019675" cy="3271102"/>
          </a:xfrm>
          <a:noFill/>
        </p:spPr>
        <p:txBody>
          <a:bodyPr lIns="144000" tIns="144000" rIns="144000" bIns="144000">
            <a:noAutofit/>
          </a:bodyPr>
          <a:lstStyle>
            <a:lvl1pPr marL="0" indent="0">
              <a:buNone/>
              <a:defRPr sz="2000">
                <a:solidFill>
                  <a:schemeClr val="tx1"/>
                </a:solidFill>
              </a:defRPr>
            </a:lvl1pPr>
          </a:lstStyle>
          <a:p>
            <a:pPr lvl="0"/>
            <a:r>
              <a:rPr lang="en-US"/>
              <a:t>Click to edit Master text styles</a:t>
            </a:r>
          </a:p>
        </p:txBody>
      </p:sp>
      <p:sp>
        <p:nvSpPr>
          <p:cNvPr id="6" name="Content Placeholder 2">
            <a:extLst>
              <a:ext uri="{FF2B5EF4-FFF2-40B4-BE49-F238E27FC236}">
                <a16:creationId xmlns:a16="http://schemas.microsoft.com/office/drawing/2014/main" id="{5F39DED1-43B7-A54B-D3D7-54792E535D26}"/>
              </a:ext>
            </a:extLst>
          </p:cNvPr>
          <p:cNvSpPr>
            <a:spLocks noGrp="1"/>
          </p:cNvSpPr>
          <p:nvPr>
            <p:ph sz="half" idx="10"/>
          </p:nvPr>
        </p:nvSpPr>
        <p:spPr>
          <a:xfrm>
            <a:off x="6334125" y="1989056"/>
            <a:ext cx="5019675" cy="3271102"/>
          </a:xfrm>
          <a:noFill/>
        </p:spPr>
        <p:txBody>
          <a:bodyPr lIns="144000" tIns="144000" rIns="144000" bIns="144000">
            <a:noAutofit/>
          </a:bodyPr>
          <a:lstStyle>
            <a:lvl1pPr marL="0" indent="0">
              <a:buNone/>
              <a:defRPr sz="2000">
                <a:solidFill>
                  <a:schemeClr val="tx1"/>
                </a:solidFill>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id="{B9416748-3994-A02A-B7BD-AC8272883D95}"/>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Nr.›</a:t>
            </a:fld>
            <a:endParaRPr lang="en-IE"/>
          </a:p>
        </p:txBody>
      </p:sp>
      <p:sp>
        <p:nvSpPr>
          <p:cNvPr id="5" name="Rectangle 4">
            <a:extLst>
              <a:ext uri="{FF2B5EF4-FFF2-40B4-BE49-F238E27FC236}">
                <a16:creationId xmlns:a16="http://schemas.microsoft.com/office/drawing/2014/main" id="{32B47957-98F1-3146-6B1F-584C1581017B}"/>
              </a:ext>
            </a:extLst>
          </p:cNvPr>
          <p:cNvSpPr/>
          <p:nvPr userDrawn="1"/>
        </p:nvSpPr>
        <p:spPr>
          <a:xfrm>
            <a:off x="631768" y="0"/>
            <a:ext cx="145576" cy="1393902"/>
          </a:xfrm>
          <a:prstGeom prst="rect">
            <a:avLst/>
          </a:prstGeom>
          <a:solidFill>
            <a:schemeClr val="accent4">
              <a:lumMod val="75000"/>
            </a:schemeClr>
          </a:solidFill>
          <a:ln w="3175">
            <a:noFill/>
          </a:ln>
          <a:effectLst>
            <a:outerShdw blurRad="38100" dist="25400" dir="5400000" algn="t" rotWithShape="0">
              <a:schemeClr val="tx1">
                <a:alpha val="27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16677205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body text two columns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lvl1pPr>
              <a:defRPr>
                <a:solidFill>
                  <a:srgbClr val="69808A"/>
                </a:solidFill>
              </a:defRPr>
            </a:lvl1p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199" y="1989056"/>
            <a:ext cx="5019675" cy="3271102"/>
          </a:xfrm>
          <a:solidFill>
            <a:schemeClr val="tx2"/>
          </a:solidFill>
        </p:spPr>
        <p:txBody>
          <a:bodyPr lIns="144000" tIns="144000" rIns="144000" bIns="144000">
            <a:noAutofit/>
          </a:bodyPr>
          <a:lstStyle>
            <a:lvl1pPr marL="0" indent="0">
              <a:buNone/>
              <a:defRPr sz="2000">
                <a:solidFill>
                  <a:schemeClr val="bg1"/>
                </a:solidFill>
              </a:defRPr>
            </a:lvl1pPr>
          </a:lstStyle>
          <a:p>
            <a:pPr lvl="0"/>
            <a:r>
              <a:rPr lang="en-US"/>
              <a:t>Click to edit Master text styles</a:t>
            </a:r>
          </a:p>
        </p:txBody>
      </p:sp>
      <p:sp>
        <p:nvSpPr>
          <p:cNvPr id="5" name="Content Placeholder 2">
            <a:extLst>
              <a:ext uri="{FF2B5EF4-FFF2-40B4-BE49-F238E27FC236}">
                <a16:creationId xmlns:a16="http://schemas.microsoft.com/office/drawing/2014/main" id="{DC0E4D59-AF6A-8993-094A-5A4FED57EA37}"/>
              </a:ext>
            </a:extLst>
          </p:cNvPr>
          <p:cNvSpPr>
            <a:spLocks noGrp="1"/>
          </p:cNvSpPr>
          <p:nvPr>
            <p:ph sz="half" idx="10"/>
          </p:nvPr>
        </p:nvSpPr>
        <p:spPr>
          <a:xfrm>
            <a:off x="6334125" y="1989056"/>
            <a:ext cx="5019675" cy="3271102"/>
          </a:xfrm>
          <a:solidFill>
            <a:schemeClr val="tx2"/>
          </a:solidFill>
        </p:spPr>
        <p:txBody>
          <a:bodyPr lIns="144000" tIns="144000" rIns="144000" bIns="144000">
            <a:noAutofit/>
          </a:bodyPr>
          <a:lstStyle>
            <a:lvl1pPr marL="0" indent="0">
              <a:buNone/>
              <a:defRPr sz="2000">
                <a:solidFill>
                  <a:schemeClr val="bg1"/>
                </a:solidFill>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id="{8C3588F2-1E00-50BC-0820-CB663EE9719E}"/>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Nr.›</a:t>
            </a:fld>
            <a:endParaRPr lang="en-IE"/>
          </a:p>
        </p:txBody>
      </p:sp>
      <p:sp>
        <p:nvSpPr>
          <p:cNvPr id="6" name="Rectangle 5">
            <a:extLst>
              <a:ext uri="{FF2B5EF4-FFF2-40B4-BE49-F238E27FC236}">
                <a16:creationId xmlns:a16="http://schemas.microsoft.com/office/drawing/2014/main" id="{1CD81E4F-B7FB-CDD1-4C3D-89F9D2A6B535}"/>
              </a:ext>
            </a:extLst>
          </p:cNvPr>
          <p:cNvSpPr/>
          <p:nvPr userDrawn="1"/>
        </p:nvSpPr>
        <p:spPr>
          <a:xfrm>
            <a:off x="631768" y="0"/>
            <a:ext cx="145576" cy="1393902"/>
          </a:xfrm>
          <a:prstGeom prst="rect">
            <a:avLst/>
          </a:prstGeom>
          <a:solidFill>
            <a:schemeClr val="accent4">
              <a:lumMod val="75000"/>
            </a:schemeClr>
          </a:solidFill>
          <a:ln w="3175">
            <a:noFill/>
          </a:ln>
          <a:effectLst>
            <a:outerShdw blurRad="38100" dist="25400" dir="5400000" algn="t" rotWithShape="0">
              <a:schemeClr val="tx1">
                <a:alpha val="27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11600115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body text two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lvl1pPr>
              <a:defRPr>
                <a:solidFill>
                  <a:srgbClr val="69808A"/>
                </a:solidFill>
              </a:defRPr>
            </a:lvl1pPr>
          </a:lstStyle>
          <a:p>
            <a:r>
              <a:rPr lang="en-US"/>
              <a:t>Click to edit Master title style</a:t>
            </a:r>
            <a:endParaRPr lang="en-IE"/>
          </a:p>
        </p:txBody>
      </p:sp>
      <p:sp>
        <p:nvSpPr>
          <p:cNvPr id="4" name="Content Placeholder 2">
            <a:extLst>
              <a:ext uri="{FF2B5EF4-FFF2-40B4-BE49-F238E27FC236}">
                <a16:creationId xmlns:a16="http://schemas.microsoft.com/office/drawing/2014/main" id="{E0920A60-FD35-93DC-D952-15BAEF0C0BB5}"/>
              </a:ext>
            </a:extLst>
          </p:cNvPr>
          <p:cNvSpPr>
            <a:spLocks noGrp="1"/>
          </p:cNvSpPr>
          <p:nvPr>
            <p:ph sz="half" idx="15" hasCustomPrompt="1"/>
          </p:nvPr>
        </p:nvSpPr>
        <p:spPr>
          <a:xfrm>
            <a:off x="838200" y="2029022"/>
            <a:ext cx="5019674"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199" y="2724150"/>
            <a:ext cx="5019675" cy="2536008"/>
          </a:xfrm>
          <a:noFill/>
        </p:spPr>
        <p:txBody>
          <a:bodyPr lIns="144000" tIns="144000" rIns="144000" bIns="144000">
            <a:noAutofit/>
          </a:bodyPr>
          <a:lstStyle>
            <a:lvl1pPr marL="0" indent="0">
              <a:buNone/>
              <a:defRPr sz="2000">
                <a:solidFill>
                  <a:schemeClr val="tx1"/>
                </a:solidFill>
              </a:defRPr>
            </a:lvl1pPr>
          </a:lstStyle>
          <a:p>
            <a:pPr lvl="0"/>
            <a:r>
              <a:rPr lang="en-US"/>
              <a:t>Click to edit Master text styles</a:t>
            </a:r>
          </a:p>
        </p:txBody>
      </p:sp>
      <p:sp>
        <p:nvSpPr>
          <p:cNvPr id="7" name="Content Placeholder 2">
            <a:extLst>
              <a:ext uri="{FF2B5EF4-FFF2-40B4-BE49-F238E27FC236}">
                <a16:creationId xmlns:a16="http://schemas.microsoft.com/office/drawing/2014/main" id="{26B8E071-31DF-2C06-04A9-3BC538CDA6CD}"/>
              </a:ext>
            </a:extLst>
          </p:cNvPr>
          <p:cNvSpPr>
            <a:spLocks noGrp="1"/>
          </p:cNvSpPr>
          <p:nvPr>
            <p:ph sz="half" idx="17" hasCustomPrompt="1"/>
          </p:nvPr>
        </p:nvSpPr>
        <p:spPr>
          <a:xfrm>
            <a:off x="6334126" y="2029022"/>
            <a:ext cx="5019674"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5" name="Content Placeholder 2">
            <a:extLst>
              <a:ext uri="{FF2B5EF4-FFF2-40B4-BE49-F238E27FC236}">
                <a16:creationId xmlns:a16="http://schemas.microsoft.com/office/drawing/2014/main" id="{118A63BF-772E-9151-C37F-6751BC1781DA}"/>
              </a:ext>
            </a:extLst>
          </p:cNvPr>
          <p:cNvSpPr>
            <a:spLocks noGrp="1"/>
          </p:cNvSpPr>
          <p:nvPr>
            <p:ph sz="half" idx="16"/>
          </p:nvPr>
        </p:nvSpPr>
        <p:spPr>
          <a:xfrm>
            <a:off x="6334125" y="2724150"/>
            <a:ext cx="5019675" cy="2536008"/>
          </a:xfrm>
          <a:noFill/>
        </p:spPr>
        <p:txBody>
          <a:bodyPr lIns="144000" tIns="144000" rIns="144000" bIns="144000">
            <a:noAutofit/>
          </a:bodyPr>
          <a:lstStyle>
            <a:lvl1pPr marL="0" indent="0">
              <a:buNone/>
              <a:defRPr sz="2000">
                <a:solidFill>
                  <a:schemeClr val="tx1"/>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A10AA9BB-29EC-79EA-02CA-8452ADF649A1}"/>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Nr.›</a:t>
            </a:fld>
            <a:endParaRPr lang="en-IE"/>
          </a:p>
        </p:txBody>
      </p:sp>
      <p:sp>
        <p:nvSpPr>
          <p:cNvPr id="8" name="Rectangle 7">
            <a:extLst>
              <a:ext uri="{FF2B5EF4-FFF2-40B4-BE49-F238E27FC236}">
                <a16:creationId xmlns:a16="http://schemas.microsoft.com/office/drawing/2014/main" id="{E64B5B85-0BD8-350F-3513-F73B7772372F}"/>
              </a:ext>
            </a:extLst>
          </p:cNvPr>
          <p:cNvSpPr/>
          <p:nvPr userDrawn="1"/>
        </p:nvSpPr>
        <p:spPr>
          <a:xfrm>
            <a:off x="631768" y="0"/>
            <a:ext cx="145576" cy="1393902"/>
          </a:xfrm>
          <a:prstGeom prst="rect">
            <a:avLst/>
          </a:prstGeom>
          <a:solidFill>
            <a:schemeClr val="accent4">
              <a:lumMod val="75000"/>
            </a:schemeClr>
          </a:solidFill>
          <a:ln w="3175">
            <a:noFill/>
          </a:ln>
          <a:effectLst>
            <a:outerShdw blurRad="38100" dist="25400" dir="5400000" algn="t" rotWithShape="0">
              <a:schemeClr val="tx1">
                <a:alpha val="27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27338950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body text two columns with subtitles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B8270BF-EE76-A46D-95E0-FB617042099B}"/>
              </a:ext>
            </a:extLst>
          </p:cNvPr>
          <p:cNvSpPr>
            <a:spLocks/>
          </p:cNvSpPr>
          <p:nvPr/>
        </p:nvSpPr>
        <p:spPr>
          <a:xfrm>
            <a:off x="0" y="1487978"/>
            <a:ext cx="12192000" cy="537002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solidFill>
                <a:schemeClr val="tx2"/>
              </a:solidFill>
            </a:endParaRPr>
          </a:p>
        </p:txBody>
      </p:sp>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p>
            <a:r>
              <a:rPr lang="en-US"/>
              <a:t>Click to edit Master title style</a:t>
            </a:r>
            <a:endParaRPr lang="en-IE"/>
          </a:p>
        </p:txBody>
      </p:sp>
      <p:sp>
        <p:nvSpPr>
          <p:cNvPr id="4" name="Content Placeholder 2">
            <a:extLst>
              <a:ext uri="{FF2B5EF4-FFF2-40B4-BE49-F238E27FC236}">
                <a16:creationId xmlns:a16="http://schemas.microsoft.com/office/drawing/2014/main" id="{E0920A60-FD35-93DC-D952-15BAEF0C0BB5}"/>
              </a:ext>
            </a:extLst>
          </p:cNvPr>
          <p:cNvSpPr>
            <a:spLocks noGrp="1"/>
          </p:cNvSpPr>
          <p:nvPr>
            <p:ph sz="half" idx="15" hasCustomPrompt="1"/>
          </p:nvPr>
        </p:nvSpPr>
        <p:spPr>
          <a:xfrm>
            <a:off x="838200" y="2029022"/>
            <a:ext cx="5019674" cy="460375"/>
          </a:xfrm>
          <a:solidFill>
            <a:schemeClr val="accent5"/>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tx2"/>
                </a:solidFill>
              </a:defRPr>
            </a:lvl1pPr>
          </a:lstStyle>
          <a:p>
            <a:pPr lvl="0"/>
            <a:r>
              <a:rPr lang="en-US"/>
              <a:t>Click to add subtitle</a:t>
            </a:r>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199" y="2724150"/>
            <a:ext cx="5019675" cy="2536008"/>
          </a:xfrm>
          <a:noFill/>
        </p:spPr>
        <p:txBody>
          <a:bodyPr lIns="144000" tIns="144000" rIns="144000" bIns="144000">
            <a:noAutofit/>
          </a:bodyPr>
          <a:lstStyle>
            <a:lvl1pPr marL="0" indent="0">
              <a:buNone/>
              <a:defRPr sz="2000">
                <a:solidFill>
                  <a:schemeClr val="bg1"/>
                </a:solidFill>
              </a:defRPr>
            </a:lvl1pPr>
          </a:lstStyle>
          <a:p>
            <a:pPr lvl="0"/>
            <a:r>
              <a:rPr lang="en-US"/>
              <a:t>Click to edit Master text styles</a:t>
            </a:r>
          </a:p>
        </p:txBody>
      </p:sp>
      <p:sp>
        <p:nvSpPr>
          <p:cNvPr id="7" name="Content Placeholder 2">
            <a:extLst>
              <a:ext uri="{FF2B5EF4-FFF2-40B4-BE49-F238E27FC236}">
                <a16:creationId xmlns:a16="http://schemas.microsoft.com/office/drawing/2014/main" id="{26B8E071-31DF-2C06-04A9-3BC538CDA6CD}"/>
              </a:ext>
            </a:extLst>
          </p:cNvPr>
          <p:cNvSpPr>
            <a:spLocks noGrp="1"/>
          </p:cNvSpPr>
          <p:nvPr>
            <p:ph sz="half" idx="17" hasCustomPrompt="1"/>
          </p:nvPr>
        </p:nvSpPr>
        <p:spPr>
          <a:xfrm>
            <a:off x="6334126" y="2029022"/>
            <a:ext cx="5019674" cy="460375"/>
          </a:xfrm>
          <a:solidFill>
            <a:schemeClr val="accent5"/>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tx2"/>
                </a:solidFill>
              </a:defRPr>
            </a:lvl1pPr>
          </a:lstStyle>
          <a:p>
            <a:pPr lvl="0"/>
            <a:r>
              <a:rPr lang="en-US"/>
              <a:t>Click to add subtitle</a:t>
            </a:r>
          </a:p>
        </p:txBody>
      </p:sp>
      <p:sp>
        <p:nvSpPr>
          <p:cNvPr id="5" name="Content Placeholder 2">
            <a:extLst>
              <a:ext uri="{FF2B5EF4-FFF2-40B4-BE49-F238E27FC236}">
                <a16:creationId xmlns:a16="http://schemas.microsoft.com/office/drawing/2014/main" id="{118A63BF-772E-9151-C37F-6751BC1781DA}"/>
              </a:ext>
            </a:extLst>
          </p:cNvPr>
          <p:cNvSpPr>
            <a:spLocks noGrp="1"/>
          </p:cNvSpPr>
          <p:nvPr>
            <p:ph sz="half" idx="16"/>
          </p:nvPr>
        </p:nvSpPr>
        <p:spPr>
          <a:xfrm>
            <a:off x="6334125" y="2724150"/>
            <a:ext cx="5019675" cy="2536008"/>
          </a:xfrm>
          <a:noFill/>
        </p:spPr>
        <p:txBody>
          <a:bodyPr lIns="144000" tIns="144000" rIns="144000" bIns="144000">
            <a:noAutofit/>
          </a:bodyPr>
          <a:lstStyle>
            <a:lvl1pPr marL="0" indent="0">
              <a:buNone/>
              <a:defRPr sz="2000">
                <a:solidFill>
                  <a:schemeClr val="bg1"/>
                </a:solidFill>
              </a:defRPr>
            </a:lvl1pPr>
          </a:lstStyle>
          <a:p>
            <a:pPr lvl="0"/>
            <a:r>
              <a:rPr lang="en-US"/>
              <a:t>Click to edit Master text styles</a:t>
            </a:r>
          </a:p>
        </p:txBody>
      </p:sp>
      <p:pic>
        <p:nvPicPr>
          <p:cNvPr id="10" name="Picture 9" descr="A blue flag with yellow stars and stripes&#10;&#10;Description automatically generated">
            <a:extLst>
              <a:ext uri="{FF2B5EF4-FFF2-40B4-BE49-F238E27FC236}">
                <a16:creationId xmlns:a16="http://schemas.microsoft.com/office/drawing/2014/main" id="{7262511B-BA2E-7984-66D6-B5152DA09D7B}"/>
              </a:ext>
            </a:extLst>
          </p:cNvPr>
          <p:cNvPicPr>
            <a:picLocks noChangeAspect="1"/>
          </p:cNvPicPr>
          <p:nvPr/>
        </p:nvPicPr>
        <p:blipFill>
          <a:blip r:embed="rId2"/>
          <a:stretch>
            <a:fillRect/>
          </a:stretch>
        </p:blipFill>
        <p:spPr>
          <a:xfrm>
            <a:off x="10725768" y="5901016"/>
            <a:ext cx="1257867" cy="763200"/>
          </a:xfrm>
          <a:prstGeom prst="rect">
            <a:avLst/>
          </a:prstGeom>
        </p:spPr>
      </p:pic>
      <p:pic>
        <p:nvPicPr>
          <p:cNvPr id="11" name="Picture 10" descr="A blue flag with yellow stars and stripes&#10;&#10;Description automatically generated">
            <a:extLst>
              <a:ext uri="{FF2B5EF4-FFF2-40B4-BE49-F238E27FC236}">
                <a16:creationId xmlns:a16="http://schemas.microsoft.com/office/drawing/2014/main" id="{DB557BE9-B8DC-E601-A0F8-16CD84F91810}"/>
              </a:ext>
            </a:extLst>
          </p:cNvPr>
          <p:cNvPicPr>
            <a:picLocks noChangeAspect="1"/>
          </p:cNvPicPr>
          <p:nvPr userDrawn="1"/>
        </p:nvPicPr>
        <p:blipFill>
          <a:blip r:embed="rId2"/>
          <a:stretch>
            <a:fillRect/>
          </a:stretch>
        </p:blipFill>
        <p:spPr>
          <a:xfrm>
            <a:off x="10725768" y="5901016"/>
            <a:ext cx="1257867" cy="763200"/>
          </a:xfrm>
          <a:prstGeom prst="rect">
            <a:avLst/>
          </a:prstGeom>
        </p:spPr>
      </p:pic>
      <p:sp>
        <p:nvSpPr>
          <p:cNvPr id="9" name="Slide Number Placeholder 5">
            <a:extLst>
              <a:ext uri="{FF2B5EF4-FFF2-40B4-BE49-F238E27FC236}">
                <a16:creationId xmlns:a16="http://schemas.microsoft.com/office/drawing/2014/main" id="{BEFAC7B2-2467-A72A-9F8B-CBD0FB0D8C4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bg1"/>
                </a:solidFill>
                <a:latin typeface="+mn-lt"/>
              </a:defRPr>
            </a:lvl1pPr>
          </a:lstStyle>
          <a:p>
            <a:pPr algn="l"/>
            <a:fld id="{768364BB-9B21-4D29-A19C-C6410F652861}" type="slidenum">
              <a:rPr lang="en-IE" smtClean="0"/>
              <a:pPr algn="l"/>
              <a:t>‹Nr.›</a:t>
            </a:fld>
            <a:endParaRPr lang="en-IE"/>
          </a:p>
        </p:txBody>
      </p:sp>
    </p:spTree>
    <p:extLst>
      <p:ext uri="{BB962C8B-B14F-4D97-AF65-F5344CB8AC3E}">
        <p14:creationId xmlns:p14="http://schemas.microsoft.com/office/powerpoint/2010/main" val="22324336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body text two columns colured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CFB38-4E5F-126B-A212-3CBD911F9836}"/>
              </a:ext>
            </a:extLst>
          </p:cNvPr>
          <p:cNvSpPr>
            <a:spLocks noGrp="1" noRot="1" noMove="1" noResize="1" noEditPoints="1" noAdjustHandles="1" noChangeArrowheads="1" noChangeShapeType="1"/>
          </p:cNvSpPr>
          <p:nvPr/>
        </p:nvSpPr>
        <p:spPr>
          <a:xfrm>
            <a:off x="0" y="1487978"/>
            <a:ext cx="12192000" cy="5370022"/>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lstStyle>
            <a:lvl1pPr>
              <a:defRPr>
                <a:solidFill>
                  <a:srgbClr val="69808A"/>
                </a:solidFill>
              </a:defRPr>
            </a:lvl1p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200" y="2587083"/>
            <a:ext cx="4670502" cy="2899317"/>
          </a:xfrm>
          <a:noFill/>
        </p:spPr>
        <p:txBody>
          <a:bodyPr>
            <a:noAutofit/>
          </a:bodyPr>
          <a:lstStyle>
            <a:lvl1pPr marL="0" indent="0">
              <a:buNone/>
              <a:defRPr sz="2000">
                <a:solidFill>
                  <a:schemeClr val="bg1"/>
                </a:solidFill>
              </a:defRPr>
            </a:lvl1pPr>
          </a:lstStyle>
          <a:p>
            <a:pPr lvl="0"/>
            <a:r>
              <a:rPr lang="en-US"/>
              <a:t>Click to edit Master text styles</a:t>
            </a:r>
          </a:p>
        </p:txBody>
      </p:sp>
      <p:sp>
        <p:nvSpPr>
          <p:cNvPr id="4" name="Content Placeholder 3">
            <a:extLst>
              <a:ext uri="{FF2B5EF4-FFF2-40B4-BE49-F238E27FC236}">
                <a16:creationId xmlns:a16="http://schemas.microsoft.com/office/drawing/2014/main" id="{AE36259F-C7F8-D963-3DFD-92239B4D3FA2}"/>
              </a:ext>
            </a:extLst>
          </p:cNvPr>
          <p:cNvSpPr>
            <a:spLocks noGrp="1"/>
          </p:cNvSpPr>
          <p:nvPr>
            <p:ph sz="half" idx="2"/>
          </p:nvPr>
        </p:nvSpPr>
        <p:spPr>
          <a:xfrm>
            <a:off x="6172200" y="2587083"/>
            <a:ext cx="5181600" cy="2899317"/>
          </a:xfrm>
          <a:noFill/>
        </p:spPr>
        <p:txBody>
          <a:bodyPr>
            <a:noAutofit/>
          </a:bodyPr>
          <a:lstStyle>
            <a:lvl1pPr marL="0" indent="0">
              <a:buNone/>
              <a:defRPr sz="2000">
                <a:solidFill>
                  <a:schemeClr val="bg1"/>
                </a:solidFill>
              </a:defRPr>
            </a:lvl1pPr>
          </a:lstStyle>
          <a:p>
            <a:pPr lvl="0"/>
            <a:r>
              <a:rPr lang="en-US"/>
              <a:t>Click to edit Master text styles</a:t>
            </a:r>
          </a:p>
        </p:txBody>
      </p:sp>
      <p:pic>
        <p:nvPicPr>
          <p:cNvPr id="8" name="Picture 7" descr="A blue flag with yellow stars and stripes&#10;&#10;Description automatically generated">
            <a:extLst>
              <a:ext uri="{FF2B5EF4-FFF2-40B4-BE49-F238E27FC236}">
                <a16:creationId xmlns:a16="http://schemas.microsoft.com/office/drawing/2014/main" id="{02BBC44B-821F-21ED-8464-03E521698175}"/>
              </a:ext>
            </a:extLst>
          </p:cNvPr>
          <p:cNvPicPr>
            <a:picLocks noChangeAspect="1"/>
          </p:cNvPicPr>
          <p:nvPr/>
        </p:nvPicPr>
        <p:blipFill>
          <a:blip r:embed="rId2"/>
          <a:stretch>
            <a:fillRect/>
          </a:stretch>
        </p:blipFill>
        <p:spPr>
          <a:xfrm>
            <a:off x="10725768" y="5901016"/>
            <a:ext cx="1257867" cy="763200"/>
          </a:xfrm>
          <a:prstGeom prst="rect">
            <a:avLst/>
          </a:prstGeom>
        </p:spPr>
      </p:pic>
      <p:pic>
        <p:nvPicPr>
          <p:cNvPr id="9" name="Picture 8" descr="A blue flag with yellow stars and stripes&#10;&#10;Description automatically generated">
            <a:extLst>
              <a:ext uri="{FF2B5EF4-FFF2-40B4-BE49-F238E27FC236}">
                <a16:creationId xmlns:a16="http://schemas.microsoft.com/office/drawing/2014/main" id="{22B46DA4-CDDE-5119-2E5E-AD549E681C9C}"/>
              </a:ext>
            </a:extLst>
          </p:cNvPr>
          <p:cNvPicPr>
            <a:picLocks noChangeAspect="1"/>
          </p:cNvPicPr>
          <p:nvPr userDrawn="1"/>
        </p:nvPicPr>
        <p:blipFill>
          <a:blip r:embed="rId2"/>
          <a:stretch>
            <a:fillRect/>
          </a:stretch>
        </p:blipFill>
        <p:spPr>
          <a:xfrm>
            <a:off x="10725768" y="5901016"/>
            <a:ext cx="1257867" cy="763200"/>
          </a:xfrm>
          <a:prstGeom prst="rect">
            <a:avLst/>
          </a:prstGeom>
        </p:spPr>
      </p:pic>
      <p:sp>
        <p:nvSpPr>
          <p:cNvPr id="5" name="Slide Number Placeholder 5">
            <a:extLst>
              <a:ext uri="{FF2B5EF4-FFF2-40B4-BE49-F238E27FC236}">
                <a16:creationId xmlns:a16="http://schemas.microsoft.com/office/drawing/2014/main" id="{4A321162-C08B-5D98-4E1F-FE50C321D819}"/>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bg1"/>
                </a:solidFill>
                <a:latin typeface="+mn-lt"/>
              </a:defRPr>
            </a:lvl1pPr>
          </a:lstStyle>
          <a:p>
            <a:pPr algn="l"/>
            <a:fld id="{768364BB-9B21-4D29-A19C-C6410F652861}" type="slidenum">
              <a:rPr lang="en-IE" smtClean="0"/>
              <a:pPr algn="l"/>
              <a:t>‹Nr.›</a:t>
            </a:fld>
            <a:endParaRPr lang="en-IE"/>
          </a:p>
        </p:txBody>
      </p:sp>
      <p:sp>
        <p:nvSpPr>
          <p:cNvPr id="6" name="Rectangle 5">
            <a:extLst>
              <a:ext uri="{FF2B5EF4-FFF2-40B4-BE49-F238E27FC236}">
                <a16:creationId xmlns:a16="http://schemas.microsoft.com/office/drawing/2014/main" id="{7674D8C5-90B8-AC94-9EAE-D0512B2F6F80}"/>
              </a:ext>
            </a:extLst>
          </p:cNvPr>
          <p:cNvSpPr/>
          <p:nvPr userDrawn="1"/>
        </p:nvSpPr>
        <p:spPr>
          <a:xfrm>
            <a:off x="631768" y="0"/>
            <a:ext cx="145576" cy="1393902"/>
          </a:xfrm>
          <a:prstGeom prst="rect">
            <a:avLst/>
          </a:prstGeom>
          <a:solidFill>
            <a:schemeClr val="accent4">
              <a:lumMod val="75000"/>
            </a:schemeClr>
          </a:solidFill>
          <a:ln w="3175">
            <a:noFill/>
          </a:ln>
          <a:effectLst>
            <a:outerShdw blurRad="38100" dist="25400" dir="5400000" algn="t" rotWithShape="0">
              <a:schemeClr val="tx1">
                <a:alpha val="27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15988499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hesen Zwischenhead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933451" y="1667556"/>
            <a:ext cx="10515600" cy="1401404"/>
          </a:xfrm>
        </p:spPr>
        <p:txBody>
          <a:bodyPr/>
          <a:lstStyle>
            <a:lvl1pPr>
              <a:defRPr>
                <a:solidFill>
                  <a:schemeClr val="tx2"/>
                </a:solidFill>
              </a:defRPr>
            </a:lvl1pPr>
          </a:lstStyle>
          <a:p>
            <a:pPr algn="l" rtl="0"/>
            <a:r>
              <a:rPr lang="en-GB" b="0" i="0" u="none" baseline="0"/>
              <a:t>These eingeben | maximal dreizeilig</a:t>
            </a:r>
          </a:p>
        </p:txBody>
      </p:sp>
      <p:sp>
        <p:nvSpPr>
          <p:cNvPr id="3" name="Foliennummernplatzhalter 2"/>
          <p:cNvSpPr>
            <a:spLocks noGrp="1"/>
          </p:cNvSpPr>
          <p:nvPr>
            <p:ph type="sldNum" sz="quarter" idx="10"/>
          </p:nvPr>
        </p:nvSpPr>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a:solidFill>
                  <a:schemeClr val="accent5"/>
                </a:solidFill>
              </a:rPr>
              <a:pPr algn="l" rtl="0"/>
              <a:t>‹Nr.›</a:t>
            </a:fld>
            <a:r>
              <a:rPr lang="en-GB" sz="1000" b="0" i="0" u="none" baseline="0">
                <a:solidFill>
                  <a:schemeClr val="accent5"/>
                </a:solidFill>
              </a:rPr>
              <a:t> </a:t>
            </a:r>
            <a:endParaRPr lang="en-GB" sz="1000" dirty="0">
              <a:solidFill>
                <a:schemeClr val="accent5"/>
              </a:solidFill>
            </a:endParaRP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20000" y="540000"/>
            <a:ext cx="1812610" cy="560924"/>
          </a:xfrm>
          <a:prstGeom prst="rect">
            <a:avLst/>
          </a:prstGeom>
        </p:spPr>
      </p:pic>
      <p:pic>
        <p:nvPicPr>
          <p:cNvPr id="6" name="Grafik 5">
            <a:extLst>
              <a:ext uri="{FF2B5EF4-FFF2-40B4-BE49-F238E27FC236}">
                <a16:creationId xmlns:a16="http://schemas.microsoft.com/office/drawing/2014/main" id="{37E20FA5-008E-4BF0-B276-7FE4F0B1DE85}"/>
              </a:ext>
            </a:extLst>
          </p:cNvPr>
          <p:cNvPicPr>
            <a:picLocks noChangeAspect="1"/>
          </p:cNvPicPr>
          <p:nvPr userDrawn="1"/>
        </p:nvPicPr>
        <p:blipFill rotWithShape="1">
          <a:blip r:embed="rId3"/>
          <a:srcRect l="11160" t="8732" r="10722" b="13048"/>
          <a:stretch/>
        </p:blipFill>
        <p:spPr>
          <a:xfrm>
            <a:off x="8184232" y="349801"/>
            <a:ext cx="1368152" cy="846951"/>
          </a:xfrm>
          <a:prstGeom prst="rect">
            <a:avLst/>
          </a:prstGeom>
        </p:spPr>
      </p:pic>
    </p:spTree>
    <p:extLst>
      <p:ext uri="{BB962C8B-B14F-4D97-AF65-F5344CB8AC3E}">
        <p14:creationId xmlns:p14="http://schemas.microsoft.com/office/powerpoint/2010/main" val="1216986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body text three columns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lvl1pPr>
              <a:defRPr>
                <a:solidFill>
                  <a:srgbClr val="69808A"/>
                </a:solidFill>
              </a:defRPr>
            </a:lvl1p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200" y="1989056"/>
            <a:ext cx="3055070" cy="3299381"/>
          </a:xfrm>
          <a:solidFill>
            <a:schemeClr val="tx2"/>
          </a:solidFill>
        </p:spPr>
        <p:txBody>
          <a:bodyPr>
            <a:noAutofit/>
          </a:bodyPr>
          <a:lstStyle>
            <a:lvl1pPr marL="0" indent="0">
              <a:buNone/>
              <a:defRPr sz="2000">
                <a:solidFill>
                  <a:schemeClr val="bg1"/>
                </a:solidFill>
              </a:defRPr>
            </a:lvl1pPr>
          </a:lstStyle>
          <a:p>
            <a:pPr lvl="0"/>
            <a:r>
              <a:rPr lang="en-US"/>
              <a:t>Click to edit Master text styles</a:t>
            </a:r>
          </a:p>
        </p:txBody>
      </p:sp>
      <p:sp>
        <p:nvSpPr>
          <p:cNvPr id="7" name="Content Placeholder 2">
            <a:extLst>
              <a:ext uri="{FF2B5EF4-FFF2-40B4-BE49-F238E27FC236}">
                <a16:creationId xmlns:a16="http://schemas.microsoft.com/office/drawing/2014/main" id="{11A8786C-FCBD-3783-706E-0CBF5B0343E3}"/>
              </a:ext>
            </a:extLst>
          </p:cNvPr>
          <p:cNvSpPr>
            <a:spLocks noGrp="1"/>
          </p:cNvSpPr>
          <p:nvPr>
            <p:ph sz="half" idx="10"/>
          </p:nvPr>
        </p:nvSpPr>
        <p:spPr>
          <a:xfrm>
            <a:off x="4629467" y="1989056"/>
            <a:ext cx="3056400" cy="3299381"/>
          </a:xfrm>
          <a:solidFill>
            <a:schemeClr val="tx2"/>
          </a:solidFill>
        </p:spPr>
        <p:txBody>
          <a:bodyPr>
            <a:noAutofit/>
          </a:bodyPr>
          <a:lstStyle>
            <a:lvl1pPr marL="0" indent="0">
              <a:buNone/>
              <a:defRPr sz="2000">
                <a:solidFill>
                  <a:schemeClr val="bg1"/>
                </a:solidFill>
              </a:defRPr>
            </a:lvl1pPr>
          </a:lstStyle>
          <a:p>
            <a:pPr lvl="0"/>
            <a:r>
              <a:rPr lang="en-US"/>
              <a:t>Click to edit Master text styles</a:t>
            </a:r>
          </a:p>
        </p:txBody>
      </p:sp>
      <p:sp>
        <p:nvSpPr>
          <p:cNvPr id="12" name="Content Placeholder 2">
            <a:extLst>
              <a:ext uri="{FF2B5EF4-FFF2-40B4-BE49-F238E27FC236}">
                <a16:creationId xmlns:a16="http://schemas.microsoft.com/office/drawing/2014/main" id="{F4DC31AC-D39C-A8A3-ED76-D3399E224DE3}"/>
              </a:ext>
            </a:extLst>
          </p:cNvPr>
          <p:cNvSpPr>
            <a:spLocks noGrp="1"/>
          </p:cNvSpPr>
          <p:nvPr>
            <p:ph sz="half" idx="11"/>
          </p:nvPr>
        </p:nvSpPr>
        <p:spPr>
          <a:xfrm>
            <a:off x="8297400" y="1989056"/>
            <a:ext cx="3056400" cy="3299381"/>
          </a:xfrm>
          <a:solidFill>
            <a:schemeClr val="tx2"/>
          </a:solidFill>
        </p:spPr>
        <p:txBody>
          <a:bodyPr>
            <a:noAutofit/>
          </a:bodyPr>
          <a:lstStyle>
            <a:lvl1pPr marL="0" indent="0">
              <a:buNone/>
              <a:defRPr sz="2000">
                <a:solidFill>
                  <a:schemeClr val="bg1"/>
                </a:solidFill>
              </a:defRPr>
            </a:lvl1pPr>
          </a:lstStyle>
          <a:p>
            <a:pPr lvl="0"/>
            <a:r>
              <a:rPr lang="en-US"/>
              <a:t>Click to edit Master text styles</a:t>
            </a:r>
          </a:p>
        </p:txBody>
      </p:sp>
      <p:sp>
        <p:nvSpPr>
          <p:cNvPr id="5" name="Slide Number Placeholder 5">
            <a:extLst>
              <a:ext uri="{FF2B5EF4-FFF2-40B4-BE49-F238E27FC236}">
                <a16:creationId xmlns:a16="http://schemas.microsoft.com/office/drawing/2014/main" id="{6D635DEE-A882-2487-2337-D6BB66A7AF8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Nr.›</a:t>
            </a:fld>
            <a:endParaRPr lang="en-IE"/>
          </a:p>
        </p:txBody>
      </p:sp>
      <p:sp>
        <p:nvSpPr>
          <p:cNvPr id="4" name="Rectangle 3">
            <a:extLst>
              <a:ext uri="{FF2B5EF4-FFF2-40B4-BE49-F238E27FC236}">
                <a16:creationId xmlns:a16="http://schemas.microsoft.com/office/drawing/2014/main" id="{684C881B-147B-D6D8-0B8C-67BE515A4226}"/>
              </a:ext>
            </a:extLst>
          </p:cNvPr>
          <p:cNvSpPr/>
          <p:nvPr userDrawn="1"/>
        </p:nvSpPr>
        <p:spPr>
          <a:xfrm>
            <a:off x="631768" y="0"/>
            <a:ext cx="145576" cy="1393902"/>
          </a:xfrm>
          <a:prstGeom prst="rect">
            <a:avLst/>
          </a:prstGeom>
          <a:solidFill>
            <a:schemeClr val="accent4">
              <a:lumMod val="75000"/>
            </a:schemeClr>
          </a:solidFill>
          <a:ln w="3175">
            <a:noFill/>
          </a:ln>
          <a:effectLst>
            <a:outerShdw blurRad="38100" dist="25400" dir="5400000" algn="t" rotWithShape="0">
              <a:schemeClr val="tx1">
                <a:alpha val="27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27513182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body text three columns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lvl1pPr>
              <a:defRPr>
                <a:solidFill>
                  <a:srgbClr val="69808A"/>
                </a:solidFill>
              </a:defRPr>
            </a:lvl1pPr>
          </a:lstStyle>
          <a:p>
            <a:r>
              <a:rPr lang="en-US"/>
              <a:t>Click to edit Master title styl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838200" y="1989056"/>
            <a:ext cx="3055070" cy="3299381"/>
          </a:xfrm>
        </p:spPr>
        <p:txBody>
          <a:bodyPr>
            <a:noAutofit/>
          </a:bodyPr>
          <a:lstStyle>
            <a:lvl1pPr marL="0" indent="0">
              <a:buClr>
                <a:schemeClr val="tx2"/>
              </a:buClr>
              <a:buSzPct val="150000"/>
              <a:buFont typeface="Arial" panose="020B0604020202020204" pitchFamily="34" charset="0"/>
              <a:buNone/>
              <a:defRPr sz="2000">
                <a:solidFill>
                  <a:schemeClr val="tx1"/>
                </a:solidFill>
              </a:defRPr>
            </a:lvl1pPr>
          </a:lstStyle>
          <a:p>
            <a:pPr lvl="0"/>
            <a:r>
              <a:rPr lang="en-US"/>
              <a:t>Click to edit Master text styles</a:t>
            </a:r>
          </a:p>
        </p:txBody>
      </p:sp>
      <p:sp>
        <p:nvSpPr>
          <p:cNvPr id="4" name="Content Placeholder 2">
            <a:extLst>
              <a:ext uri="{FF2B5EF4-FFF2-40B4-BE49-F238E27FC236}">
                <a16:creationId xmlns:a16="http://schemas.microsoft.com/office/drawing/2014/main" id="{AFF39438-760E-ED2B-8243-319A5EF04778}"/>
              </a:ext>
            </a:extLst>
          </p:cNvPr>
          <p:cNvSpPr>
            <a:spLocks noGrp="1"/>
          </p:cNvSpPr>
          <p:nvPr>
            <p:ph sz="half" idx="10"/>
          </p:nvPr>
        </p:nvSpPr>
        <p:spPr>
          <a:xfrm>
            <a:off x="4568465" y="1989055"/>
            <a:ext cx="3055070" cy="3299381"/>
          </a:xfrm>
        </p:spPr>
        <p:txBody>
          <a:bodyPr>
            <a:noAutofit/>
          </a:bodyPr>
          <a:lstStyle>
            <a:lvl1pPr marL="0" indent="0">
              <a:buClr>
                <a:schemeClr val="tx2"/>
              </a:buClr>
              <a:buSzPct val="150000"/>
              <a:buFont typeface="Arial" panose="020B0604020202020204" pitchFamily="34" charset="0"/>
              <a:buNone/>
              <a:defRPr sz="2000">
                <a:solidFill>
                  <a:schemeClr val="tx1"/>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B6FA7DAD-79FF-9241-7523-B9F28613FBC3}"/>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Nr.›</a:t>
            </a:fld>
            <a:endParaRPr lang="en-IE"/>
          </a:p>
        </p:txBody>
      </p:sp>
      <p:sp>
        <p:nvSpPr>
          <p:cNvPr id="5" name="Content Placeholder 2">
            <a:extLst>
              <a:ext uri="{FF2B5EF4-FFF2-40B4-BE49-F238E27FC236}">
                <a16:creationId xmlns:a16="http://schemas.microsoft.com/office/drawing/2014/main" id="{C2284C9D-0459-8584-A6B3-FFE83837141D}"/>
              </a:ext>
            </a:extLst>
          </p:cNvPr>
          <p:cNvSpPr>
            <a:spLocks noGrp="1"/>
          </p:cNvSpPr>
          <p:nvPr>
            <p:ph sz="half" idx="11"/>
          </p:nvPr>
        </p:nvSpPr>
        <p:spPr>
          <a:xfrm>
            <a:off x="8298730" y="1989055"/>
            <a:ext cx="3055070" cy="3299381"/>
          </a:xfrm>
        </p:spPr>
        <p:txBody>
          <a:bodyPr>
            <a:noAutofit/>
          </a:bodyPr>
          <a:lstStyle>
            <a:lvl1pPr marL="0" indent="0">
              <a:buClr>
                <a:schemeClr val="tx2"/>
              </a:buClr>
              <a:buSzPct val="150000"/>
              <a:buFont typeface="Arial" panose="020B0604020202020204" pitchFamily="34" charset="0"/>
              <a:buNone/>
              <a:defRPr sz="2000">
                <a:solidFill>
                  <a:schemeClr val="tx1"/>
                </a:solidFill>
              </a:defRPr>
            </a:lvl1pPr>
          </a:lstStyle>
          <a:p>
            <a:pPr lvl="0"/>
            <a:r>
              <a:rPr lang="en-US"/>
              <a:t>Click to edit Master text styles</a:t>
            </a:r>
          </a:p>
        </p:txBody>
      </p:sp>
      <p:sp>
        <p:nvSpPr>
          <p:cNvPr id="7" name="Rectangle 6">
            <a:extLst>
              <a:ext uri="{FF2B5EF4-FFF2-40B4-BE49-F238E27FC236}">
                <a16:creationId xmlns:a16="http://schemas.microsoft.com/office/drawing/2014/main" id="{32214BA1-C6B4-0B91-E093-5A14F2B3FB16}"/>
              </a:ext>
            </a:extLst>
          </p:cNvPr>
          <p:cNvSpPr/>
          <p:nvPr userDrawn="1"/>
        </p:nvSpPr>
        <p:spPr>
          <a:xfrm>
            <a:off x="631768" y="0"/>
            <a:ext cx="145576" cy="1393902"/>
          </a:xfrm>
          <a:prstGeom prst="rect">
            <a:avLst/>
          </a:prstGeom>
          <a:solidFill>
            <a:schemeClr val="accent4">
              <a:lumMod val="75000"/>
            </a:schemeClr>
          </a:solidFill>
          <a:ln w="3175">
            <a:noFill/>
          </a:ln>
          <a:effectLst>
            <a:outerShdw blurRad="38100" dist="25400" dir="5400000" algn="t" rotWithShape="0">
              <a:schemeClr val="tx1">
                <a:alpha val="27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40092503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body text three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lvl1pPr>
              <a:defRPr>
                <a:solidFill>
                  <a:srgbClr val="69808A"/>
                </a:solidFill>
              </a:defRPr>
            </a:lvl1pPr>
          </a:lstStyle>
          <a:p>
            <a:r>
              <a:rPr lang="en-US"/>
              <a:t>Click to edit Master title style</a:t>
            </a:r>
            <a:endParaRPr lang="en-IE"/>
          </a:p>
        </p:txBody>
      </p:sp>
      <p:sp>
        <p:nvSpPr>
          <p:cNvPr id="3" name="Content Placeholder 2">
            <a:extLst>
              <a:ext uri="{FF2B5EF4-FFF2-40B4-BE49-F238E27FC236}">
                <a16:creationId xmlns:a16="http://schemas.microsoft.com/office/drawing/2014/main" id="{389E2655-E9DF-246B-F4FD-D62B2B37A4B3}"/>
              </a:ext>
            </a:extLst>
          </p:cNvPr>
          <p:cNvSpPr>
            <a:spLocks noGrp="1"/>
          </p:cNvSpPr>
          <p:nvPr>
            <p:ph sz="half" idx="15" hasCustomPrompt="1"/>
          </p:nvPr>
        </p:nvSpPr>
        <p:spPr>
          <a:xfrm>
            <a:off x="838200" y="2029022"/>
            <a:ext cx="3045644"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14" name="Content Placeholder 2">
            <a:extLst>
              <a:ext uri="{FF2B5EF4-FFF2-40B4-BE49-F238E27FC236}">
                <a16:creationId xmlns:a16="http://schemas.microsoft.com/office/drawing/2014/main" id="{A1C7A71E-B4AA-350C-C619-6CD926C5FB05}"/>
              </a:ext>
            </a:extLst>
          </p:cNvPr>
          <p:cNvSpPr>
            <a:spLocks noGrp="1"/>
          </p:cNvSpPr>
          <p:nvPr>
            <p:ph sz="half" idx="1"/>
          </p:nvPr>
        </p:nvSpPr>
        <p:spPr>
          <a:xfrm>
            <a:off x="838200" y="2690199"/>
            <a:ext cx="3045644" cy="2598238"/>
          </a:xfrm>
        </p:spPr>
        <p:txBody>
          <a:bodyPr>
            <a:noAutofit/>
          </a:bodyPr>
          <a:lstStyle>
            <a:lvl1pPr marL="0" indent="0">
              <a:buNone/>
              <a:defRPr sz="2000">
                <a:solidFill>
                  <a:schemeClr val="tx1"/>
                </a:solidFill>
              </a:defRPr>
            </a:lvl1pPr>
          </a:lstStyle>
          <a:p>
            <a:pPr lvl="0"/>
            <a:r>
              <a:rPr lang="en-US"/>
              <a:t>Click to edit Master text styles</a:t>
            </a:r>
          </a:p>
        </p:txBody>
      </p:sp>
      <p:sp>
        <p:nvSpPr>
          <p:cNvPr id="4" name="Content Placeholder 2">
            <a:extLst>
              <a:ext uri="{FF2B5EF4-FFF2-40B4-BE49-F238E27FC236}">
                <a16:creationId xmlns:a16="http://schemas.microsoft.com/office/drawing/2014/main" id="{0B64B145-4048-55E1-B2E9-6B27CC0E5870}"/>
              </a:ext>
            </a:extLst>
          </p:cNvPr>
          <p:cNvSpPr>
            <a:spLocks noGrp="1"/>
          </p:cNvSpPr>
          <p:nvPr>
            <p:ph sz="half" idx="16" hasCustomPrompt="1"/>
          </p:nvPr>
        </p:nvSpPr>
        <p:spPr>
          <a:xfrm>
            <a:off x="4586925" y="2010169"/>
            <a:ext cx="3132055"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16" name="Content Placeholder 2">
            <a:extLst>
              <a:ext uri="{FF2B5EF4-FFF2-40B4-BE49-F238E27FC236}">
                <a16:creationId xmlns:a16="http://schemas.microsoft.com/office/drawing/2014/main" id="{56044468-6F92-BCD9-357B-E33281665606}"/>
              </a:ext>
            </a:extLst>
          </p:cNvPr>
          <p:cNvSpPr>
            <a:spLocks noGrp="1"/>
          </p:cNvSpPr>
          <p:nvPr>
            <p:ph sz="half" idx="10"/>
          </p:nvPr>
        </p:nvSpPr>
        <p:spPr>
          <a:xfrm>
            <a:off x="4586926" y="2690199"/>
            <a:ext cx="3132055" cy="2598238"/>
          </a:xfrm>
        </p:spPr>
        <p:txBody>
          <a:bodyPr>
            <a:noAutofit/>
          </a:bodyPr>
          <a:lstStyle>
            <a:lvl1pPr marL="0" indent="0">
              <a:buNone/>
              <a:defRPr sz="2000">
                <a:solidFill>
                  <a:schemeClr val="tx1"/>
                </a:solidFill>
              </a:defRPr>
            </a:lvl1pPr>
          </a:lstStyle>
          <a:p>
            <a:pPr lvl="0"/>
            <a:r>
              <a:rPr lang="en-US"/>
              <a:t>Click to edit Master text styles</a:t>
            </a:r>
          </a:p>
        </p:txBody>
      </p:sp>
      <p:sp>
        <p:nvSpPr>
          <p:cNvPr id="5" name="Content Placeholder 2">
            <a:extLst>
              <a:ext uri="{FF2B5EF4-FFF2-40B4-BE49-F238E27FC236}">
                <a16:creationId xmlns:a16="http://schemas.microsoft.com/office/drawing/2014/main" id="{AE2839C1-28EB-C84A-8FE0-1EB86DE1BDEE}"/>
              </a:ext>
            </a:extLst>
          </p:cNvPr>
          <p:cNvSpPr>
            <a:spLocks noGrp="1"/>
          </p:cNvSpPr>
          <p:nvPr>
            <p:ph sz="half" idx="17" hasCustomPrompt="1"/>
          </p:nvPr>
        </p:nvSpPr>
        <p:spPr>
          <a:xfrm>
            <a:off x="8422064" y="2029022"/>
            <a:ext cx="3045644" cy="460375"/>
          </a:xfrm>
          <a:solidFill>
            <a:schemeClr val="tx2"/>
          </a:solidFill>
          <a:ln w="12700" cap="rnd">
            <a:noFill/>
            <a:round/>
          </a:ln>
        </p:spPr>
        <p:style>
          <a:lnRef idx="2">
            <a:schemeClr val="accent1"/>
          </a:lnRef>
          <a:fillRef idx="1">
            <a:schemeClr val="lt1"/>
          </a:fillRef>
          <a:effectRef idx="0">
            <a:schemeClr val="accent1"/>
          </a:effectRef>
          <a:fontRef idx="minor">
            <a:schemeClr val="dk1"/>
          </a:fontRef>
        </p:style>
        <p:txBody>
          <a:bodyPr lIns="72000" tIns="72000" rIns="72000" bIns="72000">
            <a:noAutofit/>
          </a:bodyPr>
          <a:lstStyle>
            <a:lvl1pPr marL="0" indent="0">
              <a:buNone/>
              <a:defRPr sz="2400" b="1">
                <a:solidFill>
                  <a:schemeClr val="bg1"/>
                </a:solidFill>
              </a:defRPr>
            </a:lvl1pPr>
          </a:lstStyle>
          <a:p>
            <a:pPr lvl="0"/>
            <a:r>
              <a:rPr lang="en-US"/>
              <a:t>Click to add subtitle</a:t>
            </a:r>
          </a:p>
        </p:txBody>
      </p:sp>
      <p:sp>
        <p:nvSpPr>
          <p:cNvPr id="18" name="Content Placeholder 2">
            <a:extLst>
              <a:ext uri="{FF2B5EF4-FFF2-40B4-BE49-F238E27FC236}">
                <a16:creationId xmlns:a16="http://schemas.microsoft.com/office/drawing/2014/main" id="{A1E8E11D-2B2A-C5C5-EFFC-16D798510576}"/>
              </a:ext>
            </a:extLst>
          </p:cNvPr>
          <p:cNvSpPr>
            <a:spLocks noGrp="1"/>
          </p:cNvSpPr>
          <p:nvPr>
            <p:ph sz="half" idx="11"/>
          </p:nvPr>
        </p:nvSpPr>
        <p:spPr>
          <a:xfrm>
            <a:off x="8422064" y="2690199"/>
            <a:ext cx="3045644" cy="2598238"/>
          </a:xfrm>
        </p:spPr>
        <p:txBody>
          <a:bodyPr>
            <a:noAutofit/>
          </a:bodyPr>
          <a:lstStyle>
            <a:lvl1pPr>
              <a:defRPr sz="200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en-US"/>
              <a:t>Click to edit Master text styles</a:t>
            </a:r>
          </a:p>
        </p:txBody>
      </p:sp>
      <p:sp>
        <p:nvSpPr>
          <p:cNvPr id="7" name="Slide Number Placeholder 5">
            <a:extLst>
              <a:ext uri="{FF2B5EF4-FFF2-40B4-BE49-F238E27FC236}">
                <a16:creationId xmlns:a16="http://schemas.microsoft.com/office/drawing/2014/main" id="{62761D88-1D18-A805-8D96-5BEBFEFE219D}"/>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Nr.›</a:t>
            </a:fld>
            <a:endParaRPr lang="en-IE"/>
          </a:p>
        </p:txBody>
      </p:sp>
      <p:sp>
        <p:nvSpPr>
          <p:cNvPr id="6" name="Rectangle 5">
            <a:extLst>
              <a:ext uri="{FF2B5EF4-FFF2-40B4-BE49-F238E27FC236}">
                <a16:creationId xmlns:a16="http://schemas.microsoft.com/office/drawing/2014/main" id="{AB404151-5DF7-6E37-94DA-26A2FC3CDE54}"/>
              </a:ext>
            </a:extLst>
          </p:cNvPr>
          <p:cNvSpPr/>
          <p:nvPr userDrawn="1"/>
        </p:nvSpPr>
        <p:spPr>
          <a:xfrm>
            <a:off x="631768" y="0"/>
            <a:ext cx="145576" cy="1393902"/>
          </a:xfrm>
          <a:prstGeom prst="rect">
            <a:avLst/>
          </a:prstGeom>
          <a:solidFill>
            <a:schemeClr val="accent4">
              <a:lumMod val="75000"/>
            </a:schemeClr>
          </a:solidFill>
          <a:ln w="3175">
            <a:noFill/>
          </a:ln>
          <a:effectLst>
            <a:outerShdw blurRad="38100" dist="25400" dir="5400000" algn="t" rotWithShape="0">
              <a:schemeClr val="tx1">
                <a:alpha val="27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41896502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ody text and image coloured background">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838200" y="365126"/>
            <a:ext cx="10515602" cy="816904"/>
          </a:xfrm>
        </p:spPr>
        <p:txBody>
          <a:bodyPr>
            <a:noAutofit/>
          </a:bodyPr>
          <a:lstStyle>
            <a:lvl1pPr>
              <a:defRPr>
                <a:solidFill>
                  <a:schemeClr val="tx1"/>
                </a:solidFill>
              </a:defRPr>
            </a:lvl1pPr>
          </a:lstStyle>
          <a:p>
            <a:r>
              <a:rPr lang="en-US"/>
              <a:t>Click to edit Master title style</a:t>
            </a:r>
            <a:endParaRPr lang="en-IE"/>
          </a:p>
        </p:txBody>
      </p:sp>
      <p:sp>
        <p:nvSpPr>
          <p:cNvPr id="7" name="Content Placeholder 2">
            <a:extLst>
              <a:ext uri="{FF2B5EF4-FFF2-40B4-BE49-F238E27FC236}">
                <a16:creationId xmlns:a16="http://schemas.microsoft.com/office/drawing/2014/main" id="{4F9DE773-46A1-EE6A-D3DF-FC96DCA4C7CB}"/>
              </a:ext>
            </a:extLst>
          </p:cNvPr>
          <p:cNvSpPr>
            <a:spLocks noGrp="1"/>
          </p:cNvSpPr>
          <p:nvPr>
            <p:ph sz="half" idx="1"/>
          </p:nvPr>
        </p:nvSpPr>
        <p:spPr>
          <a:xfrm>
            <a:off x="838200" y="1847851"/>
            <a:ext cx="4670502" cy="3638549"/>
          </a:xfrm>
          <a:noFill/>
        </p:spPr>
        <p:txBody>
          <a:bodyPr>
            <a:noAutofit/>
          </a:bodyPr>
          <a:lstStyle>
            <a:lvl1pPr marL="0" indent="0">
              <a:buNone/>
              <a:defRPr sz="2000">
                <a:solidFill>
                  <a:schemeClr val="tx1"/>
                </a:solidFill>
              </a:defRPr>
            </a:lvl1pPr>
          </a:lstStyle>
          <a:p>
            <a:pPr lvl="0"/>
            <a:r>
              <a:rPr lang="en-US"/>
              <a:t>Click to edit Master text styles</a:t>
            </a:r>
          </a:p>
        </p:txBody>
      </p:sp>
      <p:sp>
        <p:nvSpPr>
          <p:cNvPr id="4" name="Picture Placeholder 3">
            <a:extLst>
              <a:ext uri="{FF2B5EF4-FFF2-40B4-BE49-F238E27FC236}">
                <a16:creationId xmlns:a16="http://schemas.microsoft.com/office/drawing/2014/main" id="{36CC71E5-FBEB-2751-9FF1-D81B32C5D665}"/>
              </a:ext>
            </a:extLst>
          </p:cNvPr>
          <p:cNvSpPr>
            <a:spLocks noGrp="1"/>
          </p:cNvSpPr>
          <p:nvPr>
            <p:ph type="pic" sz="quarter" idx="10"/>
          </p:nvPr>
        </p:nvSpPr>
        <p:spPr>
          <a:xfrm>
            <a:off x="6350002" y="1825625"/>
            <a:ext cx="5003800" cy="3638550"/>
          </a:xfrm>
          <a:solidFill>
            <a:schemeClr val="tx2"/>
          </a:solidFill>
          <a:ln w="76200">
            <a:noFill/>
          </a:ln>
          <a:effectLst/>
        </p:spPr>
        <p:txBody>
          <a:bodyPr/>
          <a:lstStyle>
            <a:lvl1pPr marL="0" indent="0">
              <a:buNone/>
              <a:defRPr>
                <a:solidFill>
                  <a:schemeClr val="bg2"/>
                </a:solidFill>
              </a:defRPr>
            </a:lvl1pPr>
          </a:lstStyle>
          <a:p>
            <a:r>
              <a:rPr lang="en-US"/>
              <a:t>Click icon to add picture</a:t>
            </a:r>
            <a:endParaRPr lang="en-IE"/>
          </a:p>
        </p:txBody>
      </p:sp>
      <p:pic>
        <p:nvPicPr>
          <p:cNvPr id="6" name="Picture 5" descr="A blue flag with yellow stars and stripes&#10;&#10;Description automatically generated">
            <a:extLst>
              <a:ext uri="{FF2B5EF4-FFF2-40B4-BE49-F238E27FC236}">
                <a16:creationId xmlns:a16="http://schemas.microsoft.com/office/drawing/2014/main" id="{93834467-B58A-08E2-AA0A-DB1D50F360BB}"/>
              </a:ext>
            </a:extLst>
          </p:cNvPr>
          <p:cNvPicPr>
            <a:picLocks noChangeAspect="1"/>
          </p:cNvPicPr>
          <p:nvPr/>
        </p:nvPicPr>
        <p:blipFill>
          <a:blip r:embed="rId2"/>
          <a:stretch>
            <a:fillRect/>
          </a:stretch>
        </p:blipFill>
        <p:spPr>
          <a:xfrm>
            <a:off x="10725768" y="5901016"/>
            <a:ext cx="1257867" cy="763200"/>
          </a:xfrm>
          <a:prstGeom prst="rect">
            <a:avLst/>
          </a:prstGeom>
        </p:spPr>
      </p:pic>
      <p:pic>
        <p:nvPicPr>
          <p:cNvPr id="5" name="Picture 4" descr="A blue flag with yellow stars and stripes&#10;&#10;Description automatically generated">
            <a:extLst>
              <a:ext uri="{FF2B5EF4-FFF2-40B4-BE49-F238E27FC236}">
                <a16:creationId xmlns:a16="http://schemas.microsoft.com/office/drawing/2014/main" id="{570F0233-3DB4-DD9F-5F0F-396910702D84}"/>
              </a:ext>
            </a:extLst>
          </p:cNvPr>
          <p:cNvPicPr>
            <a:picLocks noChangeAspect="1"/>
          </p:cNvPicPr>
          <p:nvPr userDrawn="1"/>
        </p:nvPicPr>
        <p:blipFill>
          <a:blip r:embed="rId2"/>
          <a:stretch>
            <a:fillRect/>
          </a:stretch>
        </p:blipFill>
        <p:spPr>
          <a:xfrm>
            <a:off x="10725768" y="5901016"/>
            <a:ext cx="1257867" cy="763200"/>
          </a:xfrm>
          <a:prstGeom prst="rect">
            <a:avLst/>
          </a:prstGeom>
        </p:spPr>
      </p:pic>
      <p:sp>
        <p:nvSpPr>
          <p:cNvPr id="8" name="Slide Number Placeholder 5">
            <a:extLst>
              <a:ext uri="{FF2B5EF4-FFF2-40B4-BE49-F238E27FC236}">
                <a16:creationId xmlns:a16="http://schemas.microsoft.com/office/drawing/2014/main" id="{4A4DF5A1-9706-DCB7-1601-51D0F26AEF16}"/>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Nr.›</a:t>
            </a:fld>
            <a:endParaRPr lang="en-IE"/>
          </a:p>
        </p:txBody>
      </p:sp>
      <p:sp>
        <p:nvSpPr>
          <p:cNvPr id="3" name="Rectangle 2">
            <a:extLst>
              <a:ext uri="{FF2B5EF4-FFF2-40B4-BE49-F238E27FC236}">
                <a16:creationId xmlns:a16="http://schemas.microsoft.com/office/drawing/2014/main" id="{C91CCA89-A541-A07A-F72B-D74F3B32CD10}"/>
              </a:ext>
            </a:extLst>
          </p:cNvPr>
          <p:cNvSpPr/>
          <p:nvPr userDrawn="1"/>
        </p:nvSpPr>
        <p:spPr>
          <a:xfrm>
            <a:off x="631768" y="0"/>
            <a:ext cx="145576" cy="1393902"/>
          </a:xfrm>
          <a:prstGeom prst="rect">
            <a:avLst/>
          </a:prstGeom>
          <a:solidFill>
            <a:schemeClr val="accent4">
              <a:lumMod val="75000"/>
            </a:schemeClr>
          </a:solidFill>
          <a:ln w="3175">
            <a:noFill/>
          </a:ln>
          <a:effectLst>
            <a:outerShdw blurRad="38100" dist="25400" dir="5400000" algn="t" rotWithShape="0">
              <a:schemeClr val="tx1">
                <a:alpha val="27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2096905921"/>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ody text and image ">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838200" y="365126"/>
            <a:ext cx="10515602" cy="816904"/>
          </a:xfrm>
        </p:spPr>
        <p:txBody>
          <a:bodyPr>
            <a:noAutofit/>
          </a:bodyPr>
          <a:lstStyle>
            <a:lvl1pPr>
              <a:defRPr>
                <a:solidFill>
                  <a:srgbClr val="69808A"/>
                </a:solidFill>
              </a:defRPr>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CA9BD169-F6A4-2E23-F2D4-B7DED1FC9941}"/>
              </a:ext>
            </a:extLst>
          </p:cNvPr>
          <p:cNvSpPr>
            <a:spLocks noGrp="1"/>
          </p:cNvSpPr>
          <p:nvPr>
            <p:ph sz="half" idx="1"/>
          </p:nvPr>
        </p:nvSpPr>
        <p:spPr>
          <a:xfrm>
            <a:off x="838200" y="1847851"/>
            <a:ext cx="4670502" cy="3638549"/>
          </a:xfrm>
          <a:noFill/>
        </p:spPr>
        <p:txBody>
          <a:bodyPr>
            <a:noAutofit/>
          </a:bodyPr>
          <a:lstStyle>
            <a:lvl1pPr marL="0" indent="0">
              <a:buNone/>
              <a:defRPr sz="2000">
                <a:solidFill>
                  <a:schemeClr val="bg1"/>
                </a:solidFill>
              </a:defRPr>
            </a:lvl1pPr>
          </a:lstStyle>
          <a:p>
            <a:pPr lvl="0"/>
            <a:r>
              <a:rPr lang="en-US"/>
              <a:t>Click to edit Master text styles</a:t>
            </a:r>
          </a:p>
        </p:txBody>
      </p:sp>
      <p:sp>
        <p:nvSpPr>
          <p:cNvPr id="4" name="Picture Placeholder 3">
            <a:extLst>
              <a:ext uri="{FF2B5EF4-FFF2-40B4-BE49-F238E27FC236}">
                <a16:creationId xmlns:a16="http://schemas.microsoft.com/office/drawing/2014/main" id="{36CC71E5-FBEB-2751-9FF1-D81B32C5D665}"/>
              </a:ext>
            </a:extLst>
          </p:cNvPr>
          <p:cNvSpPr>
            <a:spLocks noGrp="1"/>
          </p:cNvSpPr>
          <p:nvPr>
            <p:ph type="pic" sz="quarter" idx="10"/>
          </p:nvPr>
        </p:nvSpPr>
        <p:spPr>
          <a:xfrm>
            <a:off x="6350002" y="1825625"/>
            <a:ext cx="5003800" cy="3638550"/>
          </a:xfrm>
          <a:solidFill>
            <a:schemeClr val="tx2"/>
          </a:solidFill>
          <a:ln w="76200">
            <a:noFill/>
          </a:ln>
          <a:effectLst/>
        </p:spPr>
        <p:txBody>
          <a:bodyPr/>
          <a:lstStyle>
            <a:lvl1pPr marL="0" indent="0">
              <a:buNone/>
              <a:defRPr>
                <a:solidFill>
                  <a:schemeClr val="bg2"/>
                </a:solidFill>
              </a:defRPr>
            </a:lvl1pPr>
          </a:lstStyle>
          <a:p>
            <a:r>
              <a:rPr lang="en-US"/>
              <a:t>Click icon to add picture</a:t>
            </a:r>
            <a:endParaRPr lang="en-IE"/>
          </a:p>
        </p:txBody>
      </p:sp>
      <p:sp>
        <p:nvSpPr>
          <p:cNvPr id="6" name="Slide Number Placeholder 5">
            <a:extLst>
              <a:ext uri="{FF2B5EF4-FFF2-40B4-BE49-F238E27FC236}">
                <a16:creationId xmlns:a16="http://schemas.microsoft.com/office/drawing/2014/main" id="{880C2FD4-3B80-FE70-83EA-C9956AF116F3}"/>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bg1"/>
                </a:solidFill>
                <a:latin typeface="+mn-lt"/>
              </a:defRPr>
            </a:lvl1pPr>
          </a:lstStyle>
          <a:p>
            <a:pPr algn="l"/>
            <a:fld id="{768364BB-9B21-4D29-A19C-C6410F652861}" type="slidenum">
              <a:rPr lang="en-IE" smtClean="0"/>
              <a:pPr algn="l"/>
              <a:t>‹Nr.›</a:t>
            </a:fld>
            <a:endParaRPr lang="en-IE"/>
          </a:p>
        </p:txBody>
      </p:sp>
      <p:sp>
        <p:nvSpPr>
          <p:cNvPr id="3" name="Rectangle 2">
            <a:extLst>
              <a:ext uri="{FF2B5EF4-FFF2-40B4-BE49-F238E27FC236}">
                <a16:creationId xmlns:a16="http://schemas.microsoft.com/office/drawing/2014/main" id="{EE8EBDA4-1C3F-A81C-EFE8-3DF87D55601C}"/>
              </a:ext>
            </a:extLst>
          </p:cNvPr>
          <p:cNvSpPr/>
          <p:nvPr userDrawn="1"/>
        </p:nvSpPr>
        <p:spPr>
          <a:xfrm>
            <a:off x="631768" y="0"/>
            <a:ext cx="145576" cy="1393902"/>
          </a:xfrm>
          <a:prstGeom prst="rect">
            <a:avLst/>
          </a:prstGeom>
          <a:solidFill>
            <a:schemeClr val="accent4">
              <a:lumMod val="75000"/>
            </a:schemeClr>
          </a:solidFill>
          <a:ln w="3175">
            <a:noFill/>
          </a:ln>
          <a:effectLst>
            <a:outerShdw blurRad="38100" dist="25400" dir="5400000" algn="t" rotWithShape="0">
              <a:schemeClr val="tx1">
                <a:alpha val="27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3950987746"/>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ody text and 4 images ">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838200" y="365126"/>
            <a:ext cx="10515602" cy="816904"/>
          </a:xfrm>
        </p:spPr>
        <p:txBody>
          <a:bodyPr/>
          <a:lstStyle>
            <a:lvl1pPr>
              <a:defRPr>
                <a:solidFill>
                  <a:schemeClr val="bg2"/>
                </a:solidFill>
              </a:defRPr>
            </a:lvl1pPr>
          </a:lstStyle>
          <a:p>
            <a:r>
              <a:rPr lang="en-US"/>
              <a:t>Click to edit Master title style</a:t>
            </a:r>
            <a:endParaRPr lang="en-IE"/>
          </a:p>
        </p:txBody>
      </p:sp>
      <p:sp>
        <p:nvSpPr>
          <p:cNvPr id="3" name="Google Shape;91;p33">
            <a:extLst>
              <a:ext uri="{FF2B5EF4-FFF2-40B4-BE49-F238E27FC236}">
                <a16:creationId xmlns:a16="http://schemas.microsoft.com/office/drawing/2014/main" id="{A9F38C94-2545-ED67-4909-C5A475FCF803}"/>
              </a:ext>
            </a:extLst>
          </p:cNvPr>
          <p:cNvSpPr>
            <a:spLocks noGrp="1"/>
          </p:cNvSpPr>
          <p:nvPr>
            <p:ph type="pic" idx="2"/>
          </p:nvPr>
        </p:nvSpPr>
        <p:spPr>
          <a:xfrm>
            <a:off x="3538332" y="2197664"/>
            <a:ext cx="2461591" cy="1638158"/>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0" name="Google Shape;95;p33">
            <a:extLst>
              <a:ext uri="{FF2B5EF4-FFF2-40B4-BE49-F238E27FC236}">
                <a16:creationId xmlns:a16="http://schemas.microsoft.com/office/drawing/2014/main" id="{45EC68E1-18F5-04CB-00B3-F8948F3B4F18}"/>
              </a:ext>
            </a:extLst>
          </p:cNvPr>
          <p:cNvSpPr>
            <a:spLocks noGrp="1"/>
          </p:cNvSpPr>
          <p:nvPr>
            <p:ph type="pic" idx="5"/>
          </p:nvPr>
        </p:nvSpPr>
        <p:spPr>
          <a:xfrm>
            <a:off x="6161035" y="2197663"/>
            <a:ext cx="2461593" cy="1638159"/>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3" name="Text Placeholder 12">
            <a:extLst>
              <a:ext uri="{FF2B5EF4-FFF2-40B4-BE49-F238E27FC236}">
                <a16:creationId xmlns:a16="http://schemas.microsoft.com/office/drawing/2014/main" id="{00A4763F-1C9A-B628-1609-DA5C75C90FC9}"/>
              </a:ext>
            </a:extLst>
          </p:cNvPr>
          <p:cNvSpPr>
            <a:spLocks noGrp="1"/>
          </p:cNvSpPr>
          <p:nvPr>
            <p:ph type="body" sz="quarter" idx="10"/>
          </p:nvPr>
        </p:nvSpPr>
        <p:spPr>
          <a:xfrm>
            <a:off x="8802758" y="2197100"/>
            <a:ext cx="2519363" cy="1638300"/>
          </a:xfrm>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err="1"/>
              <a:t>cond</a:t>
            </a:r>
            <a:r>
              <a:rPr lang="en-US"/>
              <a:t> level</a:t>
            </a:r>
          </a:p>
        </p:txBody>
      </p:sp>
      <p:sp>
        <p:nvSpPr>
          <p:cNvPr id="15" name="Google Shape;91;p33">
            <a:extLst>
              <a:ext uri="{FF2B5EF4-FFF2-40B4-BE49-F238E27FC236}">
                <a16:creationId xmlns:a16="http://schemas.microsoft.com/office/drawing/2014/main" id="{0AB5F208-A96D-CEBC-874F-7B719FD86FEB}"/>
              </a:ext>
            </a:extLst>
          </p:cNvPr>
          <p:cNvSpPr>
            <a:spLocks noGrp="1"/>
          </p:cNvSpPr>
          <p:nvPr>
            <p:ph type="pic" idx="11"/>
          </p:nvPr>
        </p:nvSpPr>
        <p:spPr>
          <a:xfrm>
            <a:off x="3538332" y="4031391"/>
            <a:ext cx="2461591" cy="1638158"/>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7" name="Google Shape;95;p33">
            <a:extLst>
              <a:ext uri="{FF2B5EF4-FFF2-40B4-BE49-F238E27FC236}">
                <a16:creationId xmlns:a16="http://schemas.microsoft.com/office/drawing/2014/main" id="{0AC28D44-5B34-89F9-D8AB-62E99E380E36}"/>
              </a:ext>
            </a:extLst>
          </p:cNvPr>
          <p:cNvSpPr>
            <a:spLocks noGrp="1"/>
          </p:cNvSpPr>
          <p:nvPr>
            <p:ph type="pic" idx="13"/>
          </p:nvPr>
        </p:nvSpPr>
        <p:spPr>
          <a:xfrm>
            <a:off x="6161035" y="4031390"/>
            <a:ext cx="2461593" cy="1638159"/>
          </a:xfrm>
          <a:prstGeom prst="rect">
            <a:avLst/>
          </a:prstGeom>
          <a:solidFill>
            <a:schemeClr val="lt2"/>
          </a:solidFill>
          <a:ln>
            <a:noFill/>
          </a:ln>
        </p:spPr>
        <p:txBody>
          <a:bodyPr/>
          <a:lstStyle>
            <a:lvl1pPr marL="0" indent="0">
              <a:buNone/>
              <a:defRPr>
                <a:solidFill>
                  <a:schemeClr val="bg2"/>
                </a:solidFill>
              </a:defRPr>
            </a:lvl1pPr>
          </a:lstStyle>
          <a:p>
            <a:r>
              <a:rPr lang="en-US"/>
              <a:t>Click icon to add picture</a:t>
            </a:r>
            <a:endParaRPr lang="en-IE"/>
          </a:p>
        </p:txBody>
      </p:sp>
      <p:sp>
        <p:nvSpPr>
          <p:cNvPr id="18" name="Text Placeholder 12">
            <a:extLst>
              <a:ext uri="{FF2B5EF4-FFF2-40B4-BE49-F238E27FC236}">
                <a16:creationId xmlns:a16="http://schemas.microsoft.com/office/drawing/2014/main" id="{14095A4F-385F-CF4A-5E10-E3628D85F6C8}"/>
              </a:ext>
            </a:extLst>
          </p:cNvPr>
          <p:cNvSpPr>
            <a:spLocks noGrp="1"/>
          </p:cNvSpPr>
          <p:nvPr>
            <p:ph type="body" sz="quarter" idx="14"/>
          </p:nvPr>
        </p:nvSpPr>
        <p:spPr>
          <a:xfrm>
            <a:off x="8802758" y="4030827"/>
            <a:ext cx="2519363" cy="1638300"/>
          </a:xfrm>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4" name="Text Placeholder 12">
            <a:extLst>
              <a:ext uri="{FF2B5EF4-FFF2-40B4-BE49-F238E27FC236}">
                <a16:creationId xmlns:a16="http://schemas.microsoft.com/office/drawing/2014/main" id="{092A6C90-A6CE-C107-4350-7906F5FDD7FC}"/>
              </a:ext>
            </a:extLst>
          </p:cNvPr>
          <p:cNvSpPr>
            <a:spLocks noGrp="1"/>
          </p:cNvSpPr>
          <p:nvPr>
            <p:ph type="body" sz="quarter" idx="15"/>
          </p:nvPr>
        </p:nvSpPr>
        <p:spPr>
          <a:xfrm>
            <a:off x="838839" y="2197100"/>
            <a:ext cx="2519363" cy="1638300"/>
          </a:xfrm>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6" name="Text Placeholder 12">
            <a:extLst>
              <a:ext uri="{FF2B5EF4-FFF2-40B4-BE49-F238E27FC236}">
                <a16:creationId xmlns:a16="http://schemas.microsoft.com/office/drawing/2014/main" id="{FA45C4F8-1803-A72B-10DF-5927ABF6E406}"/>
              </a:ext>
            </a:extLst>
          </p:cNvPr>
          <p:cNvSpPr>
            <a:spLocks noGrp="1"/>
          </p:cNvSpPr>
          <p:nvPr>
            <p:ph type="body" sz="quarter" idx="16"/>
          </p:nvPr>
        </p:nvSpPr>
        <p:spPr>
          <a:xfrm>
            <a:off x="838839" y="4030827"/>
            <a:ext cx="2519363" cy="1638300"/>
          </a:xfrm>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8" name="Slide Number Placeholder 5">
            <a:extLst>
              <a:ext uri="{FF2B5EF4-FFF2-40B4-BE49-F238E27FC236}">
                <a16:creationId xmlns:a16="http://schemas.microsoft.com/office/drawing/2014/main" id="{8F9C7B51-3F16-5ABF-3BE2-AA17BD10DB6C}"/>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bg1"/>
                </a:solidFill>
                <a:latin typeface="+mn-lt"/>
              </a:defRPr>
            </a:lvl1pPr>
          </a:lstStyle>
          <a:p>
            <a:pPr algn="l"/>
            <a:fld id="{768364BB-9B21-4D29-A19C-C6410F652861}" type="slidenum">
              <a:rPr lang="en-IE" smtClean="0"/>
              <a:pPr algn="l"/>
              <a:t>‹Nr.›</a:t>
            </a:fld>
            <a:endParaRPr lang="en-IE"/>
          </a:p>
        </p:txBody>
      </p:sp>
      <p:sp>
        <p:nvSpPr>
          <p:cNvPr id="5" name="Rectangle 4">
            <a:extLst>
              <a:ext uri="{FF2B5EF4-FFF2-40B4-BE49-F238E27FC236}">
                <a16:creationId xmlns:a16="http://schemas.microsoft.com/office/drawing/2014/main" id="{E9C1DE72-DD6C-1275-0A57-EF5E8CB70FAE}"/>
              </a:ext>
            </a:extLst>
          </p:cNvPr>
          <p:cNvSpPr/>
          <p:nvPr userDrawn="1"/>
        </p:nvSpPr>
        <p:spPr>
          <a:xfrm>
            <a:off x="631768" y="0"/>
            <a:ext cx="145576" cy="1393902"/>
          </a:xfrm>
          <a:prstGeom prst="rect">
            <a:avLst/>
          </a:prstGeom>
          <a:solidFill>
            <a:schemeClr val="accent4">
              <a:lumMod val="75000"/>
            </a:schemeClr>
          </a:solidFill>
          <a:ln w="3175">
            <a:noFill/>
          </a:ln>
          <a:effectLst>
            <a:outerShdw blurRad="38100" dist="25400" dir="5400000" algn="t" rotWithShape="0">
              <a:schemeClr val="tx1">
                <a:alpha val="27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3488763540"/>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xt and big photo">
    <p:spTree>
      <p:nvGrpSpPr>
        <p:cNvPr id="1" name=""/>
        <p:cNvGrpSpPr/>
        <p:nvPr/>
      </p:nvGrpSpPr>
      <p:grpSpPr>
        <a:xfrm>
          <a:off x="0" y="0"/>
          <a:ext cx="0" cy="0"/>
          <a:chOff x="0" y="0"/>
          <a:chExt cx="0" cy="0"/>
        </a:xfrm>
      </p:grpSpPr>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0" y="1"/>
            <a:ext cx="5388429" cy="68579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3766457" y="589047"/>
            <a:ext cx="7587343" cy="717240"/>
          </a:xfrm>
          <a:solidFill>
            <a:schemeClr val="bg1"/>
          </a:solidFill>
        </p:spPr>
        <p:txBody>
          <a:bodyPr>
            <a:noAutofit/>
          </a:bodyPr>
          <a:lstStyle>
            <a:lvl1pPr>
              <a:defRPr sz="4400">
                <a:solidFill>
                  <a:srgbClr val="69808A"/>
                </a:solidFill>
              </a:defRPr>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303EC882-6BB1-D514-72D9-A7D3FAE8C698}"/>
              </a:ext>
            </a:extLst>
          </p:cNvPr>
          <p:cNvSpPr>
            <a:spLocks noGrp="1"/>
          </p:cNvSpPr>
          <p:nvPr>
            <p:ph sz="half" idx="15"/>
          </p:nvPr>
        </p:nvSpPr>
        <p:spPr>
          <a:xfrm>
            <a:off x="3766457" y="1895333"/>
            <a:ext cx="7587342" cy="3845577"/>
          </a:xfrm>
          <a:solidFill>
            <a:schemeClr val="bg1"/>
          </a:solidFill>
        </p:spPr>
        <p:txBody>
          <a:bodyPr>
            <a:noAutofit/>
          </a:bodyPr>
          <a:lstStyle>
            <a:lvl1pPr>
              <a:defRPr sz="2000"/>
            </a:lvl1pPr>
          </a:lstStyle>
          <a:p>
            <a:pPr lvl="0"/>
            <a:r>
              <a:rPr lang="en-US"/>
              <a:t>Click to edit Master text styles</a:t>
            </a:r>
          </a:p>
        </p:txBody>
      </p:sp>
    </p:spTree>
    <p:extLst>
      <p:ext uri="{BB962C8B-B14F-4D97-AF65-F5344CB8AC3E}">
        <p14:creationId xmlns:p14="http://schemas.microsoft.com/office/powerpoint/2010/main" val="40373028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xt and big photo coloured title 1">
    <p:spTree>
      <p:nvGrpSpPr>
        <p:cNvPr id="1" name=""/>
        <p:cNvGrpSpPr/>
        <p:nvPr/>
      </p:nvGrpSpPr>
      <p:grpSpPr>
        <a:xfrm>
          <a:off x="0" y="0"/>
          <a:ext cx="0" cy="0"/>
          <a:chOff x="0" y="0"/>
          <a:chExt cx="0" cy="0"/>
        </a:xfrm>
      </p:grpSpPr>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0" y="1"/>
            <a:ext cx="5388429" cy="68579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6" name="Content Placeholder 2">
            <a:extLst>
              <a:ext uri="{FF2B5EF4-FFF2-40B4-BE49-F238E27FC236}">
                <a16:creationId xmlns:a16="http://schemas.microsoft.com/office/drawing/2014/main" id="{E2F83483-47D9-4712-A8D7-6CBF61775821}"/>
              </a:ext>
            </a:extLst>
          </p:cNvPr>
          <p:cNvSpPr>
            <a:spLocks noGrp="1"/>
          </p:cNvSpPr>
          <p:nvPr>
            <p:ph sz="half" idx="16" hasCustomPrompt="1"/>
          </p:nvPr>
        </p:nvSpPr>
        <p:spPr>
          <a:xfrm>
            <a:off x="125185" y="6162533"/>
            <a:ext cx="6090558" cy="390667"/>
          </a:xfrm>
          <a:solidFill>
            <a:schemeClr val="bg1"/>
          </a:solidFill>
        </p:spPr>
        <p:txBody>
          <a:bodyPr anchor="ctr">
            <a:noAutofit/>
          </a:bodyPr>
          <a:lstStyle>
            <a:lvl1pPr marL="0" indent="0">
              <a:buNone/>
              <a:defRPr sz="1800" i="1"/>
            </a:lvl1pPr>
          </a:lstStyle>
          <a:p>
            <a:pPr lvl="0"/>
            <a:r>
              <a:rPr lang="en-US"/>
              <a:t>Click to edit Master text styles (caption)</a:t>
            </a:r>
          </a:p>
        </p:txBody>
      </p:sp>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6215743" y="589047"/>
            <a:ext cx="5138057" cy="717240"/>
          </a:xfrm>
          <a:solidFill>
            <a:schemeClr val="bg1"/>
          </a:solidFill>
        </p:spPr>
        <p:txBody>
          <a:bodyPr lIns="72000" tIns="72000" rIns="72000" bIns="72000">
            <a:noAutofit/>
          </a:bodyPr>
          <a:lstStyle>
            <a:lvl1pPr>
              <a:defRPr sz="4400">
                <a:solidFill>
                  <a:schemeClr val="bg1"/>
                </a:solidFill>
                <a:latin typeface="EC Square Sans Pro" panose="020B0506040000020004" pitchFamily="34" charset="0"/>
              </a:defRPr>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303EC882-6BB1-D514-72D9-A7D3FAE8C698}"/>
              </a:ext>
            </a:extLst>
          </p:cNvPr>
          <p:cNvSpPr>
            <a:spLocks noGrp="1"/>
          </p:cNvSpPr>
          <p:nvPr>
            <p:ph sz="half" idx="15"/>
          </p:nvPr>
        </p:nvSpPr>
        <p:spPr>
          <a:xfrm>
            <a:off x="6215743" y="1895333"/>
            <a:ext cx="5138056" cy="3845577"/>
          </a:xfrm>
          <a:solidFill>
            <a:schemeClr val="bg1"/>
          </a:solidFill>
        </p:spPr>
        <p:txBody>
          <a:bodyPr>
            <a:noAutofit/>
          </a:bodyPr>
          <a:lstStyle>
            <a:lvl1pPr marL="0" indent="0">
              <a:buClr>
                <a:schemeClr val="tx2"/>
              </a:buClr>
              <a:buSzPct val="150000"/>
              <a:buFont typeface="Arial" panose="020B0604020202020204" pitchFamily="34" charset="0"/>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8308567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xt and big photo coloured titl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2F035CA-6728-7746-C9FC-81382094BF06}"/>
              </a:ext>
            </a:extLst>
          </p:cNvPr>
          <p:cNvSpPr/>
          <p:nvPr/>
        </p:nvSpPr>
        <p:spPr>
          <a:xfrm>
            <a:off x="5388429" y="0"/>
            <a:ext cx="6803571" cy="6857999"/>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0" y="1"/>
            <a:ext cx="5388429" cy="68579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8" name="Content Placeholder 2">
            <a:extLst>
              <a:ext uri="{FF2B5EF4-FFF2-40B4-BE49-F238E27FC236}">
                <a16:creationId xmlns:a16="http://schemas.microsoft.com/office/drawing/2014/main" id="{4DE701F0-97E6-7792-DA18-AD6E08BC874A}"/>
              </a:ext>
            </a:extLst>
          </p:cNvPr>
          <p:cNvSpPr>
            <a:spLocks noGrp="1"/>
          </p:cNvSpPr>
          <p:nvPr>
            <p:ph sz="half" idx="16" hasCustomPrompt="1"/>
          </p:nvPr>
        </p:nvSpPr>
        <p:spPr>
          <a:xfrm>
            <a:off x="125185" y="6162533"/>
            <a:ext cx="6090558" cy="390667"/>
          </a:xfrm>
          <a:solidFill>
            <a:schemeClr val="bg1"/>
          </a:solidFill>
        </p:spPr>
        <p:txBody>
          <a:bodyPr anchor="ctr">
            <a:noAutofit/>
          </a:bodyPr>
          <a:lstStyle>
            <a:lvl1pPr marL="0" indent="0">
              <a:buNone/>
              <a:defRPr sz="1800" i="1"/>
            </a:lvl1pPr>
          </a:lstStyle>
          <a:p>
            <a:pPr lvl="0"/>
            <a:r>
              <a:rPr lang="en-US"/>
              <a:t>Click to edit Master text styles (caption)</a:t>
            </a:r>
          </a:p>
        </p:txBody>
      </p:sp>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a:xfrm>
            <a:off x="6215743" y="589046"/>
            <a:ext cx="5138057" cy="1000267"/>
          </a:xfrm>
          <a:noFill/>
        </p:spPr>
        <p:txBody>
          <a:bodyPr lIns="72000" tIns="72000" rIns="72000" bIns="72000">
            <a:noAutofit/>
          </a:bodyPr>
          <a:lstStyle>
            <a:lvl1pPr>
              <a:defRPr sz="4400">
                <a:solidFill>
                  <a:schemeClr val="bg1"/>
                </a:solidFill>
              </a:defRPr>
            </a:lvl1pPr>
          </a:lstStyle>
          <a:p>
            <a:r>
              <a:rPr lang="en-US"/>
              <a:t>Click to edit Master title style</a:t>
            </a:r>
            <a:endParaRPr lang="en-IE"/>
          </a:p>
        </p:txBody>
      </p:sp>
      <p:sp>
        <p:nvSpPr>
          <p:cNvPr id="5" name="Content Placeholder 2">
            <a:extLst>
              <a:ext uri="{FF2B5EF4-FFF2-40B4-BE49-F238E27FC236}">
                <a16:creationId xmlns:a16="http://schemas.microsoft.com/office/drawing/2014/main" id="{303EC882-6BB1-D514-72D9-A7D3FAE8C698}"/>
              </a:ext>
            </a:extLst>
          </p:cNvPr>
          <p:cNvSpPr>
            <a:spLocks noGrp="1"/>
          </p:cNvSpPr>
          <p:nvPr>
            <p:ph sz="half" idx="15"/>
          </p:nvPr>
        </p:nvSpPr>
        <p:spPr>
          <a:xfrm>
            <a:off x="6215743" y="1895333"/>
            <a:ext cx="5138056" cy="3845577"/>
          </a:xfrm>
          <a:noFill/>
        </p:spPr>
        <p:txBody>
          <a:bodyPr>
            <a:noAutofit/>
          </a:bodyPr>
          <a:lstStyle>
            <a:lvl1pPr marL="0" indent="0">
              <a:buClr>
                <a:schemeClr val="bg1"/>
              </a:buClr>
              <a:buSzPct val="150000"/>
              <a:buFont typeface="Arial" panose="020B0604020202020204" pitchFamily="34" charset="0"/>
              <a:buNone/>
              <a:defRPr sz="2000">
                <a:solidFill>
                  <a:schemeClr val="bg1"/>
                </a:solidFill>
              </a:defRPr>
            </a:lvl1pPr>
          </a:lstStyle>
          <a:p>
            <a:pPr lvl="0"/>
            <a:r>
              <a:rPr lang="en-US"/>
              <a:t>Click to edit Master text styles</a:t>
            </a:r>
          </a:p>
        </p:txBody>
      </p:sp>
      <p:pic>
        <p:nvPicPr>
          <p:cNvPr id="6" name="Picture 5" descr="A blue flag with yellow stars and stripes&#10;&#10;Description automatically generated">
            <a:extLst>
              <a:ext uri="{FF2B5EF4-FFF2-40B4-BE49-F238E27FC236}">
                <a16:creationId xmlns:a16="http://schemas.microsoft.com/office/drawing/2014/main" id="{F07C9B7E-A9F7-E74E-8B7F-3BB737CA3989}"/>
              </a:ext>
            </a:extLst>
          </p:cNvPr>
          <p:cNvPicPr>
            <a:picLocks noChangeAspect="1"/>
          </p:cNvPicPr>
          <p:nvPr/>
        </p:nvPicPr>
        <p:blipFill>
          <a:blip r:embed="rId2"/>
          <a:stretch>
            <a:fillRect/>
          </a:stretch>
        </p:blipFill>
        <p:spPr>
          <a:xfrm>
            <a:off x="10725768" y="5901016"/>
            <a:ext cx="1257867" cy="763200"/>
          </a:xfrm>
          <a:prstGeom prst="rect">
            <a:avLst/>
          </a:prstGeom>
        </p:spPr>
      </p:pic>
      <p:pic>
        <p:nvPicPr>
          <p:cNvPr id="9" name="Picture 8" descr="A blue flag with yellow stars and stripes&#10;&#10;Description automatically generated">
            <a:extLst>
              <a:ext uri="{FF2B5EF4-FFF2-40B4-BE49-F238E27FC236}">
                <a16:creationId xmlns:a16="http://schemas.microsoft.com/office/drawing/2014/main" id="{B7786630-3DC2-B1C3-65DD-397E44619752}"/>
              </a:ext>
            </a:extLst>
          </p:cNvPr>
          <p:cNvPicPr>
            <a:picLocks noChangeAspect="1"/>
          </p:cNvPicPr>
          <p:nvPr userDrawn="1"/>
        </p:nvPicPr>
        <p:blipFill>
          <a:blip r:embed="rId2"/>
          <a:stretch>
            <a:fillRect/>
          </a:stretch>
        </p:blipFill>
        <p:spPr>
          <a:xfrm>
            <a:off x="10725768" y="5901016"/>
            <a:ext cx="1257867" cy="763200"/>
          </a:xfrm>
          <a:prstGeom prst="rect">
            <a:avLst/>
          </a:prstGeom>
        </p:spPr>
      </p:pic>
    </p:spTree>
    <p:extLst>
      <p:ext uri="{BB962C8B-B14F-4D97-AF65-F5344CB8AC3E}">
        <p14:creationId xmlns:p14="http://schemas.microsoft.com/office/powerpoint/2010/main" val="14194600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xt in 2 columns and big photo">
    <p:spTree>
      <p:nvGrpSpPr>
        <p:cNvPr id="1" name=""/>
        <p:cNvGrpSpPr/>
        <p:nvPr/>
      </p:nvGrpSpPr>
      <p:grpSpPr>
        <a:xfrm>
          <a:off x="0" y="0"/>
          <a:ext cx="0" cy="0"/>
          <a:chOff x="0" y="0"/>
          <a:chExt cx="0" cy="0"/>
        </a:xfrm>
      </p:grpSpPr>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7773642" y="0"/>
            <a:ext cx="4418358" cy="685799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9" name="Title 1">
            <a:extLst>
              <a:ext uri="{FF2B5EF4-FFF2-40B4-BE49-F238E27FC236}">
                <a16:creationId xmlns:a16="http://schemas.microsoft.com/office/drawing/2014/main" id="{278936A4-CDCB-C345-F71F-92F2A35F2AF4}"/>
              </a:ext>
            </a:extLst>
          </p:cNvPr>
          <p:cNvSpPr>
            <a:spLocks noGrp="1"/>
          </p:cNvSpPr>
          <p:nvPr>
            <p:ph type="title"/>
          </p:nvPr>
        </p:nvSpPr>
        <p:spPr>
          <a:xfrm>
            <a:off x="838200" y="461067"/>
            <a:ext cx="7915275" cy="717240"/>
          </a:xfrm>
          <a:solidFill>
            <a:schemeClr val="bg1"/>
          </a:solidFill>
        </p:spPr>
        <p:txBody>
          <a:bodyPr>
            <a:noAutofit/>
          </a:bodyPr>
          <a:lstStyle>
            <a:lvl1pPr>
              <a:defRPr sz="4400">
                <a:solidFill>
                  <a:srgbClr val="69808A"/>
                </a:solidFill>
              </a:defRPr>
            </a:lvl1pPr>
          </a:lstStyle>
          <a:p>
            <a:r>
              <a:rPr lang="en-US"/>
              <a:t>Click to edit Master title style</a:t>
            </a:r>
            <a:endParaRPr lang="en-IE"/>
          </a:p>
        </p:txBody>
      </p:sp>
      <p:sp>
        <p:nvSpPr>
          <p:cNvPr id="6" name="Content Placeholder 2">
            <a:extLst>
              <a:ext uri="{FF2B5EF4-FFF2-40B4-BE49-F238E27FC236}">
                <a16:creationId xmlns:a16="http://schemas.microsoft.com/office/drawing/2014/main" id="{BFE590DB-1C31-60F0-D6F8-A1706796115D}"/>
              </a:ext>
            </a:extLst>
          </p:cNvPr>
          <p:cNvSpPr>
            <a:spLocks noGrp="1"/>
          </p:cNvSpPr>
          <p:nvPr>
            <p:ph sz="half" idx="13"/>
          </p:nvPr>
        </p:nvSpPr>
        <p:spPr>
          <a:xfrm>
            <a:off x="838200" y="1833753"/>
            <a:ext cx="2974761" cy="3638550"/>
          </a:xfrm>
          <a:noFill/>
        </p:spPr>
        <p:txBody>
          <a:bodyPr>
            <a:noAutofit/>
          </a:bodyPr>
          <a:lstStyle>
            <a:lvl1pPr marL="0" indent="0">
              <a:buNone/>
              <a:defRPr sz="2000">
                <a:solidFill>
                  <a:schemeClr val="tx1"/>
                </a:solidFill>
              </a:defRPr>
            </a:lvl1pPr>
          </a:lstStyle>
          <a:p>
            <a:pPr lvl="0"/>
            <a:r>
              <a:rPr lang="en-US"/>
              <a:t>Click to edit Master text styles</a:t>
            </a:r>
          </a:p>
        </p:txBody>
      </p:sp>
      <p:sp>
        <p:nvSpPr>
          <p:cNvPr id="4" name="Content Placeholder 2">
            <a:extLst>
              <a:ext uri="{FF2B5EF4-FFF2-40B4-BE49-F238E27FC236}">
                <a16:creationId xmlns:a16="http://schemas.microsoft.com/office/drawing/2014/main" id="{094C5D68-6EAE-4A7A-7185-241C6CF3B9BB}"/>
              </a:ext>
            </a:extLst>
          </p:cNvPr>
          <p:cNvSpPr>
            <a:spLocks noGrp="1"/>
          </p:cNvSpPr>
          <p:nvPr>
            <p:ph sz="half" idx="12"/>
          </p:nvPr>
        </p:nvSpPr>
        <p:spPr>
          <a:xfrm>
            <a:off x="4305921" y="1833753"/>
            <a:ext cx="2974761" cy="3638550"/>
          </a:xfrm>
          <a:noFill/>
        </p:spPr>
        <p:txBody>
          <a:bodyPr>
            <a:noAutofit/>
          </a:bodyPr>
          <a:lstStyle>
            <a:lvl1pPr marL="0" indent="0">
              <a:buNone/>
              <a:defRPr sz="2000">
                <a:solidFill>
                  <a:schemeClr val="tx1"/>
                </a:solidFill>
              </a:defRPr>
            </a:lvl1pPr>
          </a:lstStyle>
          <a:p>
            <a:pPr lvl="0"/>
            <a:r>
              <a:rPr lang="en-US"/>
              <a:t>Click to edit Master text styles</a:t>
            </a:r>
          </a:p>
        </p:txBody>
      </p:sp>
      <p:pic>
        <p:nvPicPr>
          <p:cNvPr id="2" name="Picture 1" descr="A blue flag with yellow stars&#10;&#10;Description automatically generated">
            <a:extLst>
              <a:ext uri="{FF2B5EF4-FFF2-40B4-BE49-F238E27FC236}">
                <a16:creationId xmlns:a16="http://schemas.microsoft.com/office/drawing/2014/main" id="{901A7271-B7CF-4C49-1423-D7CA7ECEF27B}"/>
              </a:ext>
            </a:extLst>
          </p:cNvPr>
          <p:cNvPicPr>
            <a:picLocks noChangeAspect="1"/>
          </p:cNvPicPr>
          <p:nvPr/>
        </p:nvPicPr>
        <p:blipFill>
          <a:blip r:embed="rId2"/>
          <a:stretch>
            <a:fillRect/>
          </a:stretch>
        </p:blipFill>
        <p:spPr>
          <a:xfrm>
            <a:off x="10725768" y="5901016"/>
            <a:ext cx="1256063" cy="762106"/>
          </a:xfrm>
          <a:prstGeom prst="rect">
            <a:avLst/>
          </a:prstGeom>
        </p:spPr>
      </p:pic>
      <p:pic>
        <p:nvPicPr>
          <p:cNvPr id="5" name="Picture 4" descr="A blue flag with yellow stars&#10;&#10;Description automatically generated">
            <a:extLst>
              <a:ext uri="{FF2B5EF4-FFF2-40B4-BE49-F238E27FC236}">
                <a16:creationId xmlns:a16="http://schemas.microsoft.com/office/drawing/2014/main" id="{C0DCEE1B-27AC-37B6-7683-71F823E43E96}"/>
              </a:ext>
            </a:extLst>
          </p:cNvPr>
          <p:cNvPicPr>
            <a:picLocks noChangeAspect="1"/>
          </p:cNvPicPr>
          <p:nvPr userDrawn="1"/>
        </p:nvPicPr>
        <p:blipFill>
          <a:blip r:embed="rId2"/>
          <a:stretch>
            <a:fillRect/>
          </a:stretch>
        </p:blipFill>
        <p:spPr>
          <a:xfrm>
            <a:off x="10725768" y="5901016"/>
            <a:ext cx="1256063" cy="762106"/>
          </a:xfrm>
          <a:prstGeom prst="rect">
            <a:avLst/>
          </a:prstGeom>
        </p:spPr>
      </p:pic>
      <p:sp>
        <p:nvSpPr>
          <p:cNvPr id="7" name="Slide Number Placeholder 5">
            <a:extLst>
              <a:ext uri="{FF2B5EF4-FFF2-40B4-BE49-F238E27FC236}">
                <a16:creationId xmlns:a16="http://schemas.microsoft.com/office/drawing/2014/main" id="{6397D846-EECB-7092-C88A-21E2250BDEB7}"/>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Nr.›</a:t>
            </a:fld>
            <a:endParaRPr lang="en-IE"/>
          </a:p>
        </p:txBody>
      </p:sp>
      <p:sp>
        <p:nvSpPr>
          <p:cNvPr id="8" name="Rectangle 7">
            <a:extLst>
              <a:ext uri="{FF2B5EF4-FFF2-40B4-BE49-F238E27FC236}">
                <a16:creationId xmlns:a16="http://schemas.microsoft.com/office/drawing/2014/main" id="{2AF45130-B51D-C87C-F1D7-C0E428D18824}"/>
              </a:ext>
            </a:extLst>
          </p:cNvPr>
          <p:cNvSpPr/>
          <p:nvPr userDrawn="1"/>
        </p:nvSpPr>
        <p:spPr>
          <a:xfrm>
            <a:off x="631768" y="0"/>
            <a:ext cx="145576" cy="1393902"/>
          </a:xfrm>
          <a:prstGeom prst="rect">
            <a:avLst/>
          </a:prstGeom>
          <a:solidFill>
            <a:schemeClr val="accent4">
              <a:lumMod val="75000"/>
            </a:schemeClr>
          </a:solidFill>
          <a:ln w="3175">
            <a:noFill/>
          </a:ln>
          <a:effectLst>
            <a:outerShdw blurRad="38100" dist="25400" dir="5400000" algn="t" rotWithShape="0">
              <a:schemeClr val="tx1">
                <a:alpha val="27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15486008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Textplatzhalter 4"/>
          <p:cNvSpPr>
            <a:spLocks noGrp="1"/>
          </p:cNvSpPr>
          <p:nvPr>
            <p:ph type="body" sz="quarter" idx="15" hasCustomPrompt="1"/>
          </p:nvPr>
        </p:nvSpPr>
        <p:spPr>
          <a:xfrm>
            <a:off x="912285" y="1773239"/>
            <a:ext cx="10526183" cy="4535487"/>
          </a:xfrm>
        </p:spPr>
        <p:txBody>
          <a:bodyPr/>
          <a:lstStyle>
            <a:lvl1pPr marL="354013" indent="-354013" defTabSz="717550">
              <a:buClr>
                <a:schemeClr val="tx2"/>
              </a:buClr>
              <a:buFont typeface="Symbol" panose="05050102010706020507" pitchFamily="18" charset="2"/>
              <a:buChar char="-"/>
              <a:tabLst>
                <a:tab pos="7772400" algn="r"/>
              </a:tabLst>
              <a:defRPr u="dotted" baseline="0">
                <a:solidFill>
                  <a:schemeClr val="accent5"/>
                </a:solidFill>
                <a:uFill>
                  <a:solidFill>
                    <a:schemeClr val="accent5">
                      <a:lumMod val="20000"/>
                      <a:lumOff val="80000"/>
                    </a:schemeClr>
                  </a:solidFill>
                </a:uFill>
              </a:defRPr>
            </a:lvl1pPr>
          </a:lstStyle>
          <a:p>
            <a:pPr algn="l" rtl="0"/>
            <a:r>
              <a:rPr lang="en-GB" b="0" i="0" u="none" baseline="0" dirty="0"/>
              <a:t>1. </a:t>
            </a:r>
            <a:r>
              <a:rPr lang="en-GB" b="0" i="0" u="none" baseline="0" dirty="0" err="1"/>
              <a:t>Agendapunkt</a:t>
            </a:r>
            <a:r>
              <a:rPr lang="en-GB" b="0" i="0" u="none" baseline="0" dirty="0"/>
              <a:t> </a:t>
            </a:r>
            <a:r>
              <a:rPr lang="en-GB" b="0" i="0" u="none" baseline="0" dirty="0" err="1"/>
              <a:t>eingeben</a:t>
            </a:r>
            <a:r>
              <a:rPr lang="en-GB" b="0" i="0" u="none" baseline="0" dirty="0"/>
              <a:t> &gt; </a:t>
            </a:r>
            <a:r>
              <a:rPr lang="en-GB" b="0" i="0" u="none" baseline="0" dirty="0" err="1"/>
              <a:t>ggf</a:t>
            </a:r>
            <a:r>
              <a:rPr lang="en-GB" b="0" i="0" u="none" baseline="0" dirty="0"/>
              <a:t>. Tab &gt; </a:t>
            </a:r>
            <a:r>
              <a:rPr lang="en-GB" b="0" i="0" u="none" baseline="0" dirty="0" err="1"/>
              <a:t>ggf</a:t>
            </a:r>
            <a:r>
              <a:rPr lang="en-GB" b="0" i="0" u="none" baseline="0" dirty="0"/>
              <a:t>. </a:t>
            </a:r>
            <a:r>
              <a:rPr lang="en-GB" b="0" i="0" u="none" baseline="0" dirty="0" err="1"/>
              <a:t>Seitenzahl</a:t>
            </a:r>
            <a:r>
              <a:rPr lang="en-GB" b="0" i="0" u="none" baseline="0" dirty="0"/>
              <a:t> </a:t>
            </a:r>
            <a:r>
              <a:rPr lang="en-GB" b="0" i="0" u="none" baseline="0" dirty="0" err="1"/>
              <a:t>eingeben</a:t>
            </a:r>
            <a:endParaRPr lang="en-GB" b="0" i="0" u="none" baseline="0" dirty="0"/>
          </a:p>
          <a:p>
            <a:pPr algn="l" rtl="0"/>
            <a:r>
              <a:rPr lang="en-GB" b="0" i="0" u="none" baseline="0" dirty="0"/>
              <a:t>2. </a:t>
            </a:r>
            <a:r>
              <a:rPr lang="en-GB" b="0" i="0" u="none" baseline="0" dirty="0" err="1"/>
              <a:t>Agendapunkt</a:t>
            </a:r>
            <a:r>
              <a:rPr lang="en-GB" b="0" i="0" u="none" baseline="0" dirty="0"/>
              <a:t> </a:t>
            </a:r>
            <a:r>
              <a:rPr lang="en-GB" b="0" i="0" u="none" baseline="0" dirty="0" err="1"/>
              <a:t>eingeben</a:t>
            </a:r>
            <a:r>
              <a:rPr lang="en-GB" b="0" i="0" u="none" baseline="0" dirty="0"/>
              <a:t> &gt; </a:t>
            </a:r>
            <a:r>
              <a:rPr lang="en-GB" b="0" i="0" u="none" baseline="0" dirty="0" err="1"/>
              <a:t>ggf</a:t>
            </a:r>
            <a:r>
              <a:rPr lang="en-GB" b="0" i="0" u="none" baseline="0" dirty="0"/>
              <a:t>. Tab &gt; </a:t>
            </a:r>
            <a:r>
              <a:rPr lang="en-GB" b="0" i="0" u="none" baseline="0" dirty="0" err="1"/>
              <a:t>ggf</a:t>
            </a:r>
            <a:r>
              <a:rPr lang="en-GB" b="0" i="0" u="none" baseline="0" dirty="0"/>
              <a:t>. </a:t>
            </a:r>
            <a:r>
              <a:rPr lang="en-GB" b="0" i="0" u="none" baseline="0" dirty="0" err="1"/>
              <a:t>Seitenzahl</a:t>
            </a:r>
            <a:r>
              <a:rPr lang="en-GB" b="0" i="0" u="none" baseline="0" dirty="0"/>
              <a:t> </a:t>
            </a:r>
            <a:r>
              <a:rPr lang="en-GB" b="0" i="0" u="none" baseline="0" dirty="0" err="1"/>
              <a:t>eingeben</a:t>
            </a:r>
            <a:endParaRPr lang="en-GB" b="0" i="0" u="none" baseline="0" dirty="0"/>
          </a:p>
          <a:p>
            <a:pPr algn="l" rtl="0"/>
            <a:r>
              <a:rPr lang="en-GB" b="0" i="0" u="none" baseline="0" dirty="0"/>
              <a:t>….</a:t>
            </a:r>
          </a:p>
        </p:txBody>
      </p:sp>
      <p:sp>
        <p:nvSpPr>
          <p:cNvPr id="3" name="Textfeld 2"/>
          <p:cNvSpPr txBox="1"/>
          <p:nvPr userDrawn="1"/>
        </p:nvSpPr>
        <p:spPr>
          <a:xfrm>
            <a:off x="815414" y="764704"/>
            <a:ext cx="1507144" cy="553998"/>
          </a:xfrm>
          <a:prstGeom prst="rect">
            <a:avLst/>
          </a:prstGeom>
          <a:noFill/>
        </p:spPr>
        <p:txBody>
          <a:bodyPr wrap="none" rtlCol="0">
            <a:spAutoFit/>
          </a:bodyPr>
          <a:lstStyle/>
          <a:p>
            <a:pPr algn="l" rtl="0"/>
            <a:r>
              <a:rPr lang="en-GB" sz="3000" b="0" i="0" u="none" baseline="0">
                <a:solidFill>
                  <a:schemeClr val="tx2"/>
                </a:solidFill>
              </a:rPr>
              <a:t>Agenda</a:t>
            </a:r>
          </a:p>
        </p:txBody>
      </p:sp>
      <p:sp>
        <p:nvSpPr>
          <p:cNvPr id="2" name="Foliennummernplatzhalter 1"/>
          <p:cNvSpPr>
            <a:spLocks noGrp="1"/>
          </p:cNvSpPr>
          <p:nvPr>
            <p:ph type="sldNum" sz="quarter" idx="16"/>
          </p:nvPr>
        </p:nvSpPr>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a:solidFill>
                  <a:schemeClr val="accent5"/>
                </a:solidFill>
              </a:rPr>
              <a:pPr algn="l" rtl="0"/>
              <a:t>‹Nr.›</a:t>
            </a:fld>
            <a:r>
              <a:rPr lang="en-GB" sz="1000" b="0" i="0" u="none" baseline="0">
                <a:solidFill>
                  <a:schemeClr val="accent5"/>
                </a:solidFill>
              </a:rPr>
              <a:t> </a:t>
            </a:r>
            <a:endParaRPr lang="en-GB" sz="1000" dirty="0">
              <a:solidFill>
                <a:schemeClr val="accent5"/>
              </a:solidFill>
            </a:endParaRP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20000" y="540000"/>
            <a:ext cx="1812610" cy="560924"/>
          </a:xfrm>
          <a:prstGeom prst="rect">
            <a:avLst/>
          </a:prstGeom>
        </p:spPr>
      </p:pic>
      <p:pic>
        <p:nvPicPr>
          <p:cNvPr id="6" name="Grafik 5">
            <a:extLst>
              <a:ext uri="{FF2B5EF4-FFF2-40B4-BE49-F238E27FC236}">
                <a16:creationId xmlns:a16="http://schemas.microsoft.com/office/drawing/2014/main" id="{68497C83-DA9D-419C-AF42-114852D06084}"/>
              </a:ext>
            </a:extLst>
          </p:cNvPr>
          <p:cNvPicPr>
            <a:picLocks noChangeAspect="1"/>
          </p:cNvPicPr>
          <p:nvPr userDrawn="1"/>
        </p:nvPicPr>
        <p:blipFill rotWithShape="1">
          <a:blip r:embed="rId3"/>
          <a:srcRect l="11160" t="8732" r="10722" b="13048"/>
          <a:stretch/>
        </p:blipFill>
        <p:spPr>
          <a:xfrm>
            <a:off x="8184232" y="349801"/>
            <a:ext cx="1368152" cy="846951"/>
          </a:xfrm>
          <a:prstGeom prst="rect">
            <a:avLst/>
          </a:prstGeom>
        </p:spPr>
      </p:pic>
    </p:spTree>
    <p:extLst>
      <p:ext uri="{BB962C8B-B14F-4D97-AF65-F5344CB8AC3E}">
        <p14:creationId xmlns:p14="http://schemas.microsoft.com/office/powerpoint/2010/main" val="1027533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3 photos and three text boxe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41187F8-6993-4E2B-6622-C25429339D60}"/>
              </a:ext>
            </a:extLst>
          </p:cNvPr>
          <p:cNvSpPr>
            <a:spLocks noGrp="1"/>
          </p:cNvSpPr>
          <p:nvPr>
            <p:ph type="title"/>
          </p:nvPr>
        </p:nvSpPr>
        <p:spPr>
          <a:xfrm>
            <a:off x="838200" y="365126"/>
            <a:ext cx="10515602" cy="816904"/>
          </a:xfrm>
        </p:spPr>
        <p:txBody>
          <a:bodyPr>
            <a:noAutofit/>
          </a:bodyPr>
          <a:lstStyle>
            <a:lvl1pPr algn="l" defTabSz="914400" rtl="0" eaLnBrk="1" latinLnBrk="0" hangingPunct="1">
              <a:lnSpc>
                <a:spcPct val="90000"/>
              </a:lnSpc>
              <a:spcBef>
                <a:spcPct val="0"/>
              </a:spcBef>
              <a:buNone/>
              <a:defRPr lang="en-IE" sz="4400" kern="1200" dirty="0">
                <a:solidFill>
                  <a:srgbClr val="69808A"/>
                </a:solidFill>
                <a:latin typeface="+mj-lt"/>
                <a:ea typeface="+mj-ea"/>
                <a:cs typeface="+mj-cs"/>
              </a:defRPr>
            </a:lvl1pPr>
          </a:lstStyle>
          <a:p>
            <a:r>
              <a:rPr lang="en-US"/>
              <a:t>Click to edit Master title style</a:t>
            </a:r>
            <a:endParaRPr lang="en-IE"/>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872591"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5" name="Text Placeholder 4">
            <a:extLst>
              <a:ext uri="{FF2B5EF4-FFF2-40B4-BE49-F238E27FC236}">
                <a16:creationId xmlns:a16="http://schemas.microsoft.com/office/drawing/2014/main" id="{953FA7EE-FB05-1C4E-138A-F50BCF45EECE}"/>
              </a:ext>
            </a:extLst>
          </p:cNvPr>
          <p:cNvSpPr>
            <a:spLocks noGrp="1"/>
          </p:cNvSpPr>
          <p:nvPr>
            <p:ph type="body" sz="quarter" idx="29"/>
          </p:nvPr>
        </p:nvSpPr>
        <p:spPr>
          <a:xfrm>
            <a:off x="873125" y="4591050"/>
            <a:ext cx="3008313" cy="1103313"/>
          </a:xfrm>
        </p:spPr>
        <p:txBody>
          <a:bodyPr>
            <a:noAutofit/>
          </a:bodyPr>
          <a:lstStyle>
            <a:lvl1pPr marL="0" indent="0">
              <a:buNone/>
              <a:defRPr/>
            </a:lvl1pPr>
          </a:lstStyle>
          <a:p>
            <a:pPr lvl="0"/>
            <a:r>
              <a:rPr lang="en-US"/>
              <a:t>Click to edit Master text styles</a:t>
            </a:r>
          </a:p>
        </p:txBody>
      </p:sp>
      <p:sp>
        <p:nvSpPr>
          <p:cNvPr id="7" name="Google Shape;72;p30">
            <a:extLst>
              <a:ext uri="{FF2B5EF4-FFF2-40B4-BE49-F238E27FC236}">
                <a16:creationId xmlns:a16="http://schemas.microsoft.com/office/drawing/2014/main" id="{463AB235-233D-D0DB-E16C-CB9366541FFD}"/>
              </a:ext>
            </a:extLst>
          </p:cNvPr>
          <p:cNvSpPr>
            <a:spLocks noGrp="1"/>
          </p:cNvSpPr>
          <p:nvPr>
            <p:ph type="pic" idx="27"/>
          </p:nvPr>
        </p:nvSpPr>
        <p:spPr>
          <a:xfrm>
            <a:off x="4608944"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9" name="Text Placeholder 4">
            <a:extLst>
              <a:ext uri="{FF2B5EF4-FFF2-40B4-BE49-F238E27FC236}">
                <a16:creationId xmlns:a16="http://schemas.microsoft.com/office/drawing/2014/main" id="{321AD6DD-14BD-E044-8AD7-2881DB891822}"/>
              </a:ext>
            </a:extLst>
          </p:cNvPr>
          <p:cNvSpPr>
            <a:spLocks noGrp="1"/>
          </p:cNvSpPr>
          <p:nvPr>
            <p:ph type="body" sz="quarter" idx="30"/>
          </p:nvPr>
        </p:nvSpPr>
        <p:spPr>
          <a:xfrm>
            <a:off x="4609133" y="4611671"/>
            <a:ext cx="3008313" cy="1103313"/>
          </a:xfrm>
        </p:spPr>
        <p:txBody>
          <a:bodyPr>
            <a:noAutofit/>
          </a:bodyPr>
          <a:lstStyle>
            <a:lvl1pPr marL="0" indent="0">
              <a:buNone/>
              <a:defRPr/>
            </a:lvl1pPr>
          </a:lstStyle>
          <a:p>
            <a:pPr lvl="0"/>
            <a:r>
              <a:rPr lang="en-US"/>
              <a:t>Click to edit Master text styles</a:t>
            </a:r>
          </a:p>
        </p:txBody>
      </p:sp>
      <p:sp>
        <p:nvSpPr>
          <p:cNvPr id="8" name="Google Shape;72;p30">
            <a:extLst>
              <a:ext uri="{FF2B5EF4-FFF2-40B4-BE49-F238E27FC236}">
                <a16:creationId xmlns:a16="http://schemas.microsoft.com/office/drawing/2014/main" id="{18BFCAC6-D624-8622-7879-6E32A21B7DBA}"/>
              </a:ext>
            </a:extLst>
          </p:cNvPr>
          <p:cNvSpPr>
            <a:spLocks noGrp="1"/>
          </p:cNvSpPr>
          <p:nvPr>
            <p:ph type="pic" idx="28"/>
          </p:nvPr>
        </p:nvSpPr>
        <p:spPr>
          <a:xfrm>
            <a:off x="8345298"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10" name="Text Placeholder 4">
            <a:extLst>
              <a:ext uri="{FF2B5EF4-FFF2-40B4-BE49-F238E27FC236}">
                <a16:creationId xmlns:a16="http://schemas.microsoft.com/office/drawing/2014/main" id="{12415A3E-5C31-4007-8208-34FF613FDA4D}"/>
              </a:ext>
            </a:extLst>
          </p:cNvPr>
          <p:cNvSpPr>
            <a:spLocks noGrp="1"/>
          </p:cNvSpPr>
          <p:nvPr>
            <p:ph type="body" sz="quarter" idx="31"/>
          </p:nvPr>
        </p:nvSpPr>
        <p:spPr>
          <a:xfrm>
            <a:off x="8345487" y="4611671"/>
            <a:ext cx="3008313" cy="1103313"/>
          </a:xfrm>
        </p:spPr>
        <p:txBody>
          <a:bodyPr>
            <a:noAutofit/>
          </a:bodyPr>
          <a:lstStyle>
            <a:lvl1pPr marL="0" indent="0">
              <a:buNone/>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3314E959-31F1-870D-FAE7-99D8E6333021}"/>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Nr.›</a:t>
            </a:fld>
            <a:endParaRPr lang="en-IE"/>
          </a:p>
        </p:txBody>
      </p:sp>
      <p:sp>
        <p:nvSpPr>
          <p:cNvPr id="6" name="Rectangle 5">
            <a:extLst>
              <a:ext uri="{FF2B5EF4-FFF2-40B4-BE49-F238E27FC236}">
                <a16:creationId xmlns:a16="http://schemas.microsoft.com/office/drawing/2014/main" id="{B86F25ED-1816-B13A-62D9-2A9465F7869A}"/>
              </a:ext>
            </a:extLst>
          </p:cNvPr>
          <p:cNvSpPr/>
          <p:nvPr userDrawn="1"/>
        </p:nvSpPr>
        <p:spPr>
          <a:xfrm>
            <a:off x="631768" y="0"/>
            <a:ext cx="145576" cy="1393902"/>
          </a:xfrm>
          <a:prstGeom prst="rect">
            <a:avLst/>
          </a:prstGeom>
          <a:solidFill>
            <a:schemeClr val="accent4">
              <a:lumMod val="75000"/>
            </a:schemeClr>
          </a:solidFill>
          <a:ln w="3175">
            <a:noFill/>
          </a:ln>
          <a:effectLst>
            <a:outerShdw blurRad="38100" dist="25400" dir="5400000" algn="t" rotWithShape="0">
              <a:schemeClr val="tx1">
                <a:alpha val="27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17306756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photos and three coloured text boxes">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41187F8-6993-4E2B-6622-C25429339D60}"/>
              </a:ext>
            </a:extLst>
          </p:cNvPr>
          <p:cNvSpPr>
            <a:spLocks noGrp="1"/>
          </p:cNvSpPr>
          <p:nvPr>
            <p:ph type="title"/>
          </p:nvPr>
        </p:nvSpPr>
        <p:spPr>
          <a:xfrm>
            <a:off x="838200" y="365126"/>
            <a:ext cx="10515602" cy="816904"/>
          </a:xfrm>
        </p:spPr>
        <p:txBody>
          <a:bodyPr>
            <a:noAutofit/>
          </a:bodyPr>
          <a:lstStyle>
            <a:lvl1pPr algn="l" defTabSz="914400" rtl="0" eaLnBrk="1" latinLnBrk="0" hangingPunct="1">
              <a:lnSpc>
                <a:spcPct val="90000"/>
              </a:lnSpc>
              <a:spcBef>
                <a:spcPct val="0"/>
              </a:spcBef>
              <a:buNone/>
              <a:defRPr lang="en-IE" sz="4400" kern="1200" dirty="0">
                <a:solidFill>
                  <a:srgbClr val="69808A"/>
                </a:solidFill>
                <a:latin typeface="+mj-lt"/>
                <a:ea typeface="+mj-ea"/>
                <a:cs typeface="+mj-cs"/>
              </a:defRPr>
            </a:lvl1pPr>
          </a:lstStyle>
          <a:p>
            <a:r>
              <a:rPr lang="en-US"/>
              <a:t>Click to edit Master title style</a:t>
            </a:r>
            <a:endParaRPr lang="en-IE"/>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872591"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5" name="Text Placeholder 4">
            <a:extLst>
              <a:ext uri="{FF2B5EF4-FFF2-40B4-BE49-F238E27FC236}">
                <a16:creationId xmlns:a16="http://schemas.microsoft.com/office/drawing/2014/main" id="{953FA7EE-FB05-1C4E-138A-F50BCF45EECE}"/>
              </a:ext>
            </a:extLst>
          </p:cNvPr>
          <p:cNvSpPr>
            <a:spLocks noGrp="1"/>
          </p:cNvSpPr>
          <p:nvPr>
            <p:ph type="body" sz="quarter" idx="29"/>
          </p:nvPr>
        </p:nvSpPr>
        <p:spPr>
          <a:xfrm>
            <a:off x="873125" y="4591050"/>
            <a:ext cx="3008313" cy="1103313"/>
          </a:xfrm>
          <a:solidFill>
            <a:schemeClr val="tx2"/>
          </a:solidFill>
        </p:spPr>
        <p:txBody>
          <a:bodyPr>
            <a:noAutofit/>
          </a:bodyPr>
          <a:lstStyle>
            <a:lvl1pPr marL="0" indent="0">
              <a:buNone/>
              <a:defRPr>
                <a:solidFill>
                  <a:schemeClr val="bg1"/>
                </a:solidFill>
              </a:defRPr>
            </a:lvl1pPr>
          </a:lstStyle>
          <a:p>
            <a:pPr lvl="0"/>
            <a:r>
              <a:rPr lang="en-US"/>
              <a:t>Click to edit Master text styles</a:t>
            </a:r>
          </a:p>
        </p:txBody>
      </p:sp>
      <p:sp>
        <p:nvSpPr>
          <p:cNvPr id="7" name="Google Shape;72;p30">
            <a:extLst>
              <a:ext uri="{FF2B5EF4-FFF2-40B4-BE49-F238E27FC236}">
                <a16:creationId xmlns:a16="http://schemas.microsoft.com/office/drawing/2014/main" id="{463AB235-233D-D0DB-E16C-CB9366541FFD}"/>
              </a:ext>
            </a:extLst>
          </p:cNvPr>
          <p:cNvSpPr>
            <a:spLocks noGrp="1"/>
          </p:cNvSpPr>
          <p:nvPr>
            <p:ph type="pic" idx="27"/>
          </p:nvPr>
        </p:nvSpPr>
        <p:spPr>
          <a:xfrm>
            <a:off x="4608944"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9" name="Text Placeholder 4">
            <a:extLst>
              <a:ext uri="{FF2B5EF4-FFF2-40B4-BE49-F238E27FC236}">
                <a16:creationId xmlns:a16="http://schemas.microsoft.com/office/drawing/2014/main" id="{321AD6DD-14BD-E044-8AD7-2881DB891822}"/>
              </a:ext>
            </a:extLst>
          </p:cNvPr>
          <p:cNvSpPr>
            <a:spLocks noGrp="1"/>
          </p:cNvSpPr>
          <p:nvPr>
            <p:ph type="body" sz="quarter" idx="30"/>
          </p:nvPr>
        </p:nvSpPr>
        <p:spPr>
          <a:xfrm>
            <a:off x="4609133" y="4611671"/>
            <a:ext cx="3008313" cy="1103313"/>
          </a:xfrm>
          <a:solidFill>
            <a:schemeClr val="tx2"/>
          </a:solidFill>
        </p:spPr>
        <p:txBody>
          <a:bodyPr>
            <a:noAutofit/>
          </a:bodyPr>
          <a:lstStyle>
            <a:lvl1pPr marL="0" indent="0">
              <a:buNone/>
              <a:defRPr>
                <a:solidFill>
                  <a:schemeClr val="bg1"/>
                </a:solidFill>
              </a:defRPr>
            </a:lvl1pPr>
          </a:lstStyle>
          <a:p>
            <a:pPr lvl="0"/>
            <a:r>
              <a:rPr lang="en-US"/>
              <a:t>Click to edit Master text styles</a:t>
            </a:r>
          </a:p>
        </p:txBody>
      </p:sp>
      <p:sp>
        <p:nvSpPr>
          <p:cNvPr id="8" name="Google Shape;72;p30">
            <a:extLst>
              <a:ext uri="{FF2B5EF4-FFF2-40B4-BE49-F238E27FC236}">
                <a16:creationId xmlns:a16="http://schemas.microsoft.com/office/drawing/2014/main" id="{18BFCAC6-D624-8622-7879-6E32A21B7DBA}"/>
              </a:ext>
            </a:extLst>
          </p:cNvPr>
          <p:cNvSpPr>
            <a:spLocks noGrp="1"/>
          </p:cNvSpPr>
          <p:nvPr>
            <p:ph type="pic" idx="28"/>
          </p:nvPr>
        </p:nvSpPr>
        <p:spPr>
          <a:xfrm>
            <a:off x="8345298" y="1571394"/>
            <a:ext cx="3008502" cy="2763002"/>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10" name="Text Placeholder 4">
            <a:extLst>
              <a:ext uri="{FF2B5EF4-FFF2-40B4-BE49-F238E27FC236}">
                <a16:creationId xmlns:a16="http://schemas.microsoft.com/office/drawing/2014/main" id="{12415A3E-5C31-4007-8208-34FF613FDA4D}"/>
              </a:ext>
            </a:extLst>
          </p:cNvPr>
          <p:cNvSpPr>
            <a:spLocks noGrp="1"/>
          </p:cNvSpPr>
          <p:nvPr>
            <p:ph type="body" sz="quarter" idx="31"/>
          </p:nvPr>
        </p:nvSpPr>
        <p:spPr>
          <a:xfrm>
            <a:off x="8345487" y="4611671"/>
            <a:ext cx="3008313" cy="1103313"/>
          </a:xfrm>
          <a:solidFill>
            <a:schemeClr val="tx2"/>
          </a:solidFill>
        </p:spPr>
        <p:txBody>
          <a:bodyPr>
            <a:noAutofit/>
          </a:bodyPr>
          <a:lstStyle>
            <a:lvl1pPr marL="0" indent="0">
              <a:buNone/>
              <a:defRPr>
                <a:solidFill>
                  <a:schemeClr val="bg1"/>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0E52517C-B46F-A98F-0643-A97107DEC79E}"/>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Nr.›</a:t>
            </a:fld>
            <a:endParaRPr lang="en-IE"/>
          </a:p>
        </p:txBody>
      </p:sp>
      <p:sp>
        <p:nvSpPr>
          <p:cNvPr id="2" name="Rectangle 1">
            <a:extLst>
              <a:ext uri="{FF2B5EF4-FFF2-40B4-BE49-F238E27FC236}">
                <a16:creationId xmlns:a16="http://schemas.microsoft.com/office/drawing/2014/main" id="{C440C3A2-4A37-16F8-132D-FF4B92CE78D4}"/>
              </a:ext>
            </a:extLst>
          </p:cNvPr>
          <p:cNvSpPr/>
          <p:nvPr userDrawn="1"/>
        </p:nvSpPr>
        <p:spPr>
          <a:xfrm>
            <a:off x="631768" y="0"/>
            <a:ext cx="145576" cy="1393902"/>
          </a:xfrm>
          <a:prstGeom prst="rect">
            <a:avLst/>
          </a:prstGeom>
          <a:solidFill>
            <a:schemeClr val="accent4">
              <a:lumMod val="75000"/>
            </a:schemeClr>
          </a:solidFill>
          <a:ln w="3175">
            <a:noFill/>
          </a:ln>
          <a:effectLst>
            <a:outerShdw blurRad="38100" dist="25400" dir="5400000" algn="t" rotWithShape="0">
              <a:schemeClr val="tx1">
                <a:alpha val="27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28438890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xt and a coloured text box">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30C1291-4A16-4E7F-D6F2-0662C6CCE1C1}"/>
              </a:ext>
            </a:extLst>
          </p:cNvPr>
          <p:cNvSpPr>
            <a:spLocks noGrp="1"/>
          </p:cNvSpPr>
          <p:nvPr>
            <p:ph type="title"/>
          </p:nvPr>
        </p:nvSpPr>
        <p:spPr>
          <a:xfrm>
            <a:off x="838200" y="365126"/>
            <a:ext cx="10515600" cy="816904"/>
          </a:xfrm>
        </p:spPr>
        <p:txBody>
          <a:bodyPr>
            <a:noAutofit/>
          </a:bodyPr>
          <a:lstStyle>
            <a:lvl1pPr>
              <a:defRPr>
                <a:solidFill>
                  <a:srgbClr val="69808A"/>
                </a:solidFill>
              </a:defRPr>
            </a:lvl1pPr>
          </a:lstStyle>
          <a:p>
            <a:r>
              <a:rPr lang="en-US"/>
              <a:t>Click to edit Master title style</a:t>
            </a:r>
            <a:endParaRPr lang="en-IE"/>
          </a:p>
        </p:txBody>
      </p:sp>
      <p:sp>
        <p:nvSpPr>
          <p:cNvPr id="3" name="Google Shape;72;p30">
            <a:extLst>
              <a:ext uri="{FF2B5EF4-FFF2-40B4-BE49-F238E27FC236}">
                <a16:creationId xmlns:a16="http://schemas.microsoft.com/office/drawing/2014/main" id="{252B282C-4F3C-02C6-86A1-F51B8A650847}"/>
              </a:ext>
            </a:extLst>
          </p:cNvPr>
          <p:cNvSpPr>
            <a:spLocks noGrp="1"/>
          </p:cNvSpPr>
          <p:nvPr>
            <p:ph type="pic" idx="2"/>
          </p:nvPr>
        </p:nvSpPr>
        <p:spPr>
          <a:xfrm>
            <a:off x="838200" y="1706136"/>
            <a:ext cx="4840275" cy="3463179"/>
          </a:xfrm>
          <a:prstGeom prst="rect">
            <a:avLst/>
          </a:prstGeom>
          <a:solidFill>
            <a:schemeClr val="lt2"/>
          </a:solidFill>
          <a:ln w="28575" cap="flat" cmpd="sng">
            <a:noFill/>
            <a:prstDash val="solid"/>
            <a:round/>
            <a:headEnd type="none" w="sm" len="sm"/>
            <a:tailEnd type="none" w="sm" len="sm"/>
          </a:ln>
        </p:spPr>
        <p:txBody>
          <a:bodyPr/>
          <a:lstStyle>
            <a:lvl1pPr marL="0" indent="0">
              <a:buNone/>
              <a:defRPr>
                <a:solidFill>
                  <a:schemeClr val="tx2"/>
                </a:solidFill>
              </a:defRPr>
            </a:lvl1pPr>
          </a:lstStyle>
          <a:p>
            <a:r>
              <a:rPr lang="en-US"/>
              <a:t>Click icon to add picture</a:t>
            </a:r>
            <a:endParaRPr lang="en-IE"/>
          </a:p>
        </p:txBody>
      </p:sp>
      <p:sp>
        <p:nvSpPr>
          <p:cNvPr id="8" name="Content Placeholder 2">
            <a:extLst>
              <a:ext uri="{FF2B5EF4-FFF2-40B4-BE49-F238E27FC236}">
                <a16:creationId xmlns:a16="http://schemas.microsoft.com/office/drawing/2014/main" id="{621CCFCC-12CB-E276-21C2-DAA2C8D36EC9}"/>
              </a:ext>
            </a:extLst>
          </p:cNvPr>
          <p:cNvSpPr>
            <a:spLocks noGrp="1"/>
          </p:cNvSpPr>
          <p:nvPr>
            <p:ph sz="half" idx="19"/>
          </p:nvPr>
        </p:nvSpPr>
        <p:spPr>
          <a:xfrm>
            <a:off x="6393779" y="1706137"/>
            <a:ext cx="4960021" cy="3463178"/>
          </a:xfrm>
          <a:solidFill>
            <a:schemeClr val="tx2"/>
          </a:solidFill>
        </p:spPr>
        <p:txBody>
          <a:bodyPr>
            <a:noAutofit/>
          </a:bodyPr>
          <a:lstStyle>
            <a:lvl1pPr marL="0" indent="0">
              <a:buNone/>
              <a:defRPr sz="2000">
                <a:solidFill>
                  <a:schemeClr val="bg1"/>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9240A71C-FBDC-ABE7-AF08-221E5E62954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Nr.›</a:t>
            </a:fld>
            <a:endParaRPr lang="en-IE"/>
          </a:p>
        </p:txBody>
      </p:sp>
      <p:sp>
        <p:nvSpPr>
          <p:cNvPr id="5" name="Rectangle 4">
            <a:extLst>
              <a:ext uri="{FF2B5EF4-FFF2-40B4-BE49-F238E27FC236}">
                <a16:creationId xmlns:a16="http://schemas.microsoft.com/office/drawing/2014/main" id="{23E65975-2245-527C-1D43-361E7FF77DDD}"/>
              </a:ext>
            </a:extLst>
          </p:cNvPr>
          <p:cNvSpPr/>
          <p:nvPr userDrawn="1"/>
        </p:nvSpPr>
        <p:spPr>
          <a:xfrm>
            <a:off x="631768" y="0"/>
            <a:ext cx="145576" cy="1393902"/>
          </a:xfrm>
          <a:prstGeom prst="rect">
            <a:avLst/>
          </a:prstGeom>
          <a:solidFill>
            <a:schemeClr val="accent4">
              <a:lumMod val="75000"/>
            </a:schemeClr>
          </a:solidFill>
          <a:ln w="3175">
            <a:noFill/>
          </a:ln>
          <a:effectLst>
            <a:outerShdw blurRad="38100" dist="25400" dir="5400000" algn="t" rotWithShape="0">
              <a:schemeClr val="tx1">
                <a:alpha val="27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1364964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Quote positive logo">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3559404-34AB-2AB1-76B4-CB85000D699F}"/>
              </a:ext>
            </a:extLst>
          </p:cNvPr>
          <p:cNvSpPr>
            <a:spLocks noGrp="1"/>
          </p:cNvSpPr>
          <p:nvPr>
            <p:ph type="title"/>
          </p:nvPr>
        </p:nvSpPr>
        <p:spPr>
          <a:xfrm>
            <a:off x="0" y="-816904"/>
            <a:ext cx="10515600" cy="816904"/>
          </a:xfrm>
        </p:spPr>
        <p:txBody>
          <a:bodyPr/>
          <a:lstStyle>
            <a:lvl1pPr>
              <a:defRPr>
                <a:solidFill>
                  <a:schemeClr val="tx1">
                    <a:lumMod val="65000"/>
                    <a:lumOff val="35000"/>
                  </a:schemeClr>
                </a:solidFill>
              </a:defRPr>
            </a:lvl1pPr>
          </a:lstStyle>
          <a:p>
            <a:r>
              <a:rPr lang="en-US"/>
              <a:t>Click to edit Master title style</a:t>
            </a:r>
            <a:endParaRPr lang="en-IE"/>
          </a:p>
        </p:txBody>
      </p:sp>
      <p:sp>
        <p:nvSpPr>
          <p:cNvPr id="6" name="Picture Placeholder 5">
            <a:extLst>
              <a:ext uri="{FF2B5EF4-FFF2-40B4-BE49-F238E27FC236}">
                <a16:creationId xmlns:a16="http://schemas.microsoft.com/office/drawing/2014/main" id="{A012AF7B-3A7E-8763-817E-DD321C64A6B1}"/>
              </a:ext>
            </a:extLst>
          </p:cNvPr>
          <p:cNvSpPr>
            <a:spLocks noGrp="1"/>
          </p:cNvSpPr>
          <p:nvPr>
            <p:ph type="pic" sz="quarter" idx="11"/>
          </p:nvPr>
        </p:nvSpPr>
        <p:spPr>
          <a:xfrm>
            <a:off x="0" y="0"/>
            <a:ext cx="12238038" cy="6858000"/>
          </a:xfrm>
          <a:solidFill>
            <a:schemeClr val="bg2"/>
          </a:solidFill>
        </p:spPr>
        <p:txBody>
          <a:bodyPr/>
          <a:lstStyle>
            <a:lvl1pPr marL="0" indent="0">
              <a:buNone/>
              <a:defRPr>
                <a:solidFill>
                  <a:schemeClr val="tx2"/>
                </a:solidFill>
              </a:defRPr>
            </a:lvl1pPr>
          </a:lstStyle>
          <a:p>
            <a:r>
              <a:rPr lang="en-US"/>
              <a:t>Click icon to add picture</a:t>
            </a:r>
            <a:endParaRPr lang="en-IE"/>
          </a:p>
        </p:txBody>
      </p:sp>
      <p:sp>
        <p:nvSpPr>
          <p:cNvPr id="8" name="Content Placeholder 7">
            <a:extLst>
              <a:ext uri="{FF2B5EF4-FFF2-40B4-BE49-F238E27FC236}">
                <a16:creationId xmlns:a16="http://schemas.microsoft.com/office/drawing/2014/main" id="{68A2B82B-3461-6DA2-3E41-F3AC81391822}"/>
              </a:ext>
            </a:extLst>
          </p:cNvPr>
          <p:cNvSpPr>
            <a:spLocks noGrp="1"/>
          </p:cNvSpPr>
          <p:nvPr>
            <p:ph sz="quarter" idx="12"/>
          </p:nvPr>
        </p:nvSpPr>
        <p:spPr>
          <a:xfrm>
            <a:off x="0" y="994438"/>
            <a:ext cx="6096000" cy="4521200"/>
          </a:xfrm>
          <a:solidFill>
            <a:schemeClr val="tx2"/>
          </a:solidFill>
        </p:spPr>
        <p:txBody>
          <a:bodyPr lIns="504000" anchor="ctr">
            <a:noAutofit/>
          </a:bodyPr>
          <a:lstStyle>
            <a:lvl1pPr marL="0" indent="0">
              <a:buNone/>
              <a:defRPr/>
            </a:lvl1pPr>
            <a:lvl2pPr marL="457200" indent="0">
              <a:buNone/>
              <a:defRPr lang="en-US" sz="2400" b="1" i="1" kern="1200" dirty="0">
                <a:solidFill>
                  <a:schemeClr val="bg1"/>
                </a:solidFill>
                <a:latin typeface="+mn-lt"/>
                <a:ea typeface="+mn-ea"/>
                <a:cs typeface="+mn-cs"/>
              </a:defRPr>
            </a:lvl2pPr>
          </a:lstStyle>
          <a:p>
            <a:pPr lvl="0"/>
            <a:r>
              <a:rPr lang="en-US"/>
              <a:t>Click to edit Master text styles</a:t>
            </a:r>
          </a:p>
        </p:txBody>
      </p:sp>
      <p:pic>
        <p:nvPicPr>
          <p:cNvPr id="13" name="Google Shape;66;p29" descr="Quote">
            <a:extLst>
              <a:ext uri="{FF2B5EF4-FFF2-40B4-BE49-F238E27FC236}">
                <a16:creationId xmlns:a16="http://schemas.microsoft.com/office/drawing/2014/main" id="{2BA61D73-E039-6C69-A4A9-27D86CB30D1D}"/>
              </a:ext>
            </a:extLst>
          </p:cNvPr>
          <p:cNvPicPr preferRelativeResize="0"/>
          <p:nvPr/>
        </p:nvPicPr>
        <p:blipFill rotWithShape="1">
          <a:blip r:embed="rId2">
            <a:alphaModFix/>
            <a:biLevel thresh="50000"/>
          </a:blip>
          <a:srcRect/>
          <a:stretch/>
        </p:blipFill>
        <p:spPr>
          <a:xfrm rot="10800000">
            <a:off x="5349220" y="5138020"/>
            <a:ext cx="989729" cy="989729"/>
          </a:xfrm>
          <a:prstGeom prst="rect">
            <a:avLst/>
          </a:prstGeom>
          <a:noFill/>
          <a:ln>
            <a:noFill/>
          </a:ln>
        </p:spPr>
      </p:pic>
      <p:pic>
        <p:nvPicPr>
          <p:cNvPr id="3" name="Picture 2" descr="A blue flag with yellow stars&#10;&#10;Description automatically generated">
            <a:extLst>
              <a:ext uri="{FF2B5EF4-FFF2-40B4-BE49-F238E27FC236}">
                <a16:creationId xmlns:a16="http://schemas.microsoft.com/office/drawing/2014/main" id="{BE2FFB7F-6A6F-E203-E2CE-AAC503E40FFA}"/>
              </a:ext>
            </a:extLst>
          </p:cNvPr>
          <p:cNvPicPr>
            <a:picLocks noChangeAspect="1"/>
          </p:cNvPicPr>
          <p:nvPr/>
        </p:nvPicPr>
        <p:blipFill>
          <a:blip r:embed="rId3"/>
          <a:stretch>
            <a:fillRect/>
          </a:stretch>
        </p:blipFill>
        <p:spPr>
          <a:xfrm>
            <a:off x="10725768" y="5901016"/>
            <a:ext cx="1256063" cy="762106"/>
          </a:xfrm>
          <a:prstGeom prst="rect">
            <a:avLst/>
          </a:prstGeom>
        </p:spPr>
      </p:pic>
      <p:pic>
        <p:nvPicPr>
          <p:cNvPr id="5" name="Google Shape;66;p29" descr="Quote">
            <a:extLst>
              <a:ext uri="{FF2B5EF4-FFF2-40B4-BE49-F238E27FC236}">
                <a16:creationId xmlns:a16="http://schemas.microsoft.com/office/drawing/2014/main" id="{D61A7912-F509-F977-C8A3-05B55096DDA4}"/>
              </a:ext>
            </a:extLst>
          </p:cNvPr>
          <p:cNvPicPr preferRelativeResize="0"/>
          <p:nvPr userDrawn="1"/>
        </p:nvPicPr>
        <p:blipFill rotWithShape="1">
          <a:blip r:embed="rId2">
            <a:alphaModFix/>
            <a:biLevel thresh="50000"/>
          </a:blip>
          <a:srcRect/>
          <a:stretch/>
        </p:blipFill>
        <p:spPr>
          <a:xfrm rot="10800000">
            <a:off x="5349220" y="5138020"/>
            <a:ext cx="989729" cy="989729"/>
          </a:xfrm>
          <a:prstGeom prst="rect">
            <a:avLst/>
          </a:prstGeom>
          <a:noFill/>
          <a:ln>
            <a:noFill/>
          </a:ln>
        </p:spPr>
      </p:pic>
      <p:pic>
        <p:nvPicPr>
          <p:cNvPr id="7" name="Picture 6" descr="A blue flag with yellow stars&#10;&#10;Description automatically generated">
            <a:extLst>
              <a:ext uri="{FF2B5EF4-FFF2-40B4-BE49-F238E27FC236}">
                <a16:creationId xmlns:a16="http://schemas.microsoft.com/office/drawing/2014/main" id="{519F3A2E-810F-F3DF-534B-DFE8563EDCFA}"/>
              </a:ext>
            </a:extLst>
          </p:cNvPr>
          <p:cNvPicPr>
            <a:picLocks noChangeAspect="1"/>
          </p:cNvPicPr>
          <p:nvPr userDrawn="1"/>
        </p:nvPicPr>
        <p:blipFill>
          <a:blip r:embed="rId3"/>
          <a:stretch>
            <a:fillRect/>
          </a:stretch>
        </p:blipFill>
        <p:spPr>
          <a:xfrm>
            <a:off x="10725768" y="5901016"/>
            <a:ext cx="1256063" cy="762106"/>
          </a:xfrm>
          <a:prstGeom prst="rect">
            <a:avLst/>
          </a:prstGeom>
        </p:spPr>
      </p:pic>
      <p:sp>
        <p:nvSpPr>
          <p:cNvPr id="9" name="Slide Number Placeholder 5">
            <a:extLst>
              <a:ext uri="{FF2B5EF4-FFF2-40B4-BE49-F238E27FC236}">
                <a16:creationId xmlns:a16="http://schemas.microsoft.com/office/drawing/2014/main" id="{AC0BD146-26A9-B2E3-790A-137432E6994D}"/>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Nr.›</a:t>
            </a:fld>
            <a:endParaRPr lang="en-IE"/>
          </a:p>
        </p:txBody>
      </p:sp>
    </p:spTree>
    <p:extLst>
      <p:ext uri="{BB962C8B-B14F-4D97-AF65-F5344CB8AC3E}">
        <p14:creationId xmlns:p14="http://schemas.microsoft.com/office/powerpoint/2010/main" val="28975783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Quote negative logo">
    <p:spTree>
      <p:nvGrpSpPr>
        <p:cNvPr id="1" name=""/>
        <p:cNvGrpSpPr/>
        <p:nvPr/>
      </p:nvGrpSpPr>
      <p:grpSpPr>
        <a:xfrm>
          <a:off x="0" y="0"/>
          <a:ext cx="0" cy="0"/>
          <a:chOff x="0" y="0"/>
          <a:chExt cx="0" cy="0"/>
        </a:xfrm>
      </p:grpSpPr>
      <p:sp>
        <p:nvSpPr>
          <p:cNvPr id="4" name="Picture Placeholder 5">
            <a:extLst>
              <a:ext uri="{FF2B5EF4-FFF2-40B4-BE49-F238E27FC236}">
                <a16:creationId xmlns:a16="http://schemas.microsoft.com/office/drawing/2014/main" id="{16039EEF-B8E6-4383-4827-068F0611752D}"/>
              </a:ext>
            </a:extLst>
          </p:cNvPr>
          <p:cNvSpPr>
            <a:spLocks noGrp="1"/>
          </p:cNvSpPr>
          <p:nvPr>
            <p:ph type="pic" sz="quarter" idx="11"/>
          </p:nvPr>
        </p:nvSpPr>
        <p:spPr>
          <a:xfrm>
            <a:off x="0" y="0"/>
            <a:ext cx="12238038" cy="6858000"/>
          </a:xfrm>
          <a:solidFill>
            <a:schemeClr val="tx2"/>
          </a:solidFill>
        </p:spPr>
        <p:txBody>
          <a:bodyPr/>
          <a:lstStyle>
            <a:lvl1pPr marL="0" indent="0">
              <a:buNone/>
              <a:defRPr>
                <a:solidFill>
                  <a:schemeClr val="bg1"/>
                </a:solidFill>
              </a:defRPr>
            </a:lvl1pPr>
          </a:lstStyle>
          <a:p>
            <a:r>
              <a:rPr lang="en-US"/>
              <a:t>Click icon to add picture</a:t>
            </a:r>
            <a:endParaRPr lang="en-IE"/>
          </a:p>
        </p:txBody>
      </p:sp>
      <p:sp>
        <p:nvSpPr>
          <p:cNvPr id="7" name="Content Placeholder 7">
            <a:extLst>
              <a:ext uri="{FF2B5EF4-FFF2-40B4-BE49-F238E27FC236}">
                <a16:creationId xmlns:a16="http://schemas.microsoft.com/office/drawing/2014/main" id="{1BE876A1-64BE-0A6D-B28E-A01C8883D1FD}"/>
              </a:ext>
            </a:extLst>
          </p:cNvPr>
          <p:cNvSpPr>
            <a:spLocks noGrp="1"/>
          </p:cNvSpPr>
          <p:nvPr>
            <p:ph sz="quarter" idx="12"/>
          </p:nvPr>
        </p:nvSpPr>
        <p:spPr>
          <a:xfrm>
            <a:off x="0" y="994438"/>
            <a:ext cx="6096000" cy="4521200"/>
          </a:xfrm>
          <a:solidFill>
            <a:schemeClr val="bg2"/>
          </a:solidFill>
        </p:spPr>
        <p:txBody>
          <a:bodyPr lIns="504000" anchor="ctr">
            <a:noAutofit/>
          </a:bodyPr>
          <a:lstStyle>
            <a:lvl1pPr marL="0" indent="0">
              <a:buNone/>
              <a:defRPr/>
            </a:lvl1pPr>
            <a:lvl2pPr marL="457200" indent="0">
              <a:buNone/>
              <a:defRPr lang="en-US" sz="2400" b="1" i="1" kern="1200" dirty="0">
                <a:solidFill>
                  <a:schemeClr val="tx2"/>
                </a:solidFill>
                <a:latin typeface="+mn-lt"/>
                <a:ea typeface="+mn-ea"/>
                <a:cs typeface="+mn-cs"/>
              </a:defRPr>
            </a:lvl2pPr>
          </a:lstStyle>
          <a:p>
            <a:pPr lvl="0"/>
            <a:r>
              <a:rPr lang="en-US"/>
              <a:t>Click to edit Master text styles</a:t>
            </a:r>
          </a:p>
        </p:txBody>
      </p:sp>
      <p:pic>
        <p:nvPicPr>
          <p:cNvPr id="8" name="Google Shape;66;p29" descr="Quote">
            <a:extLst>
              <a:ext uri="{FF2B5EF4-FFF2-40B4-BE49-F238E27FC236}">
                <a16:creationId xmlns:a16="http://schemas.microsoft.com/office/drawing/2014/main" id="{E1B4A183-929D-5431-B365-FECE6A72A484}"/>
              </a:ext>
            </a:extLst>
          </p:cNvPr>
          <p:cNvPicPr preferRelativeResize="0"/>
          <p:nvPr/>
        </p:nvPicPr>
        <p:blipFill rotWithShape="1">
          <a:blip r:embed="rId2">
            <a:alphaModFix/>
            <a:biLevel thresh="50000"/>
          </a:blip>
          <a:srcRect/>
          <a:stretch/>
        </p:blipFill>
        <p:spPr>
          <a:xfrm rot="10800000">
            <a:off x="5349220" y="5138020"/>
            <a:ext cx="989729" cy="989729"/>
          </a:xfrm>
          <a:prstGeom prst="rect">
            <a:avLst/>
          </a:prstGeom>
          <a:noFill/>
          <a:ln>
            <a:noFill/>
          </a:ln>
        </p:spPr>
      </p:pic>
      <p:pic>
        <p:nvPicPr>
          <p:cNvPr id="9" name="Picture 8" descr="A blue flag with yellow stars and stripes&#10;&#10;Description automatically generated">
            <a:extLst>
              <a:ext uri="{FF2B5EF4-FFF2-40B4-BE49-F238E27FC236}">
                <a16:creationId xmlns:a16="http://schemas.microsoft.com/office/drawing/2014/main" id="{E6CD1AA0-BE2D-038C-5423-E271CF1636D7}"/>
              </a:ext>
            </a:extLst>
          </p:cNvPr>
          <p:cNvPicPr>
            <a:picLocks noChangeAspect="1"/>
          </p:cNvPicPr>
          <p:nvPr/>
        </p:nvPicPr>
        <p:blipFill>
          <a:blip r:embed="rId3"/>
          <a:stretch>
            <a:fillRect/>
          </a:stretch>
        </p:blipFill>
        <p:spPr>
          <a:xfrm>
            <a:off x="10725768" y="5901016"/>
            <a:ext cx="1257867" cy="763200"/>
          </a:xfrm>
          <a:prstGeom prst="rect">
            <a:avLst/>
          </a:prstGeom>
        </p:spPr>
      </p:pic>
      <p:sp>
        <p:nvSpPr>
          <p:cNvPr id="2" name="Title 1">
            <a:extLst>
              <a:ext uri="{FF2B5EF4-FFF2-40B4-BE49-F238E27FC236}">
                <a16:creationId xmlns:a16="http://schemas.microsoft.com/office/drawing/2014/main" id="{51148383-BBA9-7909-CFDF-60BEA0FE957B}"/>
              </a:ext>
            </a:extLst>
          </p:cNvPr>
          <p:cNvSpPr>
            <a:spLocks noGrp="1"/>
          </p:cNvSpPr>
          <p:nvPr>
            <p:ph type="title"/>
          </p:nvPr>
        </p:nvSpPr>
        <p:spPr>
          <a:xfrm>
            <a:off x="0" y="-803511"/>
            <a:ext cx="10515600" cy="816904"/>
          </a:xfrm>
        </p:spPr>
        <p:txBody>
          <a:bodyPr/>
          <a:lstStyle>
            <a:lvl1pPr>
              <a:defRPr>
                <a:solidFill>
                  <a:schemeClr val="bg1">
                    <a:lumMod val="65000"/>
                  </a:schemeClr>
                </a:solidFill>
              </a:defRPr>
            </a:lvl1pPr>
          </a:lstStyle>
          <a:p>
            <a:r>
              <a:rPr lang="en-US"/>
              <a:t>Click to edit Master title style</a:t>
            </a:r>
            <a:endParaRPr lang="en-IE"/>
          </a:p>
        </p:txBody>
      </p:sp>
      <p:pic>
        <p:nvPicPr>
          <p:cNvPr id="6" name="Google Shape;66;p29" descr="Quote">
            <a:extLst>
              <a:ext uri="{FF2B5EF4-FFF2-40B4-BE49-F238E27FC236}">
                <a16:creationId xmlns:a16="http://schemas.microsoft.com/office/drawing/2014/main" id="{DE2EBF53-76CE-6C8F-0861-C3A5D384E180}"/>
              </a:ext>
            </a:extLst>
          </p:cNvPr>
          <p:cNvPicPr preferRelativeResize="0"/>
          <p:nvPr userDrawn="1"/>
        </p:nvPicPr>
        <p:blipFill rotWithShape="1">
          <a:blip r:embed="rId2">
            <a:alphaModFix/>
            <a:biLevel thresh="50000"/>
          </a:blip>
          <a:srcRect/>
          <a:stretch/>
        </p:blipFill>
        <p:spPr>
          <a:xfrm rot="10800000">
            <a:off x="5349220" y="5138020"/>
            <a:ext cx="989729" cy="989729"/>
          </a:xfrm>
          <a:prstGeom prst="rect">
            <a:avLst/>
          </a:prstGeom>
          <a:noFill/>
          <a:ln>
            <a:noFill/>
          </a:ln>
        </p:spPr>
      </p:pic>
      <p:pic>
        <p:nvPicPr>
          <p:cNvPr id="10" name="Picture 9" descr="A blue flag with yellow stars and stripes&#10;&#10;Description automatically generated">
            <a:extLst>
              <a:ext uri="{FF2B5EF4-FFF2-40B4-BE49-F238E27FC236}">
                <a16:creationId xmlns:a16="http://schemas.microsoft.com/office/drawing/2014/main" id="{AB87E6E1-A561-866F-CE99-26D96476848A}"/>
              </a:ext>
            </a:extLst>
          </p:cNvPr>
          <p:cNvPicPr>
            <a:picLocks noChangeAspect="1"/>
          </p:cNvPicPr>
          <p:nvPr userDrawn="1"/>
        </p:nvPicPr>
        <p:blipFill>
          <a:blip r:embed="rId3"/>
          <a:stretch>
            <a:fillRect/>
          </a:stretch>
        </p:blipFill>
        <p:spPr>
          <a:xfrm>
            <a:off x="10725768" y="5901016"/>
            <a:ext cx="1257867" cy="763200"/>
          </a:xfrm>
          <a:prstGeom prst="rect">
            <a:avLst/>
          </a:prstGeom>
        </p:spPr>
      </p:pic>
      <p:sp>
        <p:nvSpPr>
          <p:cNvPr id="11" name="Slide Number Placeholder 5">
            <a:extLst>
              <a:ext uri="{FF2B5EF4-FFF2-40B4-BE49-F238E27FC236}">
                <a16:creationId xmlns:a16="http://schemas.microsoft.com/office/drawing/2014/main" id="{7765A446-C679-3C21-6DB2-E6E244E9DB91}"/>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bg1"/>
                </a:solidFill>
                <a:latin typeface="+mn-lt"/>
              </a:defRPr>
            </a:lvl1pPr>
          </a:lstStyle>
          <a:p>
            <a:pPr algn="l"/>
            <a:fld id="{768364BB-9B21-4D29-A19C-C6410F652861}" type="slidenum">
              <a:rPr lang="en-IE" smtClean="0"/>
              <a:pPr algn="l"/>
              <a:t>‹Nr.›</a:t>
            </a:fld>
            <a:endParaRPr lang="en-IE"/>
          </a:p>
        </p:txBody>
      </p:sp>
    </p:spTree>
    <p:extLst>
      <p:ext uri="{BB962C8B-B14F-4D97-AF65-F5344CB8AC3E}">
        <p14:creationId xmlns:p14="http://schemas.microsoft.com/office/powerpoint/2010/main" val="14292502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ircle picture coloured background">
    <p:bg>
      <p:bgPr>
        <a:solidFill>
          <a:srgbClr val="00339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lvl1pPr>
              <a:defRPr>
                <a:solidFill>
                  <a:schemeClr val="bg1"/>
                </a:solidFill>
              </a:defRPr>
            </a:lvl1pPr>
          </a:lstStyle>
          <a:p>
            <a:r>
              <a:rPr lang="en-US"/>
              <a:t>Click to edit Master title style</a:t>
            </a:r>
            <a:endParaRPr lang="en-IE"/>
          </a:p>
        </p:txBody>
      </p:sp>
      <p:sp>
        <p:nvSpPr>
          <p:cNvPr id="5" name="Google Shape;128;p36">
            <a:extLst>
              <a:ext uri="{FF2B5EF4-FFF2-40B4-BE49-F238E27FC236}">
                <a16:creationId xmlns:a16="http://schemas.microsoft.com/office/drawing/2014/main" id="{A266CAEF-D60F-6624-41DB-56608F2B46A5}"/>
              </a:ext>
            </a:extLst>
          </p:cNvPr>
          <p:cNvSpPr>
            <a:spLocks noGrp="1"/>
          </p:cNvSpPr>
          <p:nvPr>
            <p:ph type="pic" idx="10"/>
          </p:nvPr>
        </p:nvSpPr>
        <p:spPr>
          <a:xfrm>
            <a:off x="4152718" y="1683033"/>
            <a:ext cx="3886563" cy="3886563"/>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pic>
        <p:nvPicPr>
          <p:cNvPr id="6" name="Picture 5" descr="A blue flag with yellow stars and stripes&#10;&#10;Description automatically generated">
            <a:extLst>
              <a:ext uri="{FF2B5EF4-FFF2-40B4-BE49-F238E27FC236}">
                <a16:creationId xmlns:a16="http://schemas.microsoft.com/office/drawing/2014/main" id="{43A5598A-C2EA-5505-BEB5-E80CA68AEDA1}"/>
              </a:ext>
            </a:extLst>
          </p:cNvPr>
          <p:cNvPicPr>
            <a:picLocks noChangeAspect="1"/>
          </p:cNvPicPr>
          <p:nvPr/>
        </p:nvPicPr>
        <p:blipFill>
          <a:blip r:embed="rId2"/>
          <a:stretch>
            <a:fillRect/>
          </a:stretch>
        </p:blipFill>
        <p:spPr>
          <a:xfrm>
            <a:off x="10725768" y="5901016"/>
            <a:ext cx="1257867" cy="763200"/>
          </a:xfrm>
          <a:prstGeom prst="rect">
            <a:avLst/>
          </a:prstGeom>
        </p:spPr>
      </p:pic>
      <p:pic>
        <p:nvPicPr>
          <p:cNvPr id="4" name="Picture 3" descr="A blue flag with yellow stars and stripes&#10;&#10;Description automatically generated">
            <a:extLst>
              <a:ext uri="{FF2B5EF4-FFF2-40B4-BE49-F238E27FC236}">
                <a16:creationId xmlns:a16="http://schemas.microsoft.com/office/drawing/2014/main" id="{3D5D7A7A-28D1-BC55-7F75-53B9E5FBC534}"/>
              </a:ext>
            </a:extLst>
          </p:cNvPr>
          <p:cNvPicPr>
            <a:picLocks noChangeAspect="1"/>
          </p:cNvPicPr>
          <p:nvPr userDrawn="1"/>
        </p:nvPicPr>
        <p:blipFill>
          <a:blip r:embed="rId2"/>
          <a:stretch>
            <a:fillRect/>
          </a:stretch>
        </p:blipFill>
        <p:spPr>
          <a:xfrm>
            <a:off x="10725768" y="5901016"/>
            <a:ext cx="1257867" cy="763200"/>
          </a:xfrm>
          <a:prstGeom prst="rect">
            <a:avLst/>
          </a:prstGeom>
        </p:spPr>
      </p:pic>
      <p:sp>
        <p:nvSpPr>
          <p:cNvPr id="7" name="Slide Number Placeholder 5">
            <a:extLst>
              <a:ext uri="{FF2B5EF4-FFF2-40B4-BE49-F238E27FC236}">
                <a16:creationId xmlns:a16="http://schemas.microsoft.com/office/drawing/2014/main" id="{32B7D111-DE2E-9994-A799-F62F38E83DB4}"/>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bg1"/>
                </a:solidFill>
                <a:latin typeface="+mn-lt"/>
              </a:defRPr>
            </a:lvl1pPr>
          </a:lstStyle>
          <a:p>
            <a:pPr algn="l"/>
            <a:fld id="{768364BB-9B21-4D29-A19C-C6410F652861}" type="slidenum">
              <a:rPr lang="en-IE" smtClean="0"/>
              <a:pPr algn="l"/>
              <a:t>‹Nr.›</a:t>
            </a:fld>
            <a:endParaRPr lang="en-IE"/>
          </a:p>
        </p:txBody>
      </p:sp>
      <p:sp>
        <p:nvSpPr>
          <p:cNvPr id="3" name="Rectangle 2">
            <a:extLst>
              <a:ext uri="{FF2B5EF4-FFF2-40B4-BE49-F238E27FC236}">
                <a16:creationId xmlns:a16="http://schemas.microsoft.com/office/drawing/2014/main" id="{6CC07E06-D249-5C78-DA99-510F9F87BE1B}"/>
              </a:ext>
            </a:extLst>
          </p:cNvPr>
          <p:cNvSpPr/>
          <p:nvPr userDrawn="1"/>
        </p:nvSpPr>
        <p:spPr>
          <a:xfrm>
            <a:off x="631768" y="0"/>
            <a:ext cx="145576" cy="1393902"/>
          </a:xfrm>
          <a:prstGeom prst="rect">
            <a:avLst/>
          </a:prstGeom>
          <a:solidFill>
            <a:schemeClr val="accent4">
              <a:lumMod val="75000"/>
            </a:schemeClr>
          </a:solidFill>
          <a:ln w="3175">
            <a:noFill/>
          </a:ln>
          <a:effectLst>
            <a:outerShdw blurRad="38100" dist="25400" dir="5400000" algn="t" rotWithShape="0">
              <a:schemeClr val="tx1">
                <a:alpha val="27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627212156"/>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 Circles pictures coloured background">
    <p:bg>
      <p:bgPr>
        <a:solidFill>
          <a:srgbClr val="00339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lvl1pPr>
              <a:defRPr>
                <a:solidFill>
                  <a:schemeClr val="bg1"/>
                </a:solidFill>
              </a:defRPr>
            </a:lvl1pPr>
          </a:lstStyle>
          <a:p>
            <a:r>
              <a:rPr lang="en-US"/>
              <a:t>Click to edit Master title style</a:t>
            </a:r>
            <a:endParaRPr lang="en-IE"/>
          </a:p>
        </p:txBody>
      </p:sp>
      <p:sp>
        <p:nvSpPr>
          <p:cNvPr id="5" name="Google Shape;128;p36">
            <a:extLst>
              <a:ext uri="{FF2B5EF4-FFF2-40B4-BE49-F238E27FC236}">
                <a16:creationId xmlns:a16="http://schemas.microsoft.com/office/drawing/2014/main" id="{A266CAEF-D60F-6624-41DB-56608F2B46A5}"/>
              </a:ext>
            </a:extLst>
          </p:cNvPr>
          <p:cNvSpPr>
            <a:spLocks noGrp="1"/>
          </p:cNvSpPr>
          <p:nvPr>
            <p:ph type="pic" idx="10"/>
          </p:nvPr>
        </p:nvSpPr>
        <p:spPr>
          <a:xfrm>
            <a:off x="838200"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8" name="Google Shape;128;p36">
            <a:extLst>
              <a:ext uri="{FF2B5EF4-FFF2-40B4-BE49-F238E27FC236}">
                <a16:creationId xmlns:a16="http://schemas.microsoft.com/office/drawing/2014/main" id="{7DC5575C-474B-C81C-6517-E882E9E5246B}"/>
              </a:ext>
            </a:extLst>
          </p:cNvPr>
          <p:cNvSpPr>
            <a:spLocks noGrp="1"/>
          </p:cNvSpPr>
          <p:nvPr>
            <p:ph type="pic" idx="11"/>
          </p:nvPr>
        </p:nvSpPr>
        <p:spPr>
          <a:xfrm>
            <a:off x="4590896"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10" name="Google Shape;128;p36">
            <a:extLst>
              <a:ext uri="{FF2B5EF4-FFF2-40B4-BE49-F238E27FC236}">
                <a16:creationId xmlns:a16="http://schemas.microsoft.com/office/drawing/2014/main" id="{948E1B30-A652-44AE-9B5E-AC9365965BF4}"/>
              </a:ext>
            </a:extLst>
          </p:cNvPr>
          <p:cNvSpPr>
            <a:spLocks noGrp="1"/>
          </p:cNvSpPr>
          <p:nvPr>
            <p:ph type="pic" idx="12"/>
          </p:nvPr>
        </p:nvSpPr>
        <p:spPr>
          <a:xfrm>
            <a:off x="8343593"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pic>
        <p:nvPicPr>
          <p:cNvPr id="6" name="Picture 5" descr="A blue flag with yellow stars and stripes&#10;&#10;Description automatically generated">
            <a:extLst>
              <a:ext uri="{FF2B5EF4-FFF2-40B4-BE49-F238E27FC236}">
                <a16:creationId xmlns:a16="http://schemas.microsoft.com/office/drawing/2014/main" id="{D4D01C79-8E51-7320-51B2-6B4D1CD158EC}"/>
              </a:ext>
            </a:extLst>
          </p:cNvPr>
          <p:cNvPicPr>
            <a:picLocks noChangeAspect="1"/>
          </p:cNvPicPr>
          <p:nvPr/>
        </p:nvPicPr>
        <p:blipFill>
          <a:blip r:embed="rId2"/>
          <a:stretch>
            <a:fillRect/>
          </a:stretch>
        </p:blipFill>
        <p:spPr>
          <a:xfrm>
            <a:off x="10725768" y="5901016"/>
            <a:ext cx="1257867" cy="763200"/>
          </a:xfrm>
          <a:prstGeom prst="rect">
            <a:avLst/>
          </a:prstGeom>
        </p:spPr>
      </p:pic>
      <p:pic>
        <p:nvPicPr>
          <p:cNvPr id="3" name="Picture 2" descr="A blue flag with yellow stars and stripes&#10;&#10;Description automatically generated">
            <a:extLst>
              <a:ext uri="{FF2B5EF4-FFF2-40B4-BE49-F238E27FC236}">
                <a16:creationId xmlns:a16="http://schemas.microsoft.com/office/drawing/2014/main" id="{D6200794-8F7F-E0F0-3735-90CCC24A8AC7}"/>
              </a:ext>
            </a:extLst>
          </p:cNvPr>
          <p:cNvPicPr>
            <a:picLocks noChangeAspect="1"/>
          </p:cNvPicPr>
          <p:nvPr userDrawn="1"/>
        </p:nvPicPr>
        <p:blipFill>
          <a:blip r:embed="rId2"/>
          <a:stretch>
            <a:fillRect/>
          </a:stretch>
        </p:blipFill>
        <p:spPr>
          <a:xfrm>
            <a:off x="10725768" y="5901016"/>
            <a:ext cx="1257867" cy="763200"/>
          </a:xfrm>
          <a:prstGeom prst="rect">
            <a:avLst/>
          </a:prstGeom>
        </p:spPr>
      </p:pic>
      <p:sp>
        <p:nvSpPr>
          <p:cNvPr id="7" name="Slide Number Placeholder 5">
            <a:extLst>
              <a:ext uri="{FF2B5EF4-FFF2-40B4-BE49-F238E27FC236}">
                <a16:creationId xmlns:a16="http://schemas.microsoft.com/office/drawing/2014/main" id="{C6271D99-21D4-ED76-0E54-1ECA6FD71E4F}"/>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bg1"/>
                </a:solidFill>
                <a:latin typeface="+mn-lt"/>
              </a:defRPr>
            </a:lvl1pPr>
          </a:lstStyle>
          <a:p>
            <a:pPr algn="l"/>
            <a:fld id="{768364BB-9B21-4D29-A19C-C6410F652861}" type="slidenum">
              <a:rPr lang="en-IE" smtClean="0"/>
              <a:pPr algn="l"/>
              <a:t>‹Nr.›</a:t>
            </a:fld>
            <a:endParaRPr lang="en-IE"/>
          </a:p>
        </p:txBody>
      </p:sp>
      <p:sp>
        <p:nvSpPr>
          <p:cNvPr id="4" name="Rectangle 3">
            <a:extLst>
              <a:ext uri="{FF2B5EF4-FFF2-40B4-BE49-F238E27FC236}">
                <a16:creationId xmlns:a16="http://schemas.microsoft.com/office/drawing/2014/main" id="{C64364C2-CB0F-55DC-4F66-D9E198BD1ACA}"/>
              </a:ext>
            </a:extLst>
          </p:cNvPr>
          <p:cNvSpPr/>
          <p:nvPr userDrawn="1"/>
        </p:nvSpPr>
        <p:spPr>
          <a:xfrm>
            <a:off x="631768" y="0"/>
            <a:ext cx="145576" cy="1393902"/>
          </a:xfrm>
          <a:prstGeom prst="rect">
            <a:avLst/>
          </a:prstGeom>
          <a:solidFill>
            <a:schemeClr val="accent4">
              <a:lumMod val="75000"/>
            </a:schemeClr>
          </a:solidFill>
          <a:ln w="3175">
            <a:noFill/>
          </a:ln>
          <a:effectLst>
            <a:outerShdw blurRad="38100" dist="25400" dir="5400000" algn="t" rotWithShape="0">
              <a:schemeClr val="tx1">
                <a:alpha val="27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23207665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 Circles pictures white backgroun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lvl1pPr>
              <a:defRPr>
                <a:solidFill>
                  <a:srgbClr val="69808A"/>
                </a:solidFill>
              </a:defRPr>
            </a:lvl1pPr>
          </a:lstStyle>
          <a:p>
            <a:r>
              <a:rPr lang="en-US"/>
              <a:t>Click to edit Master title style</a:t>
            </a:r>
            <a:endParaRPr lang="en-IE"/>
          </a:p>
        </p:txBody>
      </p:sp>
      <p:sp>
        <p:nvSpPr>
          <p:cNvPr id="5" name="Google Shape;128;p36">
            <a:extLst>
              <a:ext uri="{FF2B5EF4-FFF2-40B4-BE49-F238E27FC236}">
                <a16:creationId xmlns:a16="http://schemas.microsoft.com/office/drawing/2014/main" id="{A266CAEF-D60F-6624-41DB-56608F2B46A5}"/>
              </a:ext>
            </a:extLst>
          </p:cNvPr>
          <p:cNvSpPr>
            <a:spLocks noGrp="1"/>
          </p:cNvSpPr>
          <p:nvPr>
            <p:ph type="pic" idx="10"/>
          </p:nvPr>
        </p:nvSpPr>
        <p:spPr>
          <a:xfrm>
            <a:off x="838200"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8" name="Google Shape;128;p36">
            <a:extLst>
              <a:ext uri="{FF2B5EF4-FFF2-40B4-BE49-F238E27FC236}">
                <a16:creationId xmlns:a16="http://schemas.microsoft.com/office/drawing/2014/main" id="{7DC5575C-474B-C81C-6517-E882E9E5246B}"/>
              </a:ext>
            </a:extLst>
          </p:cNvPr>
          <p:cNvSpPr>
            <a:spLocks noGrp="1"/>
          </p:cNvSpPr>
          <p:nvPr>
            <p:ph type="pic" idx="11"/>
          </p:nvPr>
        </p:nvSpPr>
        <p:spPr>
          <a:xfrm>
            <a:off x="4590896"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10" name="Google Shape;128;p36">
            <a:extLst>
              <a:ext uri="{FF2B5EF4-FFF2-40B4-BE49-F238E27FC236}">
                <a16:creationId xmlns:a16="http://schemas.microsoft.com/office/drawing/2014/main" id="{948E1B30-A652-44AE-9B5E-AC9365965BF4}"/>
              </a:ext>
            </a:extLst>
          </p:cNvPr>
          <p:cNvSpPr>
            <a:spLocks noGrp="1"/>
          </p:cNvSpPr>
          <p:nvPr>
            <p:ph type="pic" idx="12"/>
          </p:nvPr>
        </p:nvSpPr>
        <p:spPr>
          <a:xfrm>
            <a:off x="8343593" y="1923896"/>
            <a:ext cx="3010207" cy="3010207"/>
          </a:xfrm>
          <a:prstGeom prst="ellipse">
            <a:avLst/>
          </a:prstGeom>
          <a:solidFill>
            <a:schemeClr val="lt2"/>
          </a:solidFill>
          <a:ln w="76200">
            <a:noFill/>
          </a:ln>
        </p:spPr>
        <p:txBody>
          <a:bodyPr/>
          <a:lstStyle>
            <a:lvl1pPr marL="0" indent="0">
              <a:buNone/>
              <a:defRPr sz="2000">
                <a:solidFill>
                  <a:schemeClr val="tx2"/>
                </a:solidFill>
              </a:defRPr>
            </a:lvl1pPr>
          </a:lstStyle>
          <a:p>
            <a:r>
              <a:rPr lang="en-US"/>
              <a:t>Click icon to add picture</a:t>
            </a:r>
            <a:endParaRPr lang="en-IE"/>
          </a:p>
        </p:txBody>
      </p:sp>
      <p:sp>
        <p:nvSpPr>
          <p:cNvPr id="4" name="Slide Number Placeholder 5">
            <a:extLst>
              <a:ext uri="{FF2B5EF4-FFF2-40B4-BE49-F238E27FC236}">
                <a16:creationId xmlns:a16="http://schemas.microsoft.com/office/drawing/2014/main" id="{F37EF38B-E8AF-66F2-44F8-7A5DA7FF345C}"/>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Nr.›</a:t>
            </a:fld>
            <a:endParaRPr lang="en-IE"/>
          </a:p>
        </p:txBody>
      </p:sp>
      <p:sp>
        <p:nvSpPr>
          <p:cNvPr id="3" name="Rectangle 2">
            <a:extLst>
              <a:ext uri="{FF2B5EF4-FFF2-40B4-BE49-F238E27FC236}">
                <a16:creationId xmlns:a16="http://schemas.microsoft.com/office/drawing/2014/main" id="{19420641-D51A-A8A1-4258-98A37D93A829}"/>
              </a:ext>
            </a:extLst>
          </p:cNvPr>
          <p:cNvSpPr/>
          <p:nvPr userDrawn="1"/>
        </p:nvSpPr>
        <p:spPr>
          <a:xfrm>
            <a:off x="631768" y="0"/>
            <a:ext cx="145576" cy="1393902"/>
          </a:xfrm>
          <a:prstGeom prst="rect">
            <a:avLst/>
          </a:prstGeom>
          <a:solidFill>
            <a:schemeClr val="accent4">
              <a:lumMod val="75000"/>
            </a:schemeClr>
          </a:solidFill>
          <a:ln w="3175">
            <a:noFill/>
          </a:ln>
          <a:effectLst>
            <a:outerShdw blurRad="38100" dist="25400" dir="5400000" algn="t" rotWithShape="0">
              <a:schemeClr val="tx1">
                <a:alpha val="27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1469256476"/>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4 Circles pictures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lvl1pPr>
              <a:defRPr>
                <a:solidFill>
                  <a:srgbClr val="69808A"/>
                </a:solidFill>
              </a:defRPr>
            </a:lvl1pPr>
          </a:lstStyle>
          <a:p>
            <a:r>
              <a:rPr lang="en-US"/>
              <a:t>Click to edit Master title style</a:t>
            </a:r>
            <a:endParaRPr lang="en-IE"/>
          </a:p>
        </p:txBody>
      </p:sp>
      <p:sp>
        <p:nvSpPr>
          <p:cNvPr id="4" name="Google Shape;128;p36">
            <a:extLst>
              <a:ext uri="{FF2B5EF4-FFF2-40B4-BE49-F238E27FC236}">
                <a16:creationId xmlns:a16="http://schemas.microsoft.com/office/drawing/2014/main" id="{C6066961-5253-C2E8-C59C-7D3AEA190748}"/>
              </a:ext>
            </a:extLst>
          </p:cNvPr>
          <p:cNvSpPr>
            <a:spLocks noGrp="1"/>
          </p:cNvSpPr>
          <p:nvPr>
            <p:ph type="pic" idx="2"/>
          </p:nvPr>
        </p:nvSpPr>
        <p:spPr>
          <a:xfrm>
            <a:off x="838200" y="1644073"/>
            <a:ext cx="1784927" cy="1784927"/>
          </a:xfrm>
          <a:prstGeom prst="ellipse">
            <a:avLst/>
          </a:prstGeom>
          <a:solidFill>
            <a:schemeClr val="lt2"/>
          </a:solidFill>
          <a:ln w="57150">
            <a:noFill/>
          </a:ln>
        </p:spPr>
        <p:txBody>
          <a:bodyPr/>
          <a:lstStyle>
            <a:lvl1pPr marL="0" indent="0">
              <a:buNone/>
              <a:defRPr sz="2000">
                <a:solidFill>
                  <a:schemeClr val="tx2"/>
                </a:solidFill>
              </a:defRPr>
            </a:lvl1pPr>
          </a:lstStyle>
          <a:p>
            <a:r>
              <a:rPr lang="en-US"/>
              <a:t>Click icon to add picture</a:t>
            </a:r>
            <a:endParaRPr lang="en-IE"/>
          </a:p>
        </p:txBody>
      </p:sp>
      <p:sp>
        <p:nvSpPr>
          <p:cNvPr id="3" name="Content Placeholder 2">
            <a:extLst>
              <a:ext uri="{FF2B5EF4-FFF2-40B4-BE49-F238E27FC236}">
                <a16:creationId xmlns:a16="http://schemas.microsoft.com/office/drawing/2014/main" id="{833F6E74-65E4-088E-A627-F5CBCB9E0FAA}"/>
              </a:ext>
            </a:extLst>
          </p:cNvPr>
          <p:cNvSpPr>
            <a:spLocks noGrp="1"/>
          </p:cNvSpPr>
          <p:nvPr>
            <p:ph sz="half" idx="1"/>
          </p:nvPr>
        </p:nvSpPr>
        <p:spPr>
          <a:xfrm>
            <a:off x="2887354" y="1792421"/>
            <a:ext cx="2881850" cy="1488229"/>
          </a:xfrm>
        </p:spPr>
        <p:txBody>
          <a:bodyPr>
            <a:noAutofit/>
          </a:bodyPr>
          <a:lstStyle>
            <a:lvl1pPr marL="0" indent="0">
              <a:buNone/>
              <a:defRPr sz="2000"/>
            </a:lvl1pPr>
          </a:lstStyle>
          <a:p>
            <a:pPr lvl="0"/>
            <a:r>
              <a:rPr lang="en-US"/>
              <a:t>Click to edit Master text styles</a:t>
            </a:r>
          </a:p>
        </p:txBody>
      </p:sp>
      <p:sp>
        <p:nvSpPr>
          <p:cNvPr id="22" name="Google Shape;128;p36">
            <a:extLst>
              <a:ext uri="{FF2B5EF4-FFF2-40B4-BE49-F238E27FC236}">
                <a16:creationId xmlns:a16="http://schemas.microsoft.com/office/drawing/2014/main" id="{530B519E-B8E9-0851-34A7-4EBCABDB1F24}"/>
              </a:ext>
            </a:extLst>
          </p:cNvPr>
          <p:cNvSpPr>
            <a:spLocks noGrp="1"/>
          </p:cNvSpPr>
          <p:nvPr>
            <p:ph type="pic" idx="19"/>
          </p:nvPr>
        </p:nvSpPr>
        <p:spPr>
          <a:xfrm>
            <a:off x="838198" y="3793520"/>
            <a:ext cx="1784927" cy="1784927"/>
          </a:xfrm>
          <a:prstGeom prst="ellipse">
            <a:avLst/>
          </a:prstGeom>
          <a:solidFill>
            <a:schemeClr val="lt2"/>
          </a:solidFill>
          <a:ln w="57150">
            <a:noFill/>
          </a:ln>
        </p:spPr>
        <p:txBody>
          <a:bodyPr/>
          <a:lstStyle>
            <a:lvl1pPr marL="0" indent="0">
              <a:buNone/>
              <a:defRPr sz="2000">
                <a:solidFill>
                  <a:schemeClr val="tx2"/>
                </a:solidFill>
              </a:defRPr>
            </a:lvl1pPr>
          </a:lstStyle>
          <a:p>
            <a:r>
              <a:rPr lang="en-US"/>
              <a:t>Click icon to add picture</a:t>
            </a:r>
            <a:endParaRPr lang="en-IE"/>
          </a:p>
        </p:txBody>
      </p:sp>
      <p:sp>
        <p:nvSpPr>
          <p:cNvPr id="21" name="Content Placeholder 2">
            <a:extLst>
              <a:ext uri="{FF2B5EF4-FFF2-40B4-BE49-F238E27FC236}">
                <a16:creationId xmlns:a16="http://schemas.microsoft.com/office/drawing/2014/main" id="{B7CC6BA2-60D9-1664-3253-8468AB06B3BA}"/>
              </a:ext>
            </a:extLst>
          </p:cNvPr>
          <p:cNvSpPr>
            <a:spLocks noGrp="1"/>
          </p:cNvSpPr>
          <p:nvPr>
            <p:ph sz="half" idx="18"/>
          </p:nvPr>
        </p:nvSpPr>
        <p:spPr>
          <a:xfrm>
            <a:off x="2887352" y="3941868"/>
            <a:ext cx="2881850" cy="1488229"/>
          </a:xfrm>
        </p:spPr>
        <p:txBody>
          <a:bodyPr>
            <a:noAutofit/>
          </a:bodyPr>
          <a:lstStyle>
            <a:lvl1pPr marL="0" indent="0">
              <a:buNone/>
              <a:defRPr sz="2000"/>
            </a:lvl1pPr>
          </a:lstStyle>
          <a:p>
            <a:pPr lvl="0"/>
            <a:r>
              <a:rPr lang="en-US"/>
              <a:t>Click to edit Master text styles</a:t>
            </a:r>
          </a:p>
        </p:txBody>
      </p:sp>
      <p:sp>
        <p:nvSpPr>
          <p:cNvPr id="6" name="Google Shape;128;p36">
            <a:extLst>
              <a:ext uri="{FF2B5EF4-FFF2-40B4-BE49-F238E27FC236}">
                <a16:creationId xmlns:a16="http://schemas.microsoft.com/office/drawing/2014/main" id="{B0466037-50F3-96B3-1B0E-06D3D18B8BCE}"/>
              </a:ext>
            </a:extLst>
          </p:cNvPr>
          <p:cNvSpPr>
            <a:spLocks noGrp="1"/>
          </p:cNvSpPr>
          <p:nvPr>
            <p:ph type="pic" idx="21"/>
          </p:nvPr>
        </p:nvSpPr>
        <p:spPr>
          <a:xfrm>
            <a:off x="6422796" y="1679603"/>
            <a:ext cx="1784927" cy="1784927"/>
          </a:xfrm>
          <a:prstGeom prst="ellipse">
            <a:avLst/>
          </a:prstGeom>
          <a:solidFill>
            <a:schemeClr val="lt2"/>
          </a:solidFill>
          <a:ln w="57150">
            <a:noFill/>
          </a:ln>
        </p:spPr>
        <p:txBody>
          <a:bodyPr/>
          <a:lstStyle>
            <a:lvl1pPr marL="0" indent="0">
              <a:buNone/>
              <a:defRPr sz="2000">
                <a:solidFill>
                  <a:schemeClr val="tx2"/>
                </a:solidFill>
              </a:defRPr>
            </a:lvl1pPr>
          </a:lstStyle>
          <a:p>
            <a:r>
              <a:rPr lang="en-US"/>
              <a:t>Click icon to add picture</a:t>
            </a:r>
            <a:endParaRPr lang="en-IE"/>
          </a:p>
        </p:txBody>
      </p:sp>
      <p:sp>
        <p:nvSpPr>
          <p:cNvPr id="5" name="Content Placeholder 2">
            <a:extLst>
              <a:ext uri="{FF2B5EF4-FFF2-40B4-BE49-F238E27FC236}">
                <a16:creationId xmlns:a16="http://schemas.microsoft.com/office/drawing/2014/main" id="{6BC1C8BB-B6BF-EFC9-4FB7-FE68ADABF649}"/>
              </a:ext>
            </a:extLst>
          </p:cNvPr>
          <p:cNvSpPr>
            <a:spLocks noGrp="1"/>
          </p:cNvSpPr>
          <p:nvPr>
            <p:ph sz="half" idx="20"/>
          </p:nvPr>
        </p:nvSpPr>
        <p:spPr>
          <a:xfrm>
            <a:off x="8471950" y="1827951"/>
            <a:ext cx="2881850" cy="1488229"/>
          </a:xfrm>
        </p:spPr>
        <p:txBody>
          <a:bodyPr>
            <a:noAutofit/>
          </a:bodyPr>
          <a:lstStyle>
            <a:lvl1pPr marL="0" indent="0">
              <a:buNone/>
              <a:defRPr sz="2000"/>
            </a:lvl1pPr>
          </a:lstStyle>
          <a:p>
            <a:pPr lvl="0"/>
            <a:r>
              <a:rPr lang="en-US"/>
              <a:t>Click to edit Master text styles</a:t>
            </a:r>
          </a:p>
        </p:txBody>
      </p:sp>
      <p:sp>
        <p:nvSpPr>
          <p:cNvPr id="8" name="Google Shape;128;p36">
            <a:extLst>
              <a:ext uri="{FF2B5EF4-FFF2-40B4-BE49-F238E27FC236}">
                <a16:creationId xmlns:a16="http://schemas.microsoft.com/office/drawing/2014/main" id="{2B2D1DEC-353D-0530-46BD-FAC7D81DC42A}"/>
              </a:ext>
            </a:extLst>
          </p:cNvPr>
          <p:cNvSpPr>
            <a:spLocks noGrp="1"/>
          </p:cNvSpPr>
          <p:nvPr>
            <p:ph type="pic" idx="23"/>
          </p:nvPr>
        </p:nvSpPr>
        <p:spPr>
          <a:xfrm>
            <a:off x="6422794" y="3829050"/>
            <a:ext cx="1784927" cy="1784927"/>
          </a:xfrm>
          <a:prstGeom prst="ellipse">
            <a:avLst/>
          </a:prstGeom>
          <a:solidFill>
            <a:schemeClr val="lt2"/>
          </a:solidFill>
          <a:ln w="57150">
            <a:noFill/>
          </a:ln>
        </p:spPr>
        <p:txBody>
          <a:bodyPr/>
          <a:lstStyle>
            <a:lvl1pPr marL="0" indent="0">
              <a:buNone/>
              <a:defRPr sz="2000">
                <a:solidFill>
                  <a:schemeClr val="tx2"/>
                </a:solidFill>
              </a:defRPr>
            </a:lvl1pPr>
          </a:lstStyle>
          <a:p>
            <a:r>
              <a:rPr lang="en-US"/>
              <a:t>Click icon to add picture</a:t>
            </a:r>
            <a:endParaRPr lang="en-IE"/>
          </a:p>
        </p:txBody>
      </p:sp>
      <p:sp>
        <p:nvSpPr>
          <p:cNvPr id="7" name="Content Placeholder 2">
            <a:extLst>
              <a:ext uri="{FF2B5EF4-FFF2-40B4-BE49-F238E27FC236}">
                <a16:creationId xmlns:a16="http://schemas.microsoft.com/office/drawing/2014/main" id="{DEC01048-C2DE-CFE9-C353-8ED3741099B7}"/>
              </a:ext>
            </a:extLst>
          </p:cNvPr>
          <p:cNvSpPr>
            <a:spLocks noGrp="1"/>
          </p:cNvSpPr>
          <p:nvPr>
            <p:ph sz="half" idx="22"/>
          </p:nvPr>
        </p:nvSpPr>
        <p:spPr>
          <a:xfrm>
            <a:off x="8471948" y="3977398"/>
            <a:ext cx="2881850" cy="1488229"/>
          </a:xfrm>
        </p:spPr>
        <p:txBody>
          <a:bodyPr>
            <a:noAutofit/>
          </a:bodyPr>
          <a:lstStyle>
            <a:lvl1pPr marL="0" indent="0">
              <a:buNone/>
              <a:defRPr sz="2000"/>
            </a:lvl1pPr>
          </a:lstStyle>
          <a:p>
            <a:pPr lvl="0"/>
            <a:r>
              <a:rPr lang="en-US"/>
              <a:t>Click to edit Master text styles</a:t>
            </a:r>
          </a:p>
        </p:txBody>
      </p:sp>
      <p:sp>
        <p:nvSpPr>
          <p:cNvPr id="9" name="Slide Number Placeholder 5">
            <a:extLst>
              <a:ext uri="{FF2B5EF4-FFF2-40B4-BE49-F238E27FC236}">
                <a16:creationId xmlns:a16="http://schemas.microsoft.com/office/drawing/2014/main" id="{C67E4CCE-C35C-C711-24D0-0F4BCA80C28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Nr.›</a:t>
            </a:fld>
            <a:endParaRPr lang="en-IE"/>
          </a:p>
        </p:txBody>
      </p:sp>
      <p:sp>
        <p:nvSpPr>
          <p:cNvPr id="10" name="Rectangle 9">
            <a:extLst>
              <a:ext uri="{FF2B5EF4-FFF2-40B4-BE49-F238E27FC236}">
                <a16:creationId xmlns:a16="http://schemas.microsoft.com/office/drawing/2014/main" id="{1FB15EEA-733F-91D5-BE1A-40EAB61E8D82}"/>
              </a:ext>
            </a:extLst>
          </p:cNvPr>
          <p:cNvSpPr/>
          <p:nvPr userDrawn="1"/>
        </p:nvSpPr>
        <p:spPr>
          <a:xfrm>
            <a:off x="631768" y="0"/>
            <a:ext cx="145576" cy="1393902"/>
          </a:xfrm>
          <a:prstGeom prst="rect">
            <a:avLst/>
          </a:prstGeom>
          <a:solidFill>
            <a:schemeClr val="accent4">
              <a:lumMod val="75000"/>
            </a:schemeClr>
          </a:solidFill>
          <a:ln w="3175">
            <a:noFill/>
          </a:ln>
          <a:effectLst>
            <a:outerShdw blurRad="38100" dist="25400" dir="5400000" algn="t" rotWithShape="0">
              <a:schemeClr val="tx1">
                <a:alpha val="27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4969685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4 rectangles pictures white background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1C58A-AE9F-CB20-353A-B865ECE39A5D}"/>
              </a:ext>
            </a:extLst>
          </p:cNvPr>
          <p:cNvSpPr>
            <a:spLocks noGrp="1"/>
          </p:cNvSpPr>
          <p:nvPr>
            <p:ph type="title"/>
          </p:nvPr>
        </p:nvSpPr>
        <p:spPr/>
        <p:txBody>
          <a:bodyPr>
            <a:noAutofit/>
          </a:bodyPr>
          <a:lstStyle>
            <a:lvl1pPr>
              <a:defRPr>
                <a:solidFill>
                  <a:srgbClr val="69808A"/>
                </a:solidFill>
              </a:defRPr>
            </a:lvl1pPr>
          </a:lstStyle>
          <a:p>
            <a:r>
              <a:rPr lang="en-US"/>
              <a:t>Click to edit Master title style</a:t>
            </a:r>
            <a:endParaRPr lang="en-IE"/>
          </a:p>
        </p:txBody>
      </p:sp>
      <p:sp>
        <p:nvSpPr>
          <p:cNvPr id="15" name="Google Shape;97;p33">
            <a:extLst>
              <a:ext uri="{FF2B5EF4-FFF2-40B4-BE49-F238E27FC236}">
                <a16:creationId xmlns:a16="http://schemas.microsoft.com/office/drawing/2014/main" id="{51CBB8A7-3E08-DCAC-14AF-878AC33CDC30}"/>
              </a:ext>
            </a:extLst>
          </p:cNvPr>
          <p:cNvSpPr>
            <a:spLocks noGrp="1"/>
          </p:cNvSpPr>
          <p:nvPr>
            <p:ph type="pic" idx="17"/>
          </p:nvPr>
        </p:nvSpPr>
        <p:spPr>
          <a:xfrm>
            <a:off x="838200" y="1931348"/>
            <a:ext cx="2461591" cy="1638158"/>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0" name="Text Placeholder 9">
            <a:extLst>
              <a:ext uri="{FF2B5EF4-FFF2-40B4-BE49-F238E27FC236}">
                <a16:creationId xmlns:a16="http://schemas.microsoft.com/office/drawing/2014/main" id="{83438DF5-CCC4-87AD-037A-C14F79B6266F}"/>
              </a:ext>
            </a:extLst>
          </p:cNvPr>
          <p:cNvSpPr>
            <a:spLocks noGrp="1"/>
          </p:cNvSpPr>
          <p:nvPr>
            <p:ph type="body" sz="quarter" idx="13"/>
          </p:nvPr>
        </p:nvSpPr>
        <p:spPr>
          <a:xfrm>
            <a:off x="3508868" y="1931348"/>
            <a:ext cx="2462213" cy="1638300"/>
          </a:xfrm>
        </p:spPr>
        <p:txBody>
          <a:bodyPr>
            <a:noAutofit/>
          </a:bodyPr>
          <a:lstStyle>
            <a:lvl1pPr marL="0" indent="0">
              <a:buNone/>
              <a:defRPr/>
            </a:lvl1pPr>
          </a:lstStyle>
          <a:p>
            <a:pPr lvl="0"/>
            <a:r>
              <a:rPr lang="en-US"/>
              <a:t>Click to edit Master text styles</a:t>
            </a:r>
          </a:p>
        </p:txBody>
      </p:sp>
      <p:sp>
        <p:nvSpPr>
          <p:cNvPr id="18" name="Google Shape;97;p33">
            <a:extLst>
              <a:ext uri="{FF2B5EF4-FFF2-40B4-BE49-F238E27FC236}">
                <a16:creationId xmlns:a16="http://schemas.microsoft.com/office/drawing/2014/main" id="{BFE9E99F-07A9-26A1-106E-78351E5222CA}"/>
              </a:ext>
            </a:extLst>
          </p:cNvPr>
          <p:cNvSpPr>
            <a:spLocks noGrp="1"/>
          </p:cNvSpPr>
          <p:nvPr>
            <p:ph type="pic" idx="7"/>
          </p:nvPr>
        </p:nvSpPr>
        <p:spPr>
          <a:xfrm>
            <a:off x="838202" y="3740272"/>
            <a:ext cx="2461591" cy="1638158"/>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2" name="Text Placeholder 9">
            <a:extLst>
              <a:ext uri="{FF2B5EF4-FFF2-40B4-BE49-F238E27FC236}">
                <a16:creationId xmlns:a16="http://schemas.microsoft.com/office/drawing/2014/main" id="{8A6A52A8-BCDE-0058-03FA-48265F58CC4D}"/>
              </a:ext>
            </a:extLst>
          </p:cNvPr>
          <p:cNvSpPr>
            <a:spLocks noGrp="1"/>
          </p:cNvSpPr>
          <p:nvPr>
            <p:ph type="body" sz="quarter" idx="15"/>
          </p:nvPr>
        </p:nvSpPr>
        <p:spPr>
          <a:xfrm>
            <a:off x="3508868" y="3740131"/>
            <a:ext cx="2462213" cy="1638300"/>
          </a:xfrm>
        </p:spPr>
        <p:txBody>
          <a:bodyPr>
            <a:noAutofit/>
          </a:bodyPr>
          <a:lstStyle>
            <a:lvl1pPr marL="0" indent="0">
              <a:buNone/>
              <a:defRPr/>
            </a:lvl1pPr>
          </a:lstStyle>
          <a:p>
            <a:pPr lvl="0"/>
            <a:r>
              <a:rPr lang="en-US"/>
              <a:t>Click to edit Master text styles</a:t>
            </a:r>
          </a:p>
        </p:txBody>
      </p:sp>
      <p:sp>
        <p:nvSpPr>
          <p:cNvPr id="3" name="Google Shape;95;p33">
            <a:extLst>
              <a:ext uri="{FF2B5EF4-FFF2-40B4-BE49-F238E27FC236}">
                <a16:creationId xmlns:a16="http://schemas.microsoft.com/office/drawing/2014/main" id="{A15E4B72-6400-86B0-FD40-4FCA9F38655E}"/>
              </a:ext>
            </a:extLst>
          </p:cNvPr>
          <p:cNvSpPr>
            <a:spLocks noGrp="1"/>
          </p:cNvSpPr>
          <p:nvPr>
            <p:ph type="pic" idx="10"/>
          </p:nvPr>
        </p:nvSpPr>
        <p:spPr>
          <a:xfrm>
            <a:off x="6180157" y="1931348"/>
            <a:ext cx="2461593" cy="163815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1" name="Text Placeholder 9">
            <a:extLst>
              <a:ext uri="{FF2B5EF4-FFF2-40B4-BE49-F238E27FC236}">
                <a16:creationId xmlns:a16="http://schemas.microsoft.com/office/drawing/2014/main" id="{76022ECE-0EE9-F2CA-72F3-353CAD2AB488}"/>
              </a:ext>
            </a:extLst>
          </p:cNvPr>
          <p:cNvSpPr>
            <a:spLocks noGrp="1"/>
          </p:cNvSpPr>
          <p:nvPr>
            <p:ph type="body" sz="quarter" idx="14"/>
          </p:nvPr>
        </p:nvSpPr>
        <p:spPr>
          <a:xfrm>
            <a:off x="8891587" y="1931348"/>
            <a:ext cx="2462213" cy="1638300"/>
          </a:xfrm>
        </p:spPr>
        <p:txBody>
          <a:bodyPr>
            <a:noAutofit/>
          </a:bodyPr>
          <a:lstStyle>
            <a:lvl1pPr marL="0" indent="0">
              <a:buNone/>
              <a:defRPr/>
            </a:lvl1pPr>
          </a:lstStyle>
          <a:p>
            <a:pPr lvl="0"/>
            <a:r>
              <a:rPr lang="en-US"/>
              <a:t>Click to edit Master text styles</a:t>
            </a:r>
          </a:p>
        </p:txBody>
      </p:sp>
      <p:sp>
        <p:nvSpPr>
          <p:cNvPr id="8" name="Google Shape;97;p33">
            <a:extLst>
              <a:ext uri="{FF2B5EF4-FFF2-40B4-BE49-F238E27FC236}">
                <a16:creationId xmlns:a16="http://schemas.microsoft.com/office/drawing/2014/main" id="{0D3E0C88-3573-7B0F-D8F7-5AAD283A42F2}"/>
              </a:ext>
            </a:extLst>
          </p:cNvPr>
          <p:cNvSpPr>
            <a:spLocks noGrp="1"/>
          </p:cNvSpPr>
          <p:nvPr>
            <p:ph type="pic" idx="12"/>
          </p:nvPr>
        </p:nvSpPr>
        <p:spPr>
          <a:xfrm>
            <a:off x="6180157" y="3740272"/>
            <a:ext cx="2461591" cy="1638158"/>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3" name="Text Placeholder 9">
            <a:extLst>
              <a:ext uri="{FF2B5EF4-FFF2-40B4-BE49-F238E27FC236}">
                <a16:creationId xmlns:a16="http://schemas.microsoft.com/office/drawing/2014/main" id="{5F2FF4C0-B8CC-5E9A-7FF2-0BA1FD86664D}"/>
              </a:ext>
            </a:extLst>
          </p:cNvPr>
          <p:cNvSpPr>
            <a:spLocks noGrp="1"/>
          </p:cNvSpPr>
          <p:nvPr>
            <p:ph type="body" sz="quarter" idx="16"/>
          </p:nvPr>
        </p:nvSpPr>
        <p:spPr>
          <a:xfrm>
            <a:off x="8891587" y="3740131"/>
            <a:ext cx="2462213" cy="1638300"/>
          </a:xfrm>
        </p:spPr>
        <p:txBody>
          <a:bodyPr>
            <a:noAutofit/>
          </a:bodyPr>
          <a:lstStyle>
            <a:lvl1pPr marL="0" indent="0">
              <a:buNone/>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id="{73F815C1-0113-F490-4A53-0227959CF68C}"/>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Nr.›</a:t>
            </a:fld>
            <a:endParaRPr lang="en-IE"/>
          </a:p>
        </p:txBody>
      </p:sp>
      <p:sp>
        <p:nvSpPr>
          <p:cNvPr id="5" name="Rectangle 4">
            <a:extLst>
              <a:ext uri="{FF2B5EF4-FFF2-40B4-BE49-F238E27FC236}">
                <a16:creationId xmlns:a16="http://schemas.microsoft.com/office/drawing/2014/main" id="{55F90329-81E3-5916-34DF-C4FD2EF7ACC3}"/>
              </a:ext>
            </a:extLst>
          </p:cNvPr>
          <p:cNvSpPr/>
          <p:nvPr userDrawn="1"/>
        </p:nvSpPr>
        <p:spPr>
          <a:xfrm>
            <a:off x="631768" y="0"/>
            <a:ext cx="145576" cy="1393902"/>
          </a:xfrm>
          <a:prstGeom prst="rect">
            <a:avLst/>
          </a:prstGeom>
          <a:solidFill>
            <a:schemeClr val="accent4">
              <a:lumMod val="75000"/>
            </a:schemeClr>
          </a:solidFill>
          <a:ln w="3175">
            <a:noFill/>
          </a:ln>
          <a:effectLst>
            <a:outerShdw blurRad="38100" dist="25400" dir="5400000" algn="t" rotWithShape="0">
              <a:schemeClr val="tx1">
                <a:alpha val="27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13918006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ontaktfolie">
    <p:spTree>
      <p:nvGrpSpPr>
        <p:cNvPr id="1" name=""/>
        <p:cNvGrpSpPr/>
        <p:nvPr/>
      </p:nvGrpSpPr>
      <p:grpSpPr>
        <a:xfrm>
          <a:off x="0" y="0"/>
          <a:ext cx="0" cy="0"/>
          <a:chOff x="0" y="0"/>
          <a:chExt cx="0" cy="0"/>
        </a:xfrm>
      </p:grpSpPr>
      <p:sp>
        <p:nvSpPr>
          <p:cNvPr id="5" name="Textfeld 4"/>
          <p:cNvSpPr txBox="1"/>
          <p:nvPr userDrawn="1"/>
        </p:nvSpPr>
        <p:spPr>
          <a:xfrm>
            <a:off x="781547" y="764705"/>
            <a:ext cx="5131533" cy="584775"/>
          </a:xfrm>
          <a:prstGeom prst="rect">
            <a:avLst/>
          </a:prstGeom>
          <a:noFill/>
        </p:spPr>
        <p:txBody>
          <a:bodyPr wrap="none" rtlCol="0">
            <a:spAutoFit/>
          </a:bodyPr>
          <a:lstStyle/>
          <a:p>
            <a:r>
              <a:rPr lang="de-DE" sz="3200" cap="all" baseline="0" dirty="0">
                <a:solidFill>
                  <a:schemeClr val="tx2"/>
                </a:solidFill>
              </a:rPr>
              <a:t>So erreichen sie uns</a:t>
            </a:r>
            <a:r>
              <a:rPr lang="de-DE" sz="1800" dirty="0">
                <a:solidFill>
                  <a:schemeClr val="tx2"/>
                </a:solidFill>
              </a:rPr>
              <a:t> </a:t>
            </a:r>
          </a:p>
        </p:txBody>
      </p:sp>
      <p:sp>
        <p:nvSpPr>
          <p:cNvPr id="17" name="Textfeld 16"/>
          <p:cNvSpPr txBox="1"/>
          <p:nvPr userDrawn="1"/>
        </p:nvSpPr>
        <p:spPr>
          <a:xfrm>
            <a:off x="788962" y="4446870"/>
            <a:ext cx="9751445" cy="338554"/>
          </a:xfrm>
          <a:prstGeom prst="rect">
            <a:avLst/>
          </a:prstGeom>
          <a:noFill/>
        </p:spPr>
        <p:txBody>
          <a:bodyPr wrap="square" rtlCol="0">
            <a:spAutoFit/>
          </a:bodyPr>
          <a:lstStyle/>
          <a:p>
            <a:r>
              <a:rPr lang="en-US" sz="1600" b="1" kern="1200" baseline="0" dirty="0" err="1">
                <a:solidFill>
                  <a:schemeClr val="accent5"/>
                </a:solidFill>
                <a:latin typeface="+mj-lt"/>
                <a:ea typeface="+mj-ea"/>
                <a:cs typeface="+mj-cs"/>
              </a:rPr>
              <a:t>Ihr</a:t>
            </a:r>
            <a:r>
              <a:rPr lang="en-US" sz="1600" b="1" kern="1200" baseline="0" dirty="0">
                <a:solidFill>
                  <a:schemeClr val="accent5"/>
                </a:solidFill>
                <a:latin typeface="+mj-lt"/>
                <a:ea typeface="+mj-ea"/>
                <a:cs typeface="+mj-cs"/>
              </a:rPr>
              <a:t> </a:t>
            </a:r>
            <a:r>
              <a:rPr lang="en-US" sz="1600" b="1" kern="1200" baseline="0" dirty="0" err="1">
                <a:solidFill>
                  <a:schemeClr val="accent5"/>
                </a:solidFill>
                <a:latin typeface="+mj-lt"/>
                <a:ea typeface="+mj-ea"/>
                <a:cs typeface="+mj-cs"/>
              </a:rPr>
              <a:t>persönlicher</a:t>
            </a:r>
            <a:r>
              <a:rPr lang="en-US" sz="1600" b="1" kern="1200" baseline="0" dirty="0">
                <a:solidFill>
                  <a:schemeClr val="accent5"/>
                </a:solidFill>
                <a:latin typeface="+mj-lt"/>
                <a:ea typeface="+mj-ea"/>
                <a:cs typeface="+mj-cs"/>
              </a:rPr>
              <a:t> </a:t>
            </a:r>
            <a:r>
              <a:rPr lang="en-US" sz="1600" b="1" kern="1200" baseline="0" dirty="0" err="1">
                <a:solidFill>
                  <a:schemeClr val="accent5"/>
                </a:solidFill>
                <a:latin typeface="+mj-lt"/>
                <a:ea typeface="+mj-ea"/>
                <a:cs typeface="+mj-cs"/>
              </a:rPr>
              <a:t>Kontakt</a:t>
            </a:r>
            <a:endParaRPr lang="en-US" sz="1600" b="1" kern="1200" baseline="0" dirty="0">
              <a:solidFill>
                <a:schemeClr val="accent5"/>
              </a:solidFill>
              <a:latin typeface="+mj-lt"/>
              <a:ea typeface="+mj-ea"/>
              <a:cs typeface="+mj-cs"/>
            </a:endParaRPr>
          </a:p>
        </p:txBody>
      </p:sp>
      <p:sp>
        <p:nvSpPr>
          <p:cNvPr id="26" name="Textplatzhalter 25"/>
          <p:cNvSpPr>
            <a:spLocks noGrp="1"/>
          </p:cNvSpPr>
          <p:nvPr>
            <p:ph type="body" sz="quarter" idx="22" hasCustomPrompt="1"/>
          </p:nvPr>
        </p:nvSpPr>
        <p:spPr>
          <a:xfrm>
            <a:off x="912284" y="5148656"/>
            <a:ext cx="10367433" cy="248844"/>
          </a:xfrm>
        </p:spPr>
        <p:txBody>
          <a:bodyPr/>
          <a:lstStyle>
            <a:lvl1pPr marL="0" indent="0">
              <a:lnSpc>
                <a:spcPct val="100000"/>
              </a:lnSpc>
              <a:buNone/>
              <a:defRPr sz="1200">
                <a:solidFill>
                  <a:schemeClr val="accent5"/>
                </a:solidFill>
              </a:defRPr>
            </a:lvl1pPr>
          </a:lstStyle>
          <a:p>
            <a:pPr lvl="0"/>
            <a:r>
              <a:rPr lang="de-DE" dirty="0"/>
              <a:t>Funktion eingeben</a:t>
            </a:r>
          </a:p>
        </p:txBody>
      </p:sp>
      <p:sp>
        <p:nvSpPr>
          <p:cNvPr id="27" name="Textplatzhalter 25"/>
          <p:cNvSpPr>
            <a:spLocks noGrp="1"/>
          </p:cNvSpPr>
          <p:nvPr>
            <p:ph type="body" sz="quarter" idx="23" hasCustomPrompt="1"/>
          </p:nvPr>
        </p:nvSpPr>
        <p:spPr>
          <a:xfrm>
            <a:off x="912284" y="4851400"/>
            <a:ext cx="10367433" cy="282894"/>
          </a:xfrm>
        </p:spPr>
        <p:txBody>
          <a:bodyPr/>
          <a:lstStyle>
            <a:lvl1pPr marL="0" indent="0">
              <a:lnSpc>
                <a:spcPct val="100000"/>
              </a:lnSpc>
              <a:buNone/>
              <a:defRPr sz="1600" b="1">
                <a:solidFill>
                  <a:schemeClr val="accent5"/>
                </a:solidFill>
              </a:defRPr>
            </a:lvl1pPr>
          </a:lstStyle>
          <a:p>
            <a:pPr lvl="0"/>
            <a:r>
              <a:rPr lang="de-DE" dirty="0"/>
              <a:t>Vor- und Zunamen eingeben</a:t>
            </a:r>
          </a:p>
        </p:txBody>
      </p:sp>
      <p:sp>
        <p:nvSpPr>
          <p:cNvPr id="28" name="Rechteck 27"/>
          <p:cNvSpPr/>
          <p:nvPr userDrawn="1"/>
        </p:nvSpPr>
        <p:spPr>
          <a:xfrm>
            <a:off x="793748" y="1663836"/>
            <a:ext cx="6096000" cy="2093907"/>
          </a:xfrm>
          <a:prstGeom prst="rect">
            <a:avLst/>
          </a:prstGeom>
        </p:spPr>
        <p:txBody>
          <a:bodyPr>
            <a:spAutoFit/>
          </a:bodyPr>
          <a:lstStyle/>
          <a:p>
            <a:pPr algn="l" fontAlgn="base">
              <a:lnSpc>
                <a:spcPts val="2160"/>
              </a:lnSpc>
            </a:pPr>
            <a:r>
              <a:rPr lang="de-DE" sz="1600" b="1" i="0" dirty="0">
                <a:solidFill>
                  <a:schemeClr val="accent5"/>
                </a:solidFill>
                <a:effectLst/>
                <a:latin typeface="+mn-lt"/>
              </a:rPr>
              <a:t>VDI/VDE Innovation + Technik GmbH</a:t>
            </a:r>
            <a:br>
              <a:rPr lang="de-DE" sz="1600" b="1" i="0" dirty="0">
                <a:solidFill>
                  <a:schemeClr val="accent5"/>
                </a:solidFill>
                <a:effectLst/>
                <a:latin typeface="+mn-lt"/>
              </a:rPr>
            </a:br>
            <a:r>
              <a:rPr lang="de-DE" sz="1600" b="0" i="0" dirty="0">
                <a:solidFill>
                  <a:schemeClr val="accent5"/>
                </a:solidFill>
                <a:effectLst/>
                <a:latin typeface="+mn-lt"/>
              </a:rPr>
              <a:t>Steinplatz 1</a:t>
            </a:r>
            <a:br>
              <a:rPr lang="de-DE" sz="1600" b="0" i="0" dirty="0">
                <a:solidFill>
                  <a:schemeClr val="accent5"/>
                </a:solidFill>
                <a:effectLst/>
                <a:latin typeface="+mn-lt"/>
              </a:rPr>
            </a:br>
            <a:r>
              <a:rPr lang="de-DE" sz="1600" b="0" i="0" dirty="0">
                <a:solidFill>
                  <a:schemeClr val="accent5"/>
                </a:solidFill>
                <a:effectLst/>
                <a:latin typeface="+mn-lt"/>
              </a:rPr>
              <a:t>10623 Berlin</a:t>
            </a:r>
            <a:br>
              <a:rPr lang="de-DE" sz="1600" b="0" i="0" dirty="0">
                <a:solidFill>
                  <a:schemeClr val="accent5"/>
                </a:solidFill>
                <a:effectLst/>
                <a:latin typeface="+mn-lt"/>
              </a:rPr>
            </a:br>
            <a:r>
              <a:rPr lang="de-DE" sz="1600" b="0" i="0" dirty="0">
                <a:solidFill>
                  <a:schemeClr val="accent5"/>
                </a:solidFill>
                <a:effectLst/>
                <a:latin typeface="+mn-lt"/>
              </a:rPr>
              <a:t>Telefon: 	+49 (0) 30 310078-0</a:t>
            </a:r>
            <a:br>
              <a:rPr lang="de-DE" sz="1600" b="0" i="0" dirty="0">
                <a:solidFill>
                  <a:schemeClr val="accent5"/>
                </a:solidFill>
                <a:effectLst/>
                <a:latin typeface="+mn-lt"/>
              </a:rPr>
            </a:br>
            <a:r>
              <a:rPr lang="de-DE" sz="1600" b="0" i="0" dirty="0">
                <a:solidFill>
                  <a:schemeClr val="accent5"/>
                </a:solidFill>
                <a:effectLst/>
                <a:latin typeface="+mn-lt"/>
              </a:rPr>
              <a:t>Telefax: 	+49 (0) 30 310078-141</a:t>
            </a:r>
          </a:p>
          <a:p>
            <a:pPr algn="l" fontAlgn="base">
              <a:lnSpc>
                <a:spcPct val="120000"/>
              </a:lnSpc>
            </a:pPr>
            <a:r>
              <a:rPr lang="de-DE" sz="1600" b="0" i="0" dirty="0">
                <a:solidFill>
                  <a:schemeClr val="accent5"/>
                </a:solidFill>
                <a:effectLst/>
                <a:latin typeface="+mn-lt"/>
              </a:rPr>
              <a:t>E-Mail:	vdivde-it@vdivde-it.de</a:t>
            </a:r>
          </a:p>
          <a:p>
            <a:pPr algn="l" fontAlgn="base">
              <a:lnSpc>
                <a:spcPct val="120000"/>
              </a:lnSpc>
            </a:pPr>
            <a:r>
              <a:rPr lang="de-DE" sz="1600" b="0" i="0" dirty="0" err="1">
                <a:solidFill>
                  <a:schemeClr val="accent5"/>
                </a:solidFill>
                <a:effectLst/>
                <a:latin typeface="+mn-lt"/>
              </a:rPr>
              <a:t>www.vdivde-it.de</a:t>
            </a:r>
            <a:endParaRPr lang="de-DE" sz="1800" b="0" i="0" dirty="0">
              <a:solidFill>
                <a:schemeClr val="accent5"/>
              </a:solidFill>
              <a:effectLst/>
              <a:latin typeface="+mn-lt"/>
            </a:endParaRPr>
          </a:p>
        </p:txBody>
      </p:sp>
      <p:sp>
        <p:nvSpPr>
          <p:cNvPr id="30" name="Textplatzhalter 25"/>
          <p:cNvSpPr>
            <a:spLocks noGrp="1"/>
          </p:cNvSpPr>
          <p:nvPr>
            <p:ph type="body" sz="quarter" idx="25" hasCustomPrompt="1"/>
          </p:nvPr>
        </p:nvSpPr>
        <p:spPr>
          <a:xfrm>
            <a:off x="2114517" y="5828106"/>
            <a:ext cx="9165200" cy="319686"/>
          </a:xfrm>
        </p:spPr>
        <p:txBody>
          <a:bodyPr/>
          <a:lstStyle>
            <a:lvl1pPr marL="0" indent="0">
              <a:buNone/>
              <a:defRPr sz="1600" baseline="0"/>
            </a:lvl1pPr>
          </a:lstStyle>
          <a:p>
            <a:pPr lvl="0"/>
            <a:r>
              <a:rPr lang="de-DE" dirty="0"/>
              <a:t>persönliche E-Mail eingeben</a:t>
            </a:r>
          </a:p>
        </p:txBody>
      </p:sp>
      <p:sp>
        <p:nvSpPr>
          <p:cNvPr id="29" name="Textplatzhalter 25"/>
          <p:cNvSpPr>
            <a:spLocks noGrp="1"/>
          </p:cNvSpPr>
          <p:nvPr>
            <p:ph type="body" sz="quarter" idx="24" hasCustomPrompt="1"/>
          </p:nvPr>
        </p:nvSpPr>
        <p:spPr>
          <a:xfrm>
            <a:off x="2122985" y="5542356"/>
            <a:ext cx="9156732" cy="298450"/>
          </a:xfrm>
        </p:spPr>
        <p:txBody>
          <a:bodyPr/>
          <a:lstStyle>
            <a:lvl1pPr marL="0" indent="0">
              <a:buNone/>
              <a:defRPr sz="1600"/>
            </a:lvl1pPr>
          </a:lstStyle>
          <a:p>
            <a:pPr lvl="0"/>
            <a:r>
              <a:rPr lang="de-DE" dirty="0"/>
              <a:t>Telefonnummer mit Durchwahl eingeben</a:t>
            </a:r>
          </a:p>
        </p:txBody>
      </p:sp>
      <p:sp>
        <p:nvSpPr>
          <p:cNvPr id="31" name="Rechteck 30"/>
          <p:cNvSpPr/>
          <p:nvPr userDrawn="1"/>
        </p:nvSpPr>
        <p:spPr>
          <a:xfrm>
            <a:off x="801695" y="5516133"/>
            <a:ext cx="1488612" cy="656590"/>
          </a:xfrm>
          <a:prstGeom prst="rect">
            <a:avLst/>
          </a:prstGeom>
        </p:spPr>
        <p:txBody>
          <a:bodyPr wrap="square">
            <a:spAutoFit/>
          </a:bodyPr>
          <a:lstStyle/>
          <a:p>
            <a:pPr algn="l" fontAlgn="base">
              <a:lnSpc>
                <a:spcPts val="2160"/>
              </a:lnSpc>
              <a:spcBef>
                <a:spcPts val="600"/>
              </a:spcBef>
            </a:pPr>
            <a:r>
              <a:rPr lang="de-DE" sz="1600" b="0" i="0" dirty="0">
                <a:solidFill>
                  <a:schemeClr val="accent5"/>
                </a:solidFill>
                <a:effectLst/>
                <a:latin typeface="+mn-lt"/>
              </a:rPr>
              <a:t>Telefon</a:t>
            </a:r>
            <a:r>
              <a:rPr lang="de-DE" sz="1800" b="0" i="0" dirty="0">
                <a:solidFill>
                  <a:schemeClr val="accent5"/>
                </a:solidFill>
                <a:effectLst/>
                <a:latin typeface="+mn-lt"/>
              </a:rPr>
              <a:t>:</a:t>
            </a:r>
            <a:br>
              <a:rPr lang="de-DE" sz="1800" b="0" i="0" dirty="0">
                <a:solidFill>
                  <a:schemeClr val="accent5"/>
                </a:solidFill>
                <a:effectLst/>
                <a:latin typeface="+mn-lt"/>
              </a:rPr>
            </a:br>
            <a:r>
              <a:rPr lang="de-DE" sz="1600" b="0" i="0" dirty="0">
                <a:solidFill>
                  <a:schemeClr val="accent5"/>
                </a:solidFill>
                <a:effectLst/>
                <a:latin typeface="+mn-lt"/>
              </a:rPr>
              <a:t>E-Mail:</a:t>
            </a:r>
            <a:r>
              <a:rPr lang="de-DE" sz="1600" b="0" i="0" dirty="0">
                <a:solidFill>
                  <a:schemeClr val="accent4"/>
                </a:solidFill>
                <a:effectLst/>
                <a:latin typeface="+mn-lt"/>
              </a:rPr>
              <a:t>	</a:t>
            </a:r>
          </a:p>
        </p:txBody>
      </p:sp>
      <p:sp>
        <p:nvSpPr>
          <p:cNvPr id="2" name="Foliennummernplatzhalter 1"/>
          <p:cNvSpPr>
            <a:spLocks noGrp="1"/>
          </p:cNvSpPr>
          <p:nvPr>
            <p:ph type="sldNum" sz="quarter" idx="26"/>
          </p:nvPr>
        </p:nvSpPr>
        <p:spPr/>
        <p:txBody>
          <a:bodyPr/>
          <a:lstStyle/>
          <a:p>
            <a:r>
              <a:rPr lang="de-DE"/>
              <a:t>  </a:t>
            </a:r>
            <a:r>
              <a:rPr lang="de-DE" sz="1000">
                <a:solidFill>
                  <a:schemeClr val="accent5"/>
                </a:solidFill>
              </a:rPr>
              <a:t>© VDI/VDE-IT </a:t>
            </a:r>
            <a:r>
              <a:rPr lang="de-DE" sz="1000">
                <a:solidFill>
                  <a:schemeClr val="accent5"/>
                </a:solidFill>
                <a:sym typeface="Wingdings" panose="05000000000000000000" pitchFamily="2" charset="2"/>
              </a:rPr>
              <a:t></a:t>
            </a:r>
            <a:r>
              <a:rPr lang="de-DE" sz="1000">
                <a:solidFill>
                  <a:schemeClr val="accent5"/>
                </a:solidFill>
              </a:rPr>
              <a:t>  </a:t>
            </a:r>
            <a:fld id="{12CCBF5E-5E1E-43A5-B4E2-C140E7BD9013}" type="slidenum">
              <a:rPr lang="de-DE" sz="1000" smtClean="0">
                <a:solidFill>
                  <a:schemeClr val="accent5"/>
                </a:solidFill>
              </a:rPr>
              <a:pPr/>
              <a:t>‹Nr.›</a:t>
            </a:fld>
            <a:r>
              <a:rPr lang="de-DE" sz="1000">
                <a:solidFill>
                  <a:schemeClr val="accent5"/>
                </a:solidFill>
              </a:rPr>
              <a:t> </a:t>
            </a:r>
            <a:endParaRPr lang="de-DE" sz="1000" dirty="0">
              <a:solidFill>
                <a:schemeClr val="accent5"/>
              </a:solidFill>
            </a:endParaRPr>
          </a:p>
        </p:txBody>
      </p:sp>
      <p:pic>
        <p:nvPicPr>
          <p:cNvPr id="12" name="Grafik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20000" y="540000"/>
            <a:ext cx="1812610" cy="560924"/>
          </a:xfrm>
          <a:prstGeom prst="rect">
            <a:avLst/>
          </a:prstGeom>
        </p:spPr>
      </p:pic>
      <p:pic>
        <p:nvPicPr>
          <p:cNvPr id="13" name="Grafik 12">
            <a:extLst>
              <a:ext uri="{FF2B5EF4-FFF2-40B4-BE49-F238E27FC236}">
                <a16:creationId xmlns:a16="http://schemas.microsoft.com/office/drawing/2014/main" id="{81402544-0E3B-418A-B13A-41C263DE3CB4}"/>
              </a:ext>
            </a:extLst>
          </p:cNvPr>
          <p:cNvPicPr>
            <a:picLocks noChangeAspect="1"/>
          </p:cNvPicPr>
          <p:nvPr userDrawn="1"/>
        </p:nvPicPr>
        <p:blipFill rotWithShape="1">
          <a:blip r:embed="rId3"/>
          <a:srcRect l="11160" t="8732" r="10722" b="13048"/>
          <a:stretch/>
        </p:blipFill>
        <p:spPr>
          <a:xfrm>
            <a:off x="8184232" y="349801"/>
            <a:ext cx="1368152" cy="846951"/>
          </a:xfrm>
          <a:prstGeom prst="rect">
            <a:avLst/>
          </a:prstGeom>
        </p:spPr>
      </p:pic>
    </p:spTree>
    <p:extLst>
      <p:ext uri="{BB962C8B-B14F-4D97-AF65-F5344CB8AC3E}">
        <p14:creationId xmlns:p14="http://schemas.microsoft.com/office/powerpoint/2010/main" val="604552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2" pos="3840">
          <p15:clr>
            <a:srgbClr val="FBAE40"/>
          </p15:clr>
        </p15:guide>
        <p15:guide id="3" pos="132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0 squared pictures ">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lstStyle>
            <a:lvl1pPr>
              <a:defRPr>
                <a:solidFill>
                  <a:srgbClr val="69808A"/>
                </a:solidFill>
              </a:defRPr>
            </a:lvl1pPr>
          </a:lstStyle>
          <a:p>
            <a:r>
              <a:rPr lang="en-US"/>
              <a:t>Click to edit Master title style</a:t>
            </a:r>
            <a:endParaRPr lang="en-IE"/>
          </a:p>
        </p:txBody>
      </p:sp>
      <p:sp>
        <p:nvSpPr>
          <p:cNvPr id="3" name="Google Shape;114;p35">
            <a:extLst>
              <a:ext uri="{FF2B5EF4-FFF2-40B4-BE49-F238E27FC236}">
                <a16:creationId xmlns:a16="http://schemas.microsoft.com/office/drawing/2014/main" id="{28399EF8-5B4D-A564-C46D-6AC3EE3700F1}"/>
              </a:ext>
            </a:extLst>
          </p:cNvPr>
          <p:cNvSpPr>
            <a:spLocks noGrp="1"/>
          </p:cNvSpPr>
          <p:nvPr>
            <p:ph type="pic" idx="2"/>
          </p:nvPr>
        </p:nvSpPr>
        <p:spPr>
          <a:xfrm>
            <a:off x="838200" y="1613730"/>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4" name="Google Shape;115;p35">
            <a:extLst>
              <a:ext uri="{FF2B5EF4-FFF2-40B4-BE49-F238E27FC236}">
                <a16:creationId xmlns:a16="http://schemas.microsoft.com/office/drawing/2014/main" id="{1DB67F50-B209-813A-55E2-A45CCD6BCAE1}"/>
              </a:ext>
            </a:extLst>
          </p:cNvPr>
          <p:cNvSpPr>
            <a:spLocks noGrp="1"/>
          </p:cNvSpPr>
          <p:nvPr>
            <p:ph type="pic" idx="3"/>
          </p:nvPr>
        </p:nvSpPr>
        <p:spPr>
          <a:xfrm>
            <a:off x="2993028" y="1613730"/>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5" name="Google Shape;116;p35">
            <a:extLst>
              <a:ext uri="{FF2B5EF4-FFF2-40B4-BE49-F238E27FC236}">
                <a16:creationId xmlns:a16="http://schemas.microsoft.com/office/drawing/2014/main" id="{80AA888C-2660-9749-11E6-8A96DD56EACF}"/>
              </a:ext>
            </a:extLst>
          </p:cNvPr>
          <p:cNvSpPr>
            <a:spLocks noGrp="1"/>
          </p:cNvSpPr>
          <p:nvPr>
            <p:ph type="pic" idx="10"/>
          </p:nvPr>
        </p:nvSpPr>
        <p:spPr>
          <a:xfrm>
            <a:off x="5147856" y="1613729"/>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8" name="Google Shape;117;p35">
            <a:extLst>
              <a:ext uri="{FF2B5EF4-FFF2-40B4-BE49-F238E27FC236}">
                <a16:creationId xmlns:a16="http://schemas.microsoft.com/office/drawing/2014/main" id="{95752BFF-4A6F-68EA-E048-C405D776F6A9}"/>
              </a:ext>
            </a:extLst>
          </p:cNvPr>
          <p:cNvSpPr>
            <a:spLocks noGrp="1"/>
          </p:cNvSpPr>
          <p:nvPr>
            <p:ph type="pic" idx="5"/>
          </p:nvPr>
        </p:nvSpPr>
        <p:spPr>
          <a:xfrm>
            <a:off x="7302684" y="1613728"/>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9" name="Google Shape;118;p35">
            <a:extLst>
              <a:ext uri="{FF2B5EF4-FFF2-40B4-BE49-F238E27FC236}">
                <a16:creationId xmlns:a16="http://schemas.microsoft.com/office/drawing/2014/main" id="{69A61CD2-9393-897F-4851-B55A256B6577}"/>
              </a:ext>
            </a:extLst>
          </p:cNvPr>
          <p:cNvSpPr>
            <a:spLocks noGrp="1"/>
          </p:cNvSpPr>
          <p:nvPr>
            <p:ph type="pic" idx="6"/>
          </p:nvPr>
        </p:nvSpPr>
        <p:spPr>
          <a:xfrm>
            <a:off x="9457512" y="1613728"/>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5" name="Google Shape;114;p35">
            <a:extLst>
              <a:ext uri="{FF2B5EF4-FFF2-40B4-BE49-F238E27FC236}">
                <a16:creationId xmlns:a16="http://schemas.microsoft.com/office/drawing/2014/main" id="{5BBBB0BA-17D9-1A2A-5573-A96E32CB11C7}"/>
              </a:ext>
            </a:extLst>
          </p:cNvPr>
          <p:cNvSpPr>
            <a:spLocks noGrp="1"/>
          </p:cNvSpPr>
          <p:nvPr>
            <p:ph type="pic" idx="11"/>
          </p:nvPr>
        </p:nvSpPr>
        <p:spPr>
          <a:xfrm>
            <a:off x="838200" y="3799760"/>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6" name="Google Shape;115;p35">
            <a:extLst>
              <a:ext uri="{FF2B5EF4-FFF2-40B4-BE49-F238E27FC236}">
                <a16:creationId xmlns:a16="http://schemas.microsoft.com/office/drawing/2014/main" id="{E234676C-5503-D335-7C9F-8EBF756F24A7}"/>
              </a:ext>
            </a:extLst>
          </p:cNvPr>
          <p:cNvSpPr>
            <a:spLocks noGrp="1"/>
          </p:cNvSpPr>
          <p:nvPr>
            <p:ph type="pic" idx="12"/>
          </p:nvPr>
        </p:nvSpPr>
        <p:spPr>
          <a:xfrm>
            <a:off x="2993028" y="3799760"/>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7" name="Google Shape;116;p35">
            <a:extLst>
              <a:ext uri="{FF2B5EF4-FFF2-40B4-BE49-F238E27FC236}">
                <a16:creationId xmlns:a16="http://schemas.microsoft.com/office/drawing/2014/main" id="{8C059826-5CA9-F193-6C89-8B0DECF9ACE5}"/>
              </a:ext>
            </a:extLst>
          </p:cNvPr>
          <p:cNvSpPr>
            <a:spLocks noGrp="1"/>
          </p:cNvSpPr>
          <p:nvPr>
            <p:ph type="pic" idx="13"/>
          </p:nvPr>
        </p:nvSpPr>
        <p:spPr>
          <a:xfrm>
            <a:off x="5147856" y="3799759"/>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8" name="Google Shape;117;p35">
            <a:extLst>
              <a:ext uri="{FF2B5EF4-FFF2-40B4-BE49-F238E27FC236}">
                <a16:creationId xmlns:a16="http://schemas.microsoft.com/office/drawing/2014/main" id="{E57729DD-0495-06CF-3D2B-B8EC5F7D6EF2}"/>
              </a:ext>
            </a:extLst>
          </p:cNvPr>
          <p:cNvSpPr>
            <a:spLocks noGrp="1"/>
          </p:cNvSpPr>
          <p:nvPr>
            <p:ph type="pic" idx="14"/>
          </p:nvPr>
        </p:nvSpPr>
        <p:spPr>
          <a:xfrm>
            <a:off x="7302684" y="3799758"/>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9" name="Google Shape;118;p35">
            <a:extLst>
              <a:ext uri="{FF2B5EF4-FFF2-40B4-BE49-F238E27FC236}">
                <a16:creationId xmlns:a16="http://schemas.microsoft.com/office/drawing/2014/main" id="{DDFD3960-357B-A667-2997-F567232AE448}"/>
              </a:ext>
            </a:extLst>
          </p:cNvPr>
          <p:cNvSpPr>
            <a:spLocks noGrp="1"/>
          </p:cNvSpPr>
          <p:nvPr>
            <p:ph type="pic" idx="15"/>
          </p:nvPr>
        </p:nvSpPr>
        <p:spPr>
          <a:xfrm>
            <a:off x="9457512" y="3799758"/>
            <a:ext cx="1896289" cy="189628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6" name="Slide Number Placeholder 5">
            <a:extLst>
              <a:ext uri="{FF2B5EF4-FFF2-40B4-BE49-F238E27FC236}">
                <a16:creationId xmlns:a16="http://schemas.microsoft.com/office/drawing/2014/main" id="{9594EF7B-6FA5-122A-260D-E885CDDAA587}"/>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Nr.›</a:t>
            </a:fld>
            <a:endParaRPr lang="en-IE"/>
          </a:p>
        </p:txBody>
      </p:sp>
      <p:sp>
        <p:nvSpPr>
          <p:cNvPr id="7" name="Rectangle 6">
            <a:extLst>
              <a:ext uri="{FF2B5EF4-FFF2-40B4-BE49-F238E27FC236}">
                <a16:creationId xmlns:a16="http://schemas.microsoft.com/office/drawing/2014/main" id="{1C972D8B-820F-7DED-48BE-AEAFF10C9405}"/>
              </a:ext>
            </a:extLst>
          </p:cNvPr>
          <p:cNvSpPr/>
          <p:nvPr userDrawn="1"/>
        </p:nvSpPr>
        <p:spPr>
          <a:xfrm>
            <a:off x="631768" y="0"/>
            <a:ext cx="145576" cy="1393902"/>
          </a:xfrm>
          <a:prstGeom prst="rect">
            <a:avLst/>
          </a:prstGeom>
          <a:solidFill>
            <a:schemeClr val="accent4">
              <a:lumMod val="75000"/>
            </a:schemeClr>
          </a:solidFill>
          <a:ln w="3175">
            <a:noFill/>
          </a:ln>
          <a:effectLst>
            <a:outerShdw blurRad="38100" dist="25400" dir="5400000" algn="t" rotWithShape="0">
              <a:schemeClr val="tx1">
                <a:alpha val="27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224431086"/>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3 squared pictures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noAutofit/>
          </a:bodyPr>
          <a:lstStyle>
            <a:lvl1pPr>
              <a:defRPr>
                <a:solidFill>
                  <a:srgbClr val="69808A"/>
                </a:solidFill>
              </a:defRPr>
            </a:lvl1pPr>
          </a:lstStyle>
          <a:p>
            <a:r>
              <a:rPr lang="en-US"/>
              <a:t>Click to edit Master title style</a:t>
            </a:r>
            <a:endParaRPr lang="en-IE"/>
          </a:p>
        </p:txBody>
      </p:sp>
      <p:sp>
        <p:nvSpPr>
          <p:cNvPr id="3" name="Google Shape;114;p35">
            <a:extLst>
              <a:ext uri="{FF2B5EF4-FFF2-40B4-BE49-F238E27FC236}">
                <a16:creationId xmlns:a16="http://schemas.microsoft.com/office/drawing/2014/main" id="{28399EF8-5B4D-A564-C46D-6AC3EE3700F1}"/>
              </a:ext>
            </a:extLst>
          </p:cNvPr>
          <p:cNvSpPr>
            <a:spLocks noGrp="1"/>
          </p:cNvSpPr>
          <p:nvPr>
            <p:ph type="pic" idx="2"/>
          </p:nvPr>
        </p:nvSpPr>
        <p:spPr>
          <a:xfrm>
            <a:off x="882651" y="2079625"/>
            <a:ext cx="2698749" cy="269874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4" name="Google Shape;115;p35">
            <a:extLst>
              <a:ext uri="{FF2B5EF4-FFF2-40B4-BE49-F238E27FC236}">
                <a16:creationId xmlns:a16="http://schemas.microsoft.com/office/drawing/2014/main" id="{1DB67F50-B209-813A-55E2-A45CCD6BCAE1}"/>
              </a:ext>
            </a:extLst>
          </p:cNvPr>
          <p:cNvSpPr>
            <a:spLocks noGrp="1"/>
          </p:cNvSpPr>
          <p:nvPr>
            <p:ph type="pic" idx="3"/>
          </p:nvPr>
        </p:nvSpPr>
        <p:spPr>
          <a:xfrm>
            <a:off x="4746625" y="2079624"/>
            <a:ext cx="2698749" cy="269874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12" name="Google Shape;121;p35">
            <a:extLst>
              <a:ext uri="{FF2B5EF4-FFF2-40B4-BE49-F238E27FC236}">
                <a16:creationId xmlns:a16="http://schemas.microsoft.com/office/drawing/2014/main" id="{2EA4C09F-A3D0-2FDF-C8EF-EDEF2FCF78CE}"/>
              </a:ext>
            </a:extLst>
          </p:cNvPr>
          <p:cNvSpPr>
            <a:spLocks noGrp="1"/>
          </p:cNvSpPr>
          <p:nvPr>
            <p:ph type="pic" idx="9"/>
          </p:nvPr>
        </p:nvSpPr>
        <p:spPr>
          <a:xfrm>
            <a:off x="8655051" y="2079623"/>
            <a:ext cx="2698749" cy="2698749"/>
          </a:xfrm>
          <a:prstGeom prst="rect">
            <a:avLst/>
          </a:prstGeom>
          <a:solidFill>
            <a:schemeClr val="lt2"/>
          </a:solidFill>
          <a:ln w="57150">
            <a:noFill/>
          </a:ln>
        </p:spPr>
        <p:txBody>
          <a:bodyPr/>
          <a:lstStyle>
            <a:lvl1pPr marL="0" indent="0">
              <a:buNone/>
              <a:defRPr>
                <a:solidFill>
                  <a:schemeClr val="tx2"/>
                </a:solidFill>
              </a:defRPr>
            </a:lvl1pPr>
          </a:lstStyle>
          <a:p>
            <a:r>
              <a:rPr lang="en-US"/>
              <a:t>Click icon to add picture</a:t>
            </a:r>
            <a:endParaRPr lang="en-IE"/>
          </a:p>
        </p:txBody>
      </p:sp>
      <p:sp>
        <p:nvSpPr>
          <p:cNvPr id="6" name="Slide Number Placeholder 5">
            <a:extLst>
              <a:ext uri="{FF2B5EF4-FFF2-40B4-BE49-F238E27FC236}">
                <a16:creationId xmlns:a16="http://schemas.microsoft.com/office/drawing/2014/main" id="{A50CC5C1-4287-4FC9-8450-3D86D951FE12}"/>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Nr.›</a:t>
            </a:fld>
            <a:endParaRPr lang="en-IE"/>
          </a:p>
        </p:txBody>
      </p:sp>
      <p:sp>
        <p:nvSpPr>
          <p:cNvPr id="5" name="Rectangle 4">
            <a:extLst>
              <a:ext uri="{FF2B5EF4-FFF2-40B4-BE49-F238E27FC236}">
                <a16:creationId xmlns:a16="http://schemas.microsoft.com/office/drawing/2014/main" id="{D675FE75-2ED7-7C38-40A5-9BA56FDFD099}"/>
              </a:ext>
            </a:extLst>
          </p:cNvPr>
          <p:cNvSpPr/>
          <p:nvPr userDrawn="1"/>
        </p:nvSpPr>
        <p:spPr>
          <a:xfrm>
            <a:off x="631768" y="0"/>
            <a:ext cx="145576" cy="1393902"/>
          </a:xfrm>
          <a:prstGeom prst="rect">
            <a:avLst/>
          </a:prstGeom>
          <a:solidFill>
            <a:schemeClr val="accent4">
              <a:lumMod val="75000"/>
            </a:schemeClr>
          </a:solidFill>
          <a:ln w="3175">
            <a:noFill/>
          </a:ln>
          <a:effectLst>
            <a:outerShdw blurRad="38100" dist="25400" dir="5400000" algn="t" rotWithShape="0">
              <a:schemeClr val="tx1">
                <a:alpha val="27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32672661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3 squared pictures coloured background">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0F1C0-2CE9-2640-8D54-464A0BF69C2C}"/>
              </a:ext>
            </a:extLst>
          </p:cNvPr>
          <p:cNvSpPr>
            <a:spLocks noGrp="1"/>
          </p:cNvSpPr>
          <p:nvPr>
            <p:ph type="title"/>
          </p:nvPr>
        </p:nvSpPr>
        <p:spPr/>
        <p:txBody>
          <a:bodyPr>
            <a:noAutofit/>
          </a:bodyPr>
          <a:lstStyle>
            <a:lvl1pPr>
              <a:defRPr>
                <a:solidFill>
                  <a:schemeClr val="tx1"/>
                </a:solidFill>
              </a:defRPr>
            </a:lvl1pPr>
          </a:lstStyle>
          <a:p>
            <a:r>
              <a:rPr lang="en-US"/>
              <a:t>Click to edit Master title style</a:t>
            </a:r>
            <a:endParaRPr lang="en-IE"/>
          </a:p>
        </p:txBody>
      </p:sp>
      <p:sp>
        <p:nvSpPr>
          <p:cNvPr id="8" name="Google Shape;114;p35">
            <a:extLst>
              <a:ext uri="{FF2B5EF4-FFF2-40B4-BE49-F238E27FC236}">
                <a16:creationId xmlns:a16="http://schemas.microsoft.com/office/drawing/2014/main" id="{F38470BA-1066-4059-A16D-B9EE9722C73D}"/>
              </a:ext>
            </a:extLst>
          </p:cNvPr>
          <p:cNvSpPr>
            <a:spLocks noGrp="1"/>
          </p:cNvSpPr>
          <p:nvPr>
            <p:ph type="pic" idx="2"/>
          </p:nvPr>
        </p:nvSpPr>
        <p:spPr>
          <a:xfrm>
            <a:off x="882651" y="2079625"/>
            <a:ext cx="2698749" cy="2698749"/>
          </a:xfrm>
          <a:prstGeom prst="rect">
            <a:avLst/>
          </a:prstGeom>
          <a:solidFill>
            <a:schemeClr val="lt2"/>
          </a:solidFill>
          <a:ln w="57150">
            <a:noFill/>
          </a:ln>
        </p:spPr>
        <p:txBody>
          <a:bodyPr/>
          <a:lstStyle>
            <a:lvl1pPr marL="0" indent="0">
              <a:buNone/>
              <a:defRPr>
                <a:solidFill>
                  <a:schemeClr val="bg2"/>
                </a:solidFill>
              </a:defRPr>
            </a:lvl1pPr>
          </a:lstStyle>
          <a:p>
            <a:r>
              <a:rPr lang="en-US"/>
              <a:t>Click icon to add picture</a:t>
            </a:r>
            <a:endParaRPr lang="en-IE"/>
          </a:p>
        </p:txBody>
      </p:sp>
      <p:sp>
        <p:nvSpPr>
          <p:cNvPr id="10" name="Google Shape;115;p35">
            <a:extLst>
              <a:ext uri="{FF2B5EF4-FFF2-40B4-BE49-F238E27FC236}">
                <a16:creationId xmlns:a16="http://schemas.microsoft.com/office/drawing/2014/main" id="{4C5EDD4B-6148-8C81-CEE4-C4C5BFE4E787}"/>
              </a:ext>
            </a:extLst>
          </p:cNvPr>
          <p:cNvSpPr>
            <a:spLocks noGrp="1"/>
          </p:cNvSpPr>
          <p:nvPr>
            <p:ph type="pic" idx="3"/>
          </p:nvPr>
        </p:nvSpPr>
        <p:spPr>
          <a:xfrm>
            <a:off x="4746625" y="2079624"/>
            <a:ext cx="2698749" cy="2698749"/>
          </a:xfrm>
          <a:prstGeom prst="rect">
            <a:avLst/>
          </a:prstGeom>
          <a:solidFill>
            <a:schemeClr val="lt2"/>
          </a:solidFill>
          <a:ln w="57150">
            <a:noFill/>
          </a:ln>
        </p:spPr>
        <p:txBody>
          <a:bodyPr/>
          <a:lstStyle>
            <a:lvl1pPr marL="0" indent="0">
              <a:buNone/>
              <a:defRPr>
                <a:solidFill>
                  <a:schemeClr val="bg2"/>
                </a:solidFill>
              </a:defRPr>
            </a:lvl1pPr>
          </a:lstStyle>
          <a:p>
            <a:r>
              <a:rPr lang="en-US"/>
              <a:t>Click icon to add picture</a:t>
            </a:r>
            <a:endParaRPr lang="en-IE"/>
          </a:p>
        </p:txBody>
      </p:sp>
      <p:sp>
        <p:nvSpPr>
          <p:cNvPr id="9" name="Google Shape;121;p35">
            <a:extLst>
              <a:ext uri="{FF2B5EF4-FFF2-40B4-BE49-F238E27FC236}">
                <a16:creationId xmlns:a16="http://schemas.microsoft.com/office/drawing/2014/main" id="{85A61031-57E6-E855-38A1-FA502D6C575D}"/>
              </a:ext>
            </a:extLst>
          </p:cNvPr>
          <p:cNvSpPr>
            <a:spLocks noGrp="1"/>
          </p:cNvSpPr>
          <p:nvPr>
            <p:ph type="pic" idx="9"/>
          </p:nvPr>
        </p:nvSpPr>
        <p:spPr>
          <a:xfrm>
            <a:off x="8655051" y="2079623"/>
            <a:ext cx="2698749" cy="2698749"/>
          </a:xfrm>
          <a:prstGeom prst="rect">
            <a:avLst/>
          </a:prstGeom>
          <a:solidFill>
            <a:schemeClr val="lt2"/>
          </a:solidFill>
          <a:ln w="57150">
            <a:noFill/>
          </a:ln>
        </p:spPr>
        <p:txBody>
          <a:bodyPr/>
          <a:lstStyle>
            <a:lvl1pPr marL="0" indent="0">
              <a:buNone/>
              <a:defRPr>
                <a:solidFill>
                  <a:schemeClr val="bg2"/>
                </a:solidFill>
              </a:defRPr>
            </a:lvl1pPr>
          </a:lstStyle>
          <a:p>
            <a:r>
              <a:rPr lang="en-US"/>
              <a:t>Click icon to add picture</a:t>
            </a:r>
            <a:endParaRPr lang="en-IE"/>
          </a:p>
        </p:txBody>
      </p:sp>
      <p:pic>
        <p:nvPicPr>
          <p:cNvPr id="3" name="Picture 2" descr="A blue flag with yellow stars and stripes&#10;&#10;Description automatically generated">
            <a:extLst>
              <a:ext uri="{FF2B5EF4-FFF2-40B4-BE49-F238E27FC236}">
                <a16:creationId xmlns:a16="http://schemas.microsoft.com/office/drawing/2014/main" id="{EC730096-D3D5-78FF-DEE5-BE9525C4DBC8}"/>
              </a:ext>
            </a:extLst>
          </p:cNvPr>
          <p:cNvPicPr>
            <a:picLocks noChangeAspect="1"/>
          </p:cNvPicPr>
          <p:nvPr/>
        </p:nvPicPr>
        <p:blipFill>
          <a:blip r:embed="rId2"/>
          <a:stretch>
            <a:fillRect/>
          </a:stretch>
        </p:blipFill>
        <p:spPr>
          <a:xfrm>
            <a:off x="10725768" y="5901016"/>
            <a:ext cx="1257867" cy="763200"/>
          </a:xfrm>
          <a:prstGeom prst="rect">
            <a:avLst/>
          </a:prstGeom>
        </p:spPr>
      </p:pic>
      <p:pic>
        <p:nvPicPr>
          <p:cNvPr id="4" name="Picture 3" descr="A blue flag with yellow stars and stripes&#10;&#10;Description automatically generated">
            <a:extLst>
              <a:ext uri="{FF2B5EF4-FFF2-40B4-BE49-F238E27FC236}">
                <a16:creationId xmlns:a16="http://schemas.microsoft.com/office/drawing/2014/main" id="{F9F566B8-5CFB-8DB0-6A67-925C39BEFB8C}"/>
              </a:ext>
            </a:extLst>
          </p:cNvPr>
          <p:cNvPicPr>
            <a:picLocks noChangeAspect="1"/>
          </p:cNvPicPr>
          <p:nvPr userDrawn="1"/>
        </p:nvPicPr>
        <p:blipFill>
          <a:blip r:embed="rId2"/>
          <a:stretch>
            <a:fillRect/>
          </a:stretch>
        </p:blipFill>
        <p:spPr>
          <a:xfrm>
            <a:off x="10725768" y="5901016"/>
            <a:ext cx="1257867" cy="763200"/>
          </a:xfrm>
          <a:prstGeom prst="rect">
            <a:avLst/>
          </a:prstGeom>
        </p:spPr>
      </p:pic>
      <p:sp>
        <p:nvSpPr>
          <p:cNvPr id="6" name="Slide Number Placeholder 5">
            <a:extLst>
              <a:ext uri="{FF2B5EF4-FFF2-40B4-BE49-F238E27FC236}">
                <a16:creationId xmlns:a16="http://schemas.microsoft.com/office/drawing/2014/main" id="{C27800A1-1EE4-975A-7B55-1404DB41F071}"/>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noAutofit/>
          </a:bodyPr>
          <a:lstStyle>
            <a:lvl1pPr algn="r">
              <a:defRPr sz="1000">
                <a:solidFill>
                  <a:schemeClr val="tx1"/>
                </a:solidFill>
                <a:latin typeface="+mn-lt"/>
              </a:defRPr>
            </a:lvl1pPr>
          </a:lstStyle>
          <a:p>
            <a:pPr algn="l"/>
            <a:fld id="{768364BB-9B21-4D29-A19C-C6410F652861}" type="slidenum">
              <a:rPr lang="en-IE" smtClean="0"/>
              <a:pPr algn="l"/>
              <a:t>‹Nr.›</a:t>
            </a:fld>
            <a:endParaRPr lang="en-IE"/>
          </a:p>
        </p:txBody>
      </p:sp>
      <p:sp>
        <p:nvSpPr>
          <p:cNvPr id="5" name="Rectangle 4">
            <a:extLst>
              <a:ext uri="{FF2B5EF4-FFF2-40B4-BE49-F238E27FC236}">
                <a16:creationId xmlns:a16="http://schemas.microsoft.com/office/drawing/2014/main" id="{5B631742-A266-9765-0702-BC1377C89668}"/>
              </a:ext>
            </a:extLst>
          </p:cNvPr>
          <p:cNvSpPr/>
          <p:nvPr userDrawn="1"/>
        </p:nvSpPr>
        <p:spPr>
          <a:xfrm>
            <a:off x="631768" y="0"/>
            <a:ext cx="145576" cy="1393902"/>
          </a:xfrm>
          <a:prstGeom prst="rect">
            <a:avLst/>
          </a:prstGeom>
          <a:solidFill>
            <a:schemeClr val="accent4">
              <a:lumMod val="75000"/>
            </a:schemeClr>
          </a:solidFill>
          <a:ln w="3175">
            <a:noFill/>
          </a:ln>
          <a:effectLst>
            <a:outerShdw blurRad="38100" dist="25400" dir="5400000" algn="t" rotWithShape="0">
              <a:schemeClr val="tx1">
                <a:alpha val="27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979635689"/>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Last page with credits">
    <p:bg>
      <p:bgPr>
        <a:gradFill>
          <a:gsLst>
            <a:gs pos="70000">
              <a:srgbClr val="022783"/>
            </a:gs>
            <a:gs pos="0">
              <a:srgbClr val="637983"/>
            </a:gs>
            <a:gs pos="32000">
              <a:srgbClr val="003399"/>
            </a:gs>
            <a:gs pos="97000">
              <a:srgbClr val="031E73"/>
            </a:gs>
          </a:gsLst>
          <a:path path="circle">
            <a:fillToRect l="100000" t="100000"/>
          </a:path>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35C05-B6C4-EFD6-820E-25F6561D0DE8}"/>
              </a:ext>
            </a:extLst>
          </p:cNvPr>
          <p:cNvSpPr>
            <a:spLocks noGrp="1"/>
          </p:cNvSpPr>
          <p:nvPr>
            <p:ph type="title" hasCustomPrompt="1"/>
          </p:nvPr>
        </p:nvSpPr>
        <p:spPr>
          <a:xfrm>
            <a:off x="838200" y="2256739"/>
            <a:ext cx="10515600" cy="1020337"/>
          </a:xfrm>
        </p:spPr>
        <p:txBody>
          <a:bodyPr>
            <a:noAutofit/>
          </a:bodyPr>
          <a:lstStyle>
            <a:lvl1pPr>
              <a:defRPr sz="8800">
                <a:solidFill>
                  <a:schemeClr val="bg1"/>
                </a:solidFill>
              </a:defRPr>
            </a:lvl1pPr>
          </a:lstStyle>
          <a:p>
            <a:r>
              <a:rPr lang="en-US"/>
              <a:t>Thank you</a:t>
            </a:r>
            <a:endParaRPr lang="en-IE"/>
          </a:p>
        </p:txBody>
      </p:sp>
      <p:pic>
        <p:nvPicPr>
          <p:cNvPr id="4" name="Google Shape;444;p20">
            <a:extLst>
              <a:ext uri="{FF2B5EF4-FFF2-40B4-BE49-F238E27FC236}">
                <a16:creationId xmlns:a16="http://schemas.microsoft.com/office/drawing/2014/main" id="{DA7E9652-CF81-1788-7674-E1FA25BFE314}"/>
              </a:ext>
              <a:ext uri="{C183D7F6-B498-43B3-948B-1728B52AA6E4}">
                <adec:decorative xmlns:adec="http://schemas.microsoft.com/office/drawing/2017/decorative" val="1"/>
              </a:ext>
            </a:extLst>
          </p:cNvPr>
          <p:cNvPicPr preferRelativeResize="0"/>
          <p:nvPr/>
        </p:nvPicPr>
        <p:blipFill rotWithShape="1">
          <a:blip r:embed="rId2">
            <a:alphaModFix/>
          </a:blip>
          <a:srcRect/>
          <a:stretch/>
        </p:blipFill>
        <p:spPr>
          <a:xfrm>
            <a:off x="838200" y="3471269"/>
            <a:ext cx="1023496" cy="358097"/>
          </a:xfrm>
          <a:prstGeom prst="rect">
            <a:avLst/>
          </a:prstGeom>
          <a:noFill/>
          <a:ln>
            <a:noFill/>
          </a:ln>
        </p:spPr>
      </p:pic>
      <p:sp>
        <p:nvSpPr>
          <p:cNvPr id="5" name="Text Placeholder 4">
            <a:extLst>
              <a:ext uri="{FF2B5EF4-FFF2-40B4-BE49-F238E27FC236}">
                <a16:creationId xmlns:a16="http://schemas.microsoft.com/office/drawing/2014/main" id="{EA144BEB-A192-AF1A-3CE0-A12C2705D835}"/>
              </a:ext>
            </a:extLst>
          </p:cNvPr>
          <p:cNvSpPr>
            <a:spLocks noGrp="1"/>
          </p:cNvSpPr>
          <p:nvPr>
            <p:ph type="body" sz="quarter" idx="10"/>
          </p:nvPr>
        </p:nvSpPr>
        <p:spPr>
          <a:xfrm>
            <a:off x="838200" y="3996499"/>
            <a:ext cx="10515600" cy="1666875"/>
          </a:xfrm>
        </p:spPr>
        <p:txBody>
          <a:bodyPr>
            <a:noAutofit/>
          </a:bodyPr>
          <a:lstStyle>
            <a:lvl1pPr marL="0" indent="0">
              <a:buNone/>
              <a:defRPr sz="2000">
                <a:solidFill>
                  <a:schemeClr val="bg1"/>
                </a:solidFill>
              </a:defRPr>
            </a:lvl1pPr>
            <a:lvl2pPr>
              <a:defRPr>
                <a:solidFill>
                  <a:schemeClr val="bg1">
                    <a:lumMod val="95000"/>
                  </a:schemeClr>
                </a:solidFill>
              </a:defRPr>
            </a:lvl2pPr>
            <a:lvl3pPr>
              <a:defRPr>
                <a:solidFill>
                  <a:schemeClr val="bg1">
                    <a:lumMod val="95000"/>
                  </a:schemeClr>
                </a:solidFill>
              </a:defRPr>
            </a:lvl3pPr>
            <a:lvl4pPr>
              <a:defRPr>
                <a:solidFill>
                  <a:schemeClr val="bg1">
                    <a:lumMod val="95000"/>
                  </a:schemeClr>
                </a:solidFill>
              </a:defRPr>
            </a:lvl4pPr>
            <a:lvl5pPr>
              <a:defRPr>
                <a:solidFill>
                  <a:schemeClr val="bg1">
                    <a:lumMod val="95000"/>
                  </a:schemeClr>
                </a:solidFill>
              </a:defRPr>
            </a:lvl5pPr>
          </a:lstStyle>
          <a:p>
            <a:pPr lvl="0"/>
            <a:r>
              <a:rPr lang="en-US"/>
              <a:t>Click to edit Master text styles</a:t>
            </a:r>
          </a:p>
        </p:txBody>
      </p:sp>
      <p:pic>
        <p:nvPicPr>
          <p:cNvPr id="3" name="Google Shape;444;p20">
            <a:extLst>
              <a:ext uri="{FF2B5EF4-FFF2-40B4-BE49-F238E27FC236}">
                <a16:creationId xmlns:a16="http://schemas.microsoft.com/office/drawing/2014/main" id="{8A55753B-1E31-7005-E76C-7A1B520A3A05}"/>
              </a:ext>
              <a:ext uri="{C183D7F6-B498-43B3-948B-1728B52AA6E4}">
                <adec:decorative xmlns:adec="http://schemas.microsoft.com/office/drawing/2017/decorative" val="1"/>
              </a:ext>
            </a:extLst>
          </p:cNvPr>
          <p:cNvPicPr preferRelativeResize="0"/>
          <p:nvPr userDrawn="1"/>
        </p:nvPicPr>
        <p:blipFill rotWithShape="1">
          <a:blip r:embed="rId2">
            <a:alphaModFix/>
          </a:blip>
          <a:srcRect/>
          <a:stretch/>
        </p:blipFill>
        <p:spPr>
          <a:xfrm>
            <a:off x="838200" y="3471269"/>
            <a:ext cx="1023496" cy="358097"/>
          </a:xfrm>
          <a:prstGeom prst="rect">
            <a:avLst/>
          </a:prstGeom>
          <a:noFill/>
          <a:ln>
            <a:noFill/>
          </a:ln>
        </p:spPr>
      </p:pic>
      <p:pic>
        <p:nvPicPr>
          <p:cNvPr id="6" name="Picture 5">
            <a:extLst>
              <a:ext uri="{FF2B5EF4-FFF2-40B4-BE49-F238E27FC236}">
                <a16:creationId xmlns:a16="http://schemas.microsoft.com/office/drawing/2014/main" id="{F0FE782E-88D7-720D-47B0-E5C4BDBFE050}"/>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725768" y="5901016"/>
            <a:ext cx="1256063" cy="762106"/>
          </a:xfrm>
          <a:prstGeom prst="rect">
            <a:avLst/>
          </a:prstGeom>
        </p:spPr>
      </p:pic>
    </p:spTree>
    <p:extLst>
      <p:ext uri="{BB962C8B-B14F-4D97-AF65-F5344CB8AC3E}">
        <p14:creationId xmlns:p14="http://schemas.microsoft.com/office/powerpoint/2010/main" val="31285684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irmenfoli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070738A9-71AA-4E96-8237-B4CF823D0F8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4" y="0"/>
            <a:ext cx="12190612" cy="6858000"/>
          </a:xfrm>
          <a:prstGeom prst="rect">
            <a:avLst/>
          </a:prstGeom>
        </p:spPr>
      </p:pic>
      <p:pic>
        <p:nvPicPr>
          <p:cNvPr id="23" name="Grafik 22">
            <a:extLst>
              <a:ext uri="{FF2B5EF4-FFF2-40B4-BE49-F238E27FC236}">
                <a16:creationId xmlns:a16="http://schemas.microsoft.com/office/drawing/2014/main" id="{AD59AFB0-C061-499D-993B-6B8363762D9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31000" y="1359000"/>
            <a:ext cx="5668966" cy="2160000"/>
          </a:xfrm>
          <a:prstGeom prst="rect">
            <a:avLst/>
          </a:prstGeom>
        </p:spPr>
      </p:pic>
      <p:sp>
        <p:nvSpPr>
          <p:cNvPr id="2" name="Rechteck 1">
            <a:extLst>
              <a:ext uri="{FF2B5EF4-FFF2-40B4-BE49-F238E27FC236}">
                <a16:creationId xmlns:a16="http://schemas.microsoft.com/office/drawing/2014/main" id="{834834EE-9660-49C8-865D-CE8F33B19685}"/>
              </a:ext>
            </a:extLst>
          </p:cNvPr>
          <p:cNvSpPr/>
          <p:nvPr userDrawn="1"/>
        </p:nvSpPr>
        <p:spPr>
          <a:xfrm>
            <a:off x="0" y="3817226"/>
            <a:ext cx="11160000" cy="540000"/>
          </a:xfrm>
          <a:prstGeom prst="rect">
            <a:avLst/>
          </a:prstGeom>
          <a:gradFill flip="none" rotWithShape="1">
            <a:gsLst>
              <a:gs pos="50000">
                <a:srgbClr val="E62D2C"/>
              </a:gs>
              <a:gs pos="100000">
                <a:srgbClr val="E3E4E8">
                  <a:alpha val="25000"/>
                </a:srgb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Textfeld 25">
            <a:extLst>
              <a:ext uri="{FF2B5EF4-FFF2-40B4-BE49-F238E27FC236}">
                <a16:creationId xmlns:a16="http://schemas.microsoft.com/office/drawing/2014/main" id="{FE399674-2EE2-4639-AE8E-180D1A5B86CE}"/>
              </a:ext>
            </a:extLst>
          </p:cNvPr>
          <p:cNvSpPr txBox="1"/>
          <p:nvPr userDrawn="1"/>
        </p:nvSpPr>
        <p:spPr>
          <a:xfrm>
            <a:off x="1877438" y="3810227"/>
            <a:ext cx="5644494" cy="553998"/>
          </a:xfrm>
          <a:prstGeom prst="rect">
            <a:avLst/>
          </a:prstGeom>
          <a:noFill/>
        </p:spPr>
        <p:txBody>
          <a:bodyPr wrap="none" rtlCol="0">
            <a:spAutoFit/>
          </a:bodyPr>
          <a:lstStyle/>
          <a:p>
            <a:r>
              <a:rPr lang="de-DE" sz="3000" b="1">
                <a:solidFill>
                  <a:schemeClr val="bg1"/>
                </a:solidFill>
                <a:latin typeface="Ubuntu" panose="020B0504030602030204" pitchFamily="34" charset="0"/>
              </a:rPr>
              <a:t>MATCHED ION IMPLANTATION</a:t>
            </a:r>
            <a:endParaRPr lang="en-US" sz="3000" b="1">
              <a:solidFill>
                <a:schemeClr val="bg1"/>
              </a:solidFill>
              <a:latin typeface="Ubuntu" panose="020B0504030602030204" pitchFamily="34" charset="0"/>
            </a:endParaRPr>
          </a:p>
        </p:txBody>
      </p:sp>
      <p:sp>
        <p:nvSpPr>
          <p:cNvPr id="7" name="Textfeld 6">
            <a:extLst>
              <a:ext uri="{FF2B5EF4-FFF2-40B4-BE49-F238E27FC236}">
                <a16:creationId xmlns:a16="http://schemas.microsoft.com/office/drawing/2014/main" id="{0F77BA20-B758-4C1E-8F16-FEAC48E8A90D}"/>
              </a:ext>
            </a:extLst>
          </p:cNvPr>
          <p:cNvSpPr txBox="1"/>
          <p:nvPr userDrawn="1"/>
        </p:nvSpPr>
        <p:spPr>
          <a:xfrm>
            <a:off x="1876744" y="4475671"/>
            <a:ext cx="5058229" cy="400110"/>
          </a:xfrm>
          <a:prstGeom prst="rect">
            <a:avLst/>
          </a:prstGeom>
        </p:spPr>
        <p:txBody>
          <a:bodyPr vert="horz"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000" i="1">
                <a:solidFill>
                  <a:srgbClr val="003866"/>
                </a:solidFill>
                <a:latin typeface="Ubuntu" panose="020B0504030602030204" pitchFamily="34" charset="0"/>
              </a:rPr>
              <a:t>Energy-Filter </a:t>
            </a:r>
            <a:r>
              <a:rPr lang="de-DE" sz="2000" i="1" err="1">
                <a:solidFill>
                  <a:srgbClr val="003866"/>
                </a:solidFill>
                <a:latin typeface="Ubuntu" panose="020B0504030602030204" pitchFamily="34" charset="0"/>
              </a:rPr>
              <a:t>For</a:t>
            </a:r>
            <a:r>
              <a:rPr lang="de-DE" sz="2000" i="1">
                <a:solidFill>
                  <a:srgbClr val="003866"/>
                </a:solidFill>
                <a:latin typeface="Ubuntu" panose="020B0504030602030204" pitchFamily="34" charset="0"/>
              </a:rPr>
              <a:t> Ion Implantation – EFII </a:t>
            </a:r>
            <a:r>
              <a:rPr lang="de-DE" sz="2000" i="0" baseline="30000">
                <a:solidFill>
                  <a:srgbClr val="003866"/>
                </a:solidFill>
                <a:effectLst/>
                <a:latin typeface="Ubuntu" panose="020B0504030602030204" pitchFamily="34" charset="0"/>
              </a:rPr>
              <a:t>©</a:t>
            </a:r>
            <a:endParaRPr lang="de-DE" sz="2000" i="0" baseline="30000">
              <a:solidFill>
                <a:srgbClr val="003866"/>
              </a:solidFill>
              <a:latin typeface="Ubuntu" panose="020B0504030602030204" pitchFamily="34" charset="0"/>
            </a:endParaRPr>
          </a:p>
        </p:txBody>
      </p:sp>
    </p:spTree>
    <p:extLst>
      <p:ext uri="{BB962C8B-B14F-4D97-AF65-F5344CB8AC3E}">
        <p14:creationId xmlns:p14="http://schemas.microsoft.com/office/powerpoint/2010/main" val="28786139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elfolie">
    <p:bg>
      <p:bgPr>
        <a:solidFill>
          <a:schemeClr val="bg1">
            <a:alpha val="50000"/>
          </a:schemeClr>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6062BD6B-AA97-40C1-9155-64858EEA307B}"/>
              </a:ext>
            </a:extLst>
          </p:cNvPr>
          <p:cNvPicPr>
            <a:picLocks noChangeAspect="1"/>
          </p:cNvPicPr>
          <p:nvPr userDrawn="1"/>
        </p:nvPicPr>
        <p:blipFill>
          <a:blip r:embed="rId2">
            <a:alphaModFix amt="5000"/>
            <a:extLst>
              <a:ext uri="{28A0092B-C50C-407E-A947-70E740481C1C}">
                <a14:useLocalDpi xmlns:a14="http://schemas.microsoft.com/office/drawing/2010/main" val="0"/>
              </a:ext>
            </a:extLst>
          </a:blip>
          <a:stretch>
            <a:fillRect/>
          </a:stretch>
        </p:blipFill>
        <p:spPr>
          <a:xfrm flipH="1">
            <a:off x="110442" y="279001"/>
            <a:ext cx="7515558" cy="6479998"/>
          </a:xfrm>
          <a:prstGeom prst="rect">
            <a:avLst/>
          </a:prstGeom>
        </p:spPr>
      </p:pic>
      <p:sp>
        <p:nvSpPr>
          <p:cNvPr id="18" name="Titel 1">
            <a:extLst>
              <a:ext uri="{FF2B5EF4-FFF2-40B4-BE49-F238E27FC236}">
                <a16:creationId xmlns:a16="http://schemas.microsoft.com/office/drawing/2014/main" id="{87B9D4B0-2BA8-4BBC-A3CE-EEB93BE1020B}"/>
              </a:ext>
            </a:extLst>
          </p:cNvPr>
          <p:cNvSpPr>
            <a:spLocks noGrp="1"/>
          </p:cNvSpPr>
          <p:nvPr>
            <p:ph type="title" hasCustomPrompt="1"/>
          </p:nvPr>
        </p:nvSpPr>
        <p:spPr>
          <a:xfrm>
            <a:off x="696000" y="2718036"/>
            <a:ext cx="10800000" cy="646331"/>
          </a:xfrm>
        </p:spPr>
        <p:txBody>
          <a:bodyPr>
            <a:spAutoFit/>
          </a:bodyPr>
          <a:lstStyle>
            <a:lvl1pPr algn="ctr">
              <a:defRPr sz="4000">
                <a:solidFill>
                  <a:srgbClr val="003866"/>
                </a:solidFill>
                <a:latin typeface="Ubuntu" panose="020B0504030602030204" pitchFamily="34" charset="0"/>
              </a:defRPr>
            </a:lvl1pPr>
          </a:lstStyle>
          <a:p>
            <a:r>
              <a:rPr lang="de-DE"/>
              <a:t>Titelmasterformat durch Klicken bearbeiten</a:t>
            </a:r>
            <a:endParaRPr lang="en-US"/>
          </a:p>
        </p:txBody>
      </p:sp>
      <p:pic>
        <p:nvPicPr>
          <p:cNvPr id="13" name="Grafik 12">
            <a:extLst>
              <a:ext uri="{FF2B5EF4-FFF2-40B4-BE49-F238E27FC236}">
                <a16:creationId xmlns:a16="http://schemas.microsoft.com/office/drawing/2014/main" id="{34257389-7D38-439D-9118-2079964480E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33787" y="43961"/>
            <a:ext cx="1417243" cy="540000"/>
          </a:xfrm>
          <a:prstGeom prst="rect">
            <a:avLst/>
          </a:prstGeom>
        </p:spPr>
      </p:pic>
      <p:sp>
        <p:nvSpPr>
          <p:cNvPr id="14" name="Rechteck 13">
            <a:extLst>
              <a:ext uri="{FF2B5EF4-FFF2-40B4-BE49-F238E27FC236}">
                <a16:creationId xmlns:a16="http://schemas.microsoft.com/office/drawing/2014/main" id="{3CD1FE26-5911-4C7F-B643-D2FA72BB9CDB}"/>
              </a:ext>
            </a:extLst>
          </p:cNvPr>
          <p:cNvSpPr/>
          <p:nvPr userDrawn="1"/>
        </p:nvSpPr>
        <p:spPr>
          <a:xfrm rot="16200000" flipH="1">
            <a:off x="6187200" y="853200"/>
            <a:ext cx="360000" cy="11649600"/>
          </a:xfrm>
          <a:prstGeom prst="rect">
            <a:avLst/>
          </a:prstGeom>
          <a:gradFill>
            <a:gsLst>
              <a:gs pos="50000">
                <a:srgbClr val="003866"/>
              </a:gs>
              <a:gs pos="100000">
                <a:schemeClr val="bg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5" name="Fußzeilenplatzhalter 15">
            <a:extLst>
              <a:ext uri="{FF2B5EF4-FFF2-40B4-BE49-F238E27FC236}">
                <a16:creationId xmlns:a16="http://schemas.microsoft.com/office/drawing/2014/main" id="{22C108A2-42E0-4D79-965F-6E0AA5778A4A}"/>
              </a:ext>
            </a:extLst>
          </p:cNvPr>
          <p:cNvSpPr>
            <a:spLocks noGrp="1"/>
          </p:cNvSpPr>
          <p:nvPr>
            <p:ph type="ftr" sz="quarter" idx="11"/>
          </p:nvPr>
        </p:nvSpPr>
        <p:spPr>
          <a:xfrm>
            <a:off x="4038600" y="6498000"/>
            <a:ext cx="4114800" cy="360000"/>
          </a:xfrm>
        </p:spPr>
        <p:txBody>
          <a:bodyPr/>
          <a:lstStyle>
            <a:lvl1pPr>
              <a:defRPr sz="1000">
                <a:solidFill>
                  <a:schemeClr val="bg1"/>
                </a:solidFill>
                <a:latin typeface="Ubuntu" panose="020B0504030602030204" pitchFamily="34" charset="0"/>
              </a:defRPr>
            </a:lvl1pPr>
          </a:lstStyle>
          <a:p>
            <a:r>
              <a:rPr lang="de-DE"/>
              <a:t>© mi2-factory GmbH - 01|2021 - Confidential</a:t>
            </a:r>
            <a:endParaRPr lang="en-US"/>
          </a:p>
        </p:txBody>
      </p:sp>
      <p:sp>
        <p:nvSpPr>
          <p:cNvPr id="16" name="Datumsplatzhalter 14">
            <a:extLst>
              <a:ext uri="{FF2B5EF4-FFF2-40B4-BE49-F238E27FC236}">
                <a16:creationId xmlns:a16="http://schemas.microsoft.com/office/drawing/2014/main" id="{97C01A0F-58B8-43FB-A72F-C736E7751C91}"/>
              </a:ext>
            </a:extLst>
          </p:cNvPr>
          <p:cNvSpPr>
            <a:spLocks noGrp="1"/>
          </p:cNvSpPr>
          <p:nvPr>
            <p:ph type="dt" sz="half" idx="10"/>
          </p:nvPr>
        </p:nvSpPr>
        <p:spPr>
          <a:xfrm>
            <a:off x="540000" y="6498000"/>
            <a:ext cx="2743200" cy="360000"/>
          </a:xfrm>
        </p:spPr>
        <p:txBody>
          <a:bodyPr/>
          <a:lstStyle>
            <a:lvl1pPr>
              <a:defRPr sz="1000">
                <a:solidFill>
                  <a:srgbClr val="003866"/>
                </a:solidFill>
                <a:latin typeface="Ubuntu" panose="020B0504030602030204" pitchFamily="34" charset="0"/>
              </a:defRPr>
            </a:lvl1pPr>
          </a:lstStyle>
          <a:p>
            <a:endParaRPr lang="en-US"/>
          </a:p>
        </p:txBody>
      </p:sp>
      <p:sp>
        <p:nvSpPr>
          <p:cNvPr id="17" name="Foliennummernplatzhalter 16">
            <a:extLst>
              <a:ext uri="{FF2B5EF4-FFF2-40B4-BE49-F238E27FC236}">
                <a16:creationId xmlns:a16="http://schemas.microsoft.com/office/drawing/2014/main" id="{FA174773-8E57-4EEF-83A1-C5A90B62973A}"/>
              </a:ext>
            </a:extLst>
          </p:cNvPr>
          <p:cNvSpPr>
            <a:spLocks noGrp="1"/>
          </p:cNvSpPr>
          <p:nvPr>
            <p:ph type="sldNum" sz="quarter" idx="12"/>
          </p:nvPr>
        </p:nvSpPr>
        <p:spPr>
          <a:xfrm>
            <a:off x="8908800" y="6498087"/>
            <a:ext cx="2742230" cy="360000"/>
          </a:xfrm>
        </p:spPr>
        <p:txBody>
          <a:bodyPr/>
          <a:lstStyle>
            <a:lvl1pPr>
              <a:defRPr sz="1000">
                <a:solidFill>
                  <a:schemeClr val="bg1"/>
                </a:solidFill>
                <a:latin typeface="Ubuntu" panose="020B0504030602030204" pitchFamily="34" charset="0"/>
              </a:defRPr>
            </a:lvl1pPr>
          </a:lstStyle>
          <a:p>
            <a:fld id="{708729A6-E271-4FEB-B205-D9AFCE75854C}" type="slidenum">
              <a:rPr lang="en-US" smtClean="0"/>
              <a:pPr/>
              <a:t>‹Nr.›</a:t>
            </a:fld>
            <a:endParaRPr lang="en-US"/>
          </a:p>
        </p:txBody>
      </p:sp>
      <p:sp>
        <p:nvSpPr>
          <p:cNvPr id="10" name="Rechteck 9">
            <a:extLst>
              <a:ext uri="{FF2B5EF4-FFF2-40B4-BE49-F238E27FC236}">
                <a16:creationId xmlns:a16="http://schemas.microsoft.com/office/drawing/2014/main" id="{0B497106-BE05-4199-87F6-0A283F372ED9}"/>
              </a:ext>
            </a:extLst>
          </p:cNvPr>
          <p:cNvSpPr/>
          <p:nvPr userDrawn="1"/>
        </p:nvSpPr>
        <p:spPr>
          <a:xfrm rot="5400000" flipH="1">
            <a:off x="5797085" y="-2359727"/>
            <a:ext cx="54000" cy="11651030"/>
          </a:xfrm>
          <a:prstGeom prst="rect">
            <a:avLst/>
          </a:prstGeom>
          <a:gradFill>
            <a:gsLst>
              <a:gs pos="50000">
                <a:srgbClr val="E62D2C"/>
              </a:gs>
              <a:gs pos="100000">
                <a:schemeClr val="bg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Tree>
    <p:extLst>
      <p:ext uri="{BB962C8B-B14F-4D97-AF65-F5344CB8AC3E}">
        <p14:creationId xmlns:p14="http://schemas.microsoft.com/office/powerpoint/2010/main" val="3728167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haltsfolie">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D57AF441-0307-436A-BDAA-A22E5740890E}"/>
              </a:ext>
            </a:extLst>
          </p:cNvPr>
          <p:cNvSpPr/>
          <p:nvPr userDrawn="1"/>
        </p:nvSpPr>
        <p:spPr>
          <a:xfrm rot="16200000" flipH="1">
            <a:off x="6186485" y="852485"/>
            <a:ext cx="360000" cy="11651030"/>
          </a:xfrm>
          <a:prstGeom prst="rect">
            <a:avLst/>
          </a:prstGeom>
          <a:gradFill>
            <a:gsLst>
              <a:gs pos="50000">
                <a:srgbClr val="003866"/>
              </a:gs>
              <a:gs pos="100000">
                <a:schemeClr val="bg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6" name="Fußzeilenplatzhalter 15">
            <a:extLst>
              <a:ext uri="{FF2B5EF4-FFF2-40B4-BE49-F238E27FC236}">
                <a16:creationId xmlns:a16="http://schemas.microsoft.com/office/drawing/2014/main" id="{794C19C7-6057-410D-898C-7DAF16435A3F}"/>
              </a:ext>
            </a:extLst>
          </p:cNvPr>
          <p:cNvSpPr>
            <a:spLocks noGrp="1"/>
          </p:cNvSpPr>
          <p:nvPr>
            <p:ph type="ftr" sz="quarter" idx="11"/>
          </p:nvPr>
        </p:nvSpPr>
        <p:spPr>
          <a:xfrm>
            <a:off x="4038600" y="6498000"/>
            <a:ext cx="4114800" cy="360000"/>
          </a:xfrm>
        </p:spPr>
        <p:txBody>
          <a:bodyPr/>
          <a:lstStyle>
            <a:lvl1pPr>
              <a:defRPr sz="1000">
                <a:solidFill>
                  <a:schemeClr val="bg1"/>
                </a:solidFill>
                <a:latin typeface="Ubuntu" panose="020B0504030602030204" pitchFamily="34" charset="0"/>
              </a:defRPr>
            </a:lvl1pPr>
          </a:lstStyle>
          <a:p>
            <a:r>
              <a:rPr lang="de-DE"/>
              <a:t>© mi2-factory GmbH - 01|2021 - Confidential</a:t>
            </a:r>
            <a:endParaRPr lang="en-US"/>
          </a:p>
        </p:txBody>
      </p:sp>
      <p:sp>
        <p:nvSpPr>
          <p:cNvPr id="23" name="Datumsplatzhalter 14">
            <a:extLst>
              <a:ext uri="{FF2B5EF4-FFF2-40B4-BE49-F238E27FC236}">
                <a16:creationId xmlns:a16="http://schemas.microsoft.com/office/drawing/2014/main" id="{B5B15134-EADB-4DF8-B9FF-3C98CCEB6CDE}"/>
              </a:ext>
            </a:extLst>
          </p:cNvPr>
          <p:cNvSpPr>
            <a:spLocks noGrp="1"/>
          </p:cNvSpPr>
          <p:nvPr>
            <p:ph type="dt" sz="half" idx="10"/>
          </p:nvPr>
        </p:nvSpPr>
        <p:spPr>
          <a:xfrm>
            <a:off x="540000" y="6498000"/>
            <a:ext cx="2743200" cy="360000"/>
          </a:xfrm>
        </p:spPr>
        <p:txBody>
          <a:bodyPr/>
          <a:lstStyle>
            <a:lvl1pPr>
              <a:defRPr sz="1000">
                <a:solidFill>
                  <a:srgbClr val="003866"/>
                </a:solidFill>
                <a:latin typeface="Ubuntu" panose="020B0504030602030204" pitchFamily="34" charset="0"/>
              </a:defRPr>
            </a:lvl1pPr>
          </a:lstStyle>
          <a:p>
            <a:endParaRPr lang="en-US"/>
          </a:p>
        </p:txBody>
      </p:sp>
      <p:sp>
        <p:nvSpPr>
          <p:cNvPr id="24" name="Foliennummernplatzhalter 16">
            <a:extLst>
              <a:ext uri="{FF2B5EF4-FFF2-40B4-BE49-F238E27FC236}">
                <a16:creationId xmlns:a16="http://schemas.microsoft.com/office/drawing/2014/main" id="{A56930FC-6A94-418A-B4E2-B8F52FA5B935}"/>
              </a:ext>
            </a:extLst>
          </p:cNvPr>
          <p:cNvSpPr>
            <a:spLocks noGrp="1"/>
          </p:cNvSpPr>
          <p:nvPr>
            <p:ph type="sldNum" sz="quarter" idx="12"/>
          </p:nvPr>
        </p:nvSpPr>
        <p:spPr>
          <a:xfrm>
            <a:off x="8908800" y="6498087"/>
            <a:ext cx="2742230" cy="360000"/>
          </a:xfrm>
        </p:spPr>
        <p:txBody>
          <a:bodyPr/>
          <a:lstStyle>
            <a:lvl1pPr>
              <a:defRPr sz="1000">
                <a:solidFill>
                  <a:schemeClr val="bg1"/>
                </a:solidFill>
                <a:latin typeface="Ubuntu" panose="020B0504030602030204" pitchFamily="34" charset="0"/>
              </a:defRPr>
            </a:lvl1pPr>
          </a:lstStyle>
          <a:p>
            <a:fld id="{708729A6-E271-4FEB-B205-D9AFCE75854C}" type="slidenum">
              <a:rPr lang="en-US" smtClean="0"/>
              <a:pPr/>
              <a:t>‹Nr.›</a:t>
            </a:fld>
            <a:endParaRPr lang="en-US"/>
          </a:p>
        </p:txBody>
      </p:sp>
      <p:sp>
        <p:nvSpPr>
          <p:cNvPr id="13" name="Titel 1">
            <a:extLst>
              <a:ext uri="{FF2B5EF4-FFF2-40B4-BE49-F238E27FC236}">
                <a16:creationId xmlns:a16="http://schemas.microsoft.com/office/drawing/2014/main" id="{23D3752C-FD5D-49E2-A602-11BC907F9B02}"/>
              </a:ext>
            </a:extLst>
          </p:cNvPr>
          <p:cNvSpPr>
            <a:spLocks noGrp="1"/>
          </p:cNvSpPr>
          <p:nvPr>
            <p:ph type="title" hasCustomPrompt="1"/>
          </p:nvPr>
        </p:nvSpPr>
        <p:spPr>
          <a:xfrm>
            <a:off x="540000" y="60045"/>
            <a:ext cx="9000000" cy="507831"/>
          </a:xfrm>
        </p:spPr>
        <p:txBody>
          <a:bodyPr wrap="square">
            <a:spAutoFit/>
          </a:bodyPr>
          <a:lstStyle>
            <a:lvl1pPr>
              <a:defRPr sz="3000">
                <a:solidFill>
                  <a:srgbClr val="001A66"/>
                </a:solidFill>
                <a:latin typeface="Ubuntu" panose="020B0504030602030204" pitchFamily="34" charset="0"/>
              </a:defRPr>
            </a:lvl1pPr>
          </a:lstStyle>
          <a:p>
            <a:r>
              <a:rPr lang="de-DE"/>
              <a:t>Titelmasterformat durch Klicken bearbeiten</a:t>
            </a:r>
            <a:endParaRPr lang="en-US"/>
          </a:p>
        </p:txBody>
      </p:sp>
      <p:pic>
        <p:nvPicPr>
          <p:cNvPr id="21" name="Grafik 20">
            <a:extLst>
              <a:ext uri="{FF2B5EF4-FFF2-40B4-BE49-F238E27FC236}">
                <a16:creationId xmlns:a16="http://schemas.microsoft.com/office/drawing/2014/main" id="{2B15B4F0-1D63-4078-A550-236D98BC21C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33787" y="43961"/>
            <a:ext cx="1417243" cy="540000"/>
          </a:xfrm>
          <a:prstGeom prst="rect">
            <a:avLst/>
          </a:prstGeom>
        </p:spPr>
      </p:pic>
      <p:sp>
        <p:nvSpPr>
          <p:cNvPr id="26" name="Rechteck 25">
            <a:extLst>
              <a:ext uri="{FF2B5EF4-FFF2-40B4-BE49-F238E27FC236}">
                <a16:creationId xmlns:a16="http://schemas.microsoft.com/office/drawing/2014/main" id="{AB6E9A13-216A-4ED0-BE0C-ABAA72D003EC}"/>
              </a:ext>
            </a:extLst>
          </p:cNvPr>
          <p:cNvSpPr/>
          <p:nvPr userDrawn="1"/>
        </p:nvSpPr>
        <p:spPr>
          <a:xfrm rot="5400000" flipH="1">
            <a:off x="5798515" y="-5159515"/>
            <a:ext cx="54000" cy="11651030"/>
          </a:xfrm>
          <a:prstGeom prst="rect">
            <a:avLst/>
          </a:prstGeom>
          <a:gradFill>
            <a:gsLst>
              <a:gs pos="50000">
                <a:srgbClr val="E62D2C"/>
              </a:gs>
              <a:gs pos="100000">
                <a:schemeClr val="bg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5" name="Inhaltsplatzhalter 4">
            <a:extLst>
              <a:ext uri="{FF2B5EF4-FFF2-40B4-BE49-F238E27FC236}">
                <a16:creationId xmlns:a16="http://schemas.microsoft.com/office/drawing/2014/main" id="{C509BC93-08F4-4879-8827-0D7DF624574C}"/>
              </a:ext>
            </a:extLst>
          </p:cNvPr>
          <p:cNvSpPr>
            <a:spLocks noGrp="1"/>
          </p:cNvSpPr>
          <p:nvPr>
            <p:ph sz="quarter" idx="14"/>
          </p:nvPr>
        </p:nvSpPr>
        <p:spPr>
          <a:xfrm>
            <a:off x="540000" y="1140536"/>
            <a:ext cx="11111030" cy="1844608"/>
          </a:xfrm>
        </p:spPr>
        <p:txBody>
          <a:bodyPr wrap="square">
            <a:spAutoFit/>
          </a:bodyPr>
          <a:lstStyle>
            <a:lvl1pPr>
              <a:defRPr>
                <a:solidFill>
                  <a:srgbClr val="003866"/>
                </a:solidFill>
              </a:defRPr>
            </a:lvl1pPr>
            <a:lvl2pPr>
              <a:defRPr>
                <a:solidFill>
                  <a:srgbClr val="003866"/>
                </a:solidFill>
              </a:defRPr>
            </a:lvl2pPr>
            <a:lvl3pPr>
              <a:defRPr>
                <a:solidFill>
                  <a:srgbClr val="003866"/>
                </a:solidFill>
              </a:defRPr>
            </a:lvl3pPr>
            <a:lvl4pPr>
              <a:defRPr>
                <a:solidFill>
                  <a:srgbClr val="003866"/>
                </a:solidFill>
              </a:defRPr>
            </a:lvl4pPr>
            <a:lvl5pPr>
              <a:defRPr>
                <a:solidFill>
                  <a:srgbClr val="003866"/>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5956209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bschlussfolie">
    <p:spTree>
      <p:nvGrpSpPr>
        <p:cNvPr id="1" name=""/>
        <p:cNvGrpSpPr/>
        <p:nvPr/>
      </p:nvGrpSpPr>
      <p:grpSpPr>
        <a:xfrm>
          <a:off x="0" y="0"/>
          <a:ext cx="0" cy="0"/>
          <a:chOff x="0" y="0"/>
          <a:chExt cx="0" cy="0"/>
        </a:xfrm>
      </p:grpSpPr>
      <p:pic>
        <p:nvPicPr>
          <p:cNvPr id="21" name="Grafik 20">
            <a:extLst>
              <a:ext uri="{FF2B5EF4-FFF2-40B4-BE49-F238E27FC236}">
                <a16:creationId xmlns:a16="http://schemas.microsoft.com/office/drawing/2014/main" id="{CC0C4D46-6324-45FA-B38C-0091524512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4" y="0"/>
            <a:ext cx="12190612" cy="6858000"/>
          </a:xfrm>
          <a:prstGeom prst="rect">
            <a:avLst/>
          </a:prstGeom>
        </p:spPr>
      </p:pic>
      <p:sp>
        <p:nvSpPr>
          <p:cNvPr id="4" name="Textfeld 3">
            <a:extLst>
              <a:ext uri="{FF2B5EF4-FFF2-40B4-BE49-F238E27FC236}">
                <a16:creationId xmlns:a16="http://schemas.microsoft.com/office/drawing/2014/main" id="{56890509-C94A-46B2-B314-DF20A9985894}"/>
              </a:ext>
            </a:extLst>
          </p:cNvPr>
          <p:cNvSpPr txBox="1"/>
          <p:nvPr userDrawn="1"/>
        </p:nvSpPr>
        <p:spPr>
          <a:xfrm>
            <a:off x="2192499" y="2004943"/>
            <a:ext cx="7807002" cy="136191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US" sz="4000">
                <a:solidFill>
                  <a:srgbClr val="003866"/>
                </a:solidFill>
                <a:latin typeface="Ubuntu" panose="020B0504030602030204" pitchFamily="34" charset="0"/>
                <a:ea typeface="Ubuntu Medium"/>
                <a:cs typeface="Ubuntu Medium"/>
                <a:sym typeface="Ubuntu Medium"/>
              </a:rPr>
              <a:t>Thank You very much for</a:t>
            </a:r>
          </a:p>
          <a:p>
            <a:pPr marL="0" marR="0" lvl="0" indent="0" algn="ctr" defTabSz="914400" rtl="0" eaLnBrk="1" fontAlgn="auto" latinLnBrk="0" hangingPunct="1">
              <a:lnSpc>
                <a:spcPct val="100000"/>
              </a:lnSpc>
              <a:spcBef>
                <a:spcPts val="0"/>
              </a:spcBef>
              <a:spcAft>
                <a:spcPts val="300"/>
              </a:spcAft>
              <a:buClrTx/>
              <a:buSzTx/>
              <a:buFontTx/>
              <a:buNone/>
              <a:tabLst/>
              <a:defRPr/>
            </a:pPr>
            <a:r>
              <a:rPr lang="en-US" sz="4000">
                <a:solidFill>
                  <a:srgbClr val="003866"/>
                </a:solidFill>
                <a:latin typeface="Ubuntu" panose="020B0504030602030204" pitchFamily="34" charset="0"/>
                <a:ea typeface="Ubuntu Medium"/>
                <a:cs typeface="Ubuntu Medium"/>
                <a:sym typeface="Ubuntu Medium"/>
              </a:rPr>
              <a:t>Your attention and interest!</a:t>
            </a:r>
          </a:p>
        </p:txBody>
      </p:sp>
      <p:grpSp>
        <p:nvGrpSpPr>
          <p:cNvPr id="43" name="Gruppieren 42">
            <a:extLst>
              <a:ext uri="{FF2B5EF4-FFF2-40B4-BE49-F238E27FC236}">
                <a16:creationId xmlns:a16="http://schemas.microsoft.com/office/drawing/2014/main" id="{627F9501-3D0F-47F9-8253-5DA220A96088}"/>
              </a:ext>
            </a:extLst>
          </p:cNvPr>
          <p:cNvGrpSpPr/>
          <p:nvPr userDrawn="1"/>
        </p:nvGrpSpPr>
        <p:grpSpPr>
          <a:xfrm>
            <a:off x="5619494" y="4284000"/>
            <a:ext cx="2771506" cy="861774"/>
            <a:chOff x="5239002" y="5165582"/>
            <a:chExt cx="2771506" cy="861774"/>
          </a:xfrm>
        </p:grpSpPr>
        <p:pic>
          <p:nvPicPr>
            <p:cNvPr id="9" name="Grafik 8" descr="Markierung">
              <a:extLst>
                <a:ext uri="{FF2B5EF4-FFF2-40B4-BE49-F238E27FC236}">
                  <a16:creationId xmlns:a16="http://schemas.microsoft.com/office/drawing/2014/main" id="{22755EA7-31C6-4418-9D5C-5B1D3BAE563A}"/>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39002" y="5210582"/>
              <a:ext cx="270000" cy="270000"/>
            </a:xfrm>
            <a:prstGeom prst="rect">
              <a:avLst/>
            </a:prstGeom>
          </p:spPr>
        </p:pic>
        <p:sp>
          <p:nvSpPr>
            <p:cNvPr id="14" name="Textfeld 13">
              <a:extLst>
                <a:ext uri="{FF2B5EF4-FFF2-40B4-BE49-F238E27FC236}">
                  <a16:creationId xmlns:a16="http://schemas.microsoft.com/office/drawing/2014/main" id="{11271881-30C4-4A9B-8540-2D2E9A67E616}"/>
                </a:ext>
              </a:extLst>
            </p:cNvPr>
            <p:cNvSpPr txBox="1"/>
            <p:nvPr userDrawn="1"/>
          </p:nvSpPr>
          <p:spPr>
            <a:xfrm>
              <a:off x="5504694" y="5165582"/>
              <a:ext cx="2505814" cy="861774"/>
            </a:xfrm>
            <a:prstGeom prst="rect">
              <a:avLst/>
            </a:prstGeom>
          </p:spPr>
          <p:txBody>
            <a:bodyPr vert="horz" wrap="none" lIns="91440" tIns="45720" rIns="91440" bIns="45720" rtlCol="0" anchor="t">
              <a:spAutoFit/>
            </a:bodyPr>
            <a:lstStyle/>
            <a:p>
              <a:pPr algn="l">
                <a:spcAft>
                  <a:spcPts val="300"/>
                </a:spcAft>
              </a:pPr>
              <a:r>
                <a:rPr lang="de-DE" sz="1500">
                  <a:solidFill>
                    <a:srgbClr val="003866"/>
                  </a:solidFill>
                  <a:latin typeface="Ubuntu" panose="020B0504030602030204" pitchFamily="34" charset="0"/>
                </a:rPr>
                <a:t>Moritz-von-Rohr-Straße 1a</a:t>
              </a:r>
            </a:p>
            <a:p>
              <a:pPr algn="l">
                <a:spcAft>
                  <a:spcPts val="300"/>
                </a:spcAft>
              </a:pPr>
              <a:r>
                <a:rPr lang="de-DE" sz="1500">
                  <a:solidFill>
                    <a:srgbClr val="003866"/>
                  </a:solidFill>
                  <a:latin typeface="Ubuntu" panose="020B0504030602030204" pitchFamily="34" charset="0"/>
                </a:rPr>
                <a:t>07745 Jena</a:t>
              </a:r>
            </a:p>
            <a:p>
              <a:pPr algn="l">
                <a:spcAft>
                  <a:spcPts val="300"/>
                </a:spcAft>
              </a:pPr>
              <a:r>
                <a:rPr lang="de-DE" sz="1500">
                  <a:solidFill>
                    <a:srgbClr val="003866"/>
                  </a:solidFill>
                  <a:latin typeface="Ubuntu" panose="020B0504030602030204" pitchFamily="34" charset="0"/>
                </a:rPr>
                <a:t>Germany</a:t>
              </a:r>
            </a:p>
          </p:txBody>
        </p:sp>
      </p:grpSp>
      <p:grpSp>
        <p:nvGrpSpPr>
          <p:cNvPr id="32" name="Gruppieren 31">
            <a:extLst>
              <a:ext uri="{FF2B5EF4-FFF2-40B4-BE49-F238E27FC236}">
                <a16:creationId xmlns:a16="http://schemas.microsoft.com/office/drawing/2014/main" id="{6F991183-1DDE-43EE-8433-42AAC48F0B35}"/>
              </a:ext>
            </a:extLst>
          </p:cNvPr>
          <p:cNvGrpSpPr/>
          <p:nvPr userDrawn="1"/>
        </p:nvGrpSpPr>
        <p:grpSpPr>
          <a:xfrm>
            <a:off x="9336000" y="4284000"/>
            <a:ext cx="2405521" cy="1267538"/>
            <a:chOff x="8648932" y="5073403"/>
            <a:chExt cx="2405521" cy="1267538"/>
          </a:xfrm>
        </p:grpSpPr>
        <p:grpSp>
          <p:nvGrpSpPr>
            <p:cNvPr id="13" name="Gruppieren 12">
              <a:extLst>
                <a:ext uri="{FF2B5EF4-FFF2-40B4-BE49-F238E27FC236}">
                  <a16:creationId xmlns:a16="http://schemas.microsoft.com/office/drawing/2014/main" id="{9EBED89D-9F2C-4F09-AF00-C495D368CEF8}"/>
                </a:ext>
              </a:extLst>
            </p:cNvPr>
            <p:cNvGrpSpPr/>
            <p:nvPr userDrawn="1"/>
          </p:nvGrpSpPr>
          <p:grpSpPr>
            <a:xfrm>
              <a:off x="8648932" y="5073403"/>
              <a:ext cx="2070493" cy="323165"/>
              <a:chOff x="9581694" y="5634000"/>
              <a:chExt cx="2070493" cy="323165"/>
            </a:xfrm>
          </p:grpSpPr>
          <p:pic>
            <p:nvPicPr>
              <p:cNvPr id="6" name="Grafik 5" descr="Hörer">
                <a:extLst>
                  <a:ext uri="{FF2B5EF4-FFF2-40B4-BE49-F238E27FC236}">
                    <a16:creationId xmlns:a16="http://schemas.microsoft.com/office/drawing/2014/main" id="{811CD252-89BB-4BEF-A8FF-B14B67E8BF2A}"/>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81694" y="5660582"/>
                <a:ext cx="270000" cy="270000"/>
              </a:xfrm>
              <a:prstGeom prst="rect">
                <a:avLst/>
              </a:prstGeom>
            </p:spPr>
          </p:pic>
          <p:sp>
            <p:nvSpPr>
              <p:cNvPr id="12" name="Textfeld 11">
                <a:extLst>
                  <a:ext uri="{FF2B5EF4-FFF2-40B4-BE49-F238E27FC236}">
                    <a16:creationId xmlns:a16="http://schemas.microsoft.com/office/drawing/2014/main" id="{5218C54D-E996-4077-95B7-AE38D188A9C8}"/>
                  </a:ext>
                </a:extLst>
              </p:cNvPr>
              <p:cNvSpPr txBox="1"/>
              <p:nvPr userDrawn="1"/>
            </p:nvSpPr>
            <p:spPr>
              <a:xfrm>
                <a:off x="9851694" y="5634000"/>
                <a:ext cx="1800493" cy="323165"/>
              </a:xfrm>
              <a:prstGeom prst="rect">
                <a:avLst/>
              </a:prstGeom>
            </p:spPr>
            <p:txBody>
              <a:bodyPr vert="horz" wrap="none" lIns="91440" tIns="45720" rIns="9144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500">
                    <a:solidFill>
                      <a:srgbClr val="003866"/>
                    </a:solidFill>
                    <a:latin typeface="Ubuntu" panose="020B0504030602030204" pitchFamily="34" charset="0"/>
                  </a:rPr>
                  <a:t>+49 3641 2719321</a:t>
                </a:r>
              </a:p>
            </p:txBody>
          </p:sp>
        </p:grpSp>
        <p:grpSp>
          <p:nvGrpSpPr>
            <p:cNvPr id="15" name="Gruppieren 14">
              <a:extLst>
                <a:ext uri="{FF2B5EF4-FFF2-40B4-BE49-F238E27FC236}">
                  <a16:creationId xmlns:a16="http://schemas.microsoft.com/office/drawing/2014/main" id="{62BCBF15-A550-46BC-BBED-06792B9EEEF7}"/>
                </a:ext>
              </a:extLst>
            </p:cNvPr>
            <p:cNvGrpSpPr/>
            <p:nvPr userDrawn="1"/>
          </p:nvGrpSpPr>
          <p:grpSpPr>
            <a:xfrm>
              <a:off x="8648932" y="5426640"/>
              <a:ext cx="2070493" cy="323165"/>
              <a:chOff x="9581693" y="5926982"/>
              <a:chExt cx="2070493" cy="323165"/>
            </a:xfrm>
          </p:grpSpPr>
          <p:pic>
            <p:nvPicPr>
              <p:cNvPr id="11" name="Grafik 10" descr="Fax">
                <a:extLst>
                  <a:ext uri="{FF2B5EF4-FFF2-40B4-BE49-F238E27FC236}">
                    <a16:creationId xmlns:a16="http://schemas.microsoft.com/office/drawing/2014/main" id="{FEC9054D-F75D-4778-B71A-E63F67BEA3FA}"/>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581693" y="5948614"/>
                <a:ext cx="270000" cy="270000"/>
              </a:xfrm>
              <a:prstGeom prst="rect">
                <a:avLst/>
              </a:prstGeom>
            </p:spPr>
          </p:pic>
          <p:sp>
            <p:nvSpPr>
              <p:cNvPr id="28" name="Textfeld 27">
                <a:extLst>
                  <a:ext uri="{FF2B5EF4-FFF2-40B4-BE49-F238E27FC236}">
                    <a16:creationId xmlns:a16="http://schemas.microsoft.com/office/drawing/2014/main" id="{BA2113A1-4877-4895-9EE3-4E749EED2784}"/>
                  </a:ext>
                </a:extLst>
              </p:cNvPr>
              <p:cNvSpPr txBox="1"/>
              <p:nvPr userDrawn="1"/>
            </p:nvSpPr>
            <p:spPr>
              <a:xfrm>
                <a:off x="9851693" y="5926982"/>
                <a:ext cx="1800493" cy="323165"/>
              </a:xfrm>
              <a:prstGeom prst="rect">
                <a:avLst/>
              </a:prstGeom>
            </p:spPr>
            <p:txBody>
              <a:bodyPr vert="horz" wrap="none" lIns="91440" tIns="45720" rIns="9144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500">
                    <a:solidFill>
                      <a:srgbClr val="003866"/>
                    </a:solidFill>
                    <a:latin typeface="Ubuntu" panose="020B0504030602030204" pitchFamily="34" charset="0"/>
                  </a:rPr>
                  <a:t>+49 3641 2719323</a:t>
                </a:r>
              </a:p>
            </p:txBody>
          </p:sp>
        </p:grpSp>
        <p:grpSp>
          <p:nvGrpSpPr>
            <p:cNvPr id="31" name="Gruppieren 30">
              <a:extLst>
                <a:ext uri="{FF2B5EF4-FFF2-40B4-BE49-F238E27FC236}">
                  <a16:creationId xmlns:a16="http://schemas.microsoft.com/office/drawing/2014/main" id="{C5646013-3BCE-4964-8493-CFB77D37AB6D}"/>
                </a:ext>
              </a:extLst>
            </p:cNvPr>
            <p:cNvGrpSpPr/>
            <p:nvPr userDrawn="1"/>
          </p:nvGrpSpPr>
          <p:grpSpPr>
            <a:xfrm>
              <a:off x="8648932" y="6017776"/>
              <a:ext cx="2405521" cy="323165"/>
              <a:chOff x="7716172" y="6091022"/>
              <a:chExt cx="2405521" cy="323165"/>
            </a:xfrm>
          </p:grpSpPr>
          <p:pic>
            <p:nvPicPr>
              <p:cNvPr id="3" name="Grafik 2" descr="Umschlag">
                <a:extLst>
                  <a:ext uri="{FF2B5EF4-FFF2-40B4-BE49-F238E27FC236}">
                    <a16:creationId xmlns:a16="http://schemas.microsoft.com/office/drawing/2014/main" id="{1B03E5CF-0D55-4FE7-9477-169F9657B1B6}"/>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6172" y="6117604"/>
                <a:ext cx="270000" cy="270000"/>
              </a:xfrm>
              <a:prstGeom prst="rect">
                <a:avLst/>
              </a:prstGeom>
            </p:spPr>
          </p:pic>
          <p:sp>
            <p:nvSpPr>
              <p:cNvPr id="30" name="Textfeld 29">
                <a:extLst>
                  <a:ext uri="{FF2B5EF4-FFF2-40B4-BE49-F238E27FC236}">
                    <a16:creationId xmlns:a16="http://schemas.microsoft.com/office/drawing/2014/main" id="{77AE2A08-9520-447A-BE18-33D4AB072266}"/>
                  </a:ext>
                </a:extLst>
              </p:cNvPr>
              <p:cNvSpPr txBox="1"/>
              <p:nvPr userDrawn="1"/>
            </p:nvSpPr>
            <p:spPr>
              <a:xfrm>
                <a:off x="7986172" y="6091022"/>
                <a:ext cx="2135521" cy="323165"/>
              </a:xfrm>
              <a:prstGeom prst="rect">
                <a:avLst/>
              </a:prstGeom>
            </p:spPr>
            <p:txBody>
              <a:bodyPr vert="horz" wrap="none" lIns="91440" tIns="45720" rIns="91440" bIns="45720" rtlCol="0" anchor="t" anchorCtr="0">
                <a:spAutoFit/>
              </a:bodyPr>
              <a:lstStyle/>
              <a:p>
                <a:pPr marL="0" algn="l">
                  <a:spcBef>
                    <a:spcPts val="0"/>
                  </a:spcBef>
                  <a:spcAft>
                    <a:spcPts val="300"/>
                  </a:spcAft>
                  <a:tabLst>
                    <a:tab pos="307975" algn="l"/>
                  </a:tabLst>
                </a:pPr>
                <a:r>
                  <a:rPr lang="de-DE" sz="1500">
                    <a:solidFill>
                      <a:srgbClr val="003866"/>
                    </a:solidFill>
                    <a:latin typeface="Ubuntu" panose="020B0504030602030204" pitchFamily="34" charset="0"/>
                  </a:rPr>
                  <a:t>info@mi2-factory.com</a:t>
                </a:r>
              </a:p>
            </p:txBody>
          </p:sp>
        </p:grpSp>
        <p:grpSp>
          <p:nvGrpSpPr>
            <p:cNvPr id="18" name="Gruppieren 17">
              <a:extLst>
                <a:ext uri="{FF2B5EF4-FFF2-40B4-BE49-F238E27FC236}">
                  <a16:creationId xmlns:a16="http://schemas.microsoft.com/office/drawing/2014/main" id="{7C971AB3-6BA5-4BFC-AEC1-FBD9313ADDD1}"/>
                </a:ext>
              </a:extLst>
            </p:cNvPr>
            <p:cNvGrpSpPr/>
            <p:nvPr userDrawn="1"/>
          </p:nvGrpSpPr>
          <p:grpSpPr>
            <a:xfrm>
              <a:off x="8651255" y="5721193"/>
              <a:ext cx="2370684" cy="323165"/>
              <a:chOff x="8914031" y="5898010"/>
              <a:chExt cx="2370684" cy="323165"/>
            </a:xfrm>
          </p:grpSpPr>
          <p:sp>
            <p:nvSpPr>
              <p:cNvPr id="29" name="Textfeld 28">
                <a:extLst>
                  <a:ext uri="{FF2B5EF4-FFF2-40B4-BE49-F238E27FC236}">
                    <a16:creationId xmlns:a16="http://schemas.microsoft.com/office/drawing/2014/main" id="{3FB470C9-BAD5-491E-B742-EA5E3877CCA3}"/>
                  </a:ext>
                </a:extLst>
              </p:cNvPr>
              <p:cNvSpPr txBox="1"/>
              <p:nvPr userDrawn="1"/>
            </p:nvSpPr>
            <p:spPr>
              <a:xfrm>
                <a:off x="9182858" y="5898010"/>
                <a:ext cx="2101857" cy="323165"/>
              </a:xfrm>
              <a:prstGeom prst="rect">
                <a:avLst/>
              </a:prstGeom>
            </p:spPr>
            <p:txBody>
              <a:bodyPr vert="horz" wrap="none" lIns="91440" tIns="45720" rIns="91440" bIns="45720" rtlCol="0" anchor="t" anchorCtr="0">
                <a:spAutoFit/>
              </a:bodyPr>
              <a:lstStyle/>
              <a:p>
                <a:pPr marL="0" algn="l">
                  <a:spcBef>
                    <a:spcPts val="0"/>
                  </a:spcBef>
                  <a:spcAft>
                    <a:spcPts val="300"/>
                  </a:spcAft>
                  <a:tabLst>
                    <a:tab pos="307975" algn="l"/>
                  </a:tabLst>
                </a:pPr>
                <a:r>
                  <a:rPr lang="de-DE" sz="1500">
                    <a:solidFill>
                      <a:srgbClr val="003866"/>
                    </a:solidFill>
                    <a:latin typeface="Ubuntu" panose="020B0504030602030204" pitchFamily="34" charset="0"/>
                  </a:rPr>
                  <a:t>www.mi2-factory.com</a:t>
                </a:r>
              </a:p>
            </p:txBody>
          </p:sp>
          <p:pic>
            <p:nvPicPr>
              <p:cNvPr id="17" name="Grafik 16" descr="Welt">
                <a:extLst>
                  <a:ext uri="{FF2B5EF4-FFF2-40B4-BE49-F238E27FC236}">
                    <a16:creationId xmlns:a16="http://schemas.microsoft.com/office/drawing/2014/main" id="{5843963E-B4E2-4DF1-B615-FC16D50EB8DA}"/>
                  </a:ext>
                </a:extLst>
              </p:cNvPr>
              <p:cNvPicPr>
                <a:picLocks noChangeAspect="1"/>
              </p:cNvPicPr>
              <p:nvPr userDrawn="1"/>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14031" y="5924592"/>
                <a:ext cx="270000" cy="270000"/>
              </a:xfrm>
              <a:prstGeom prst="rect">
                <a:avLst/>
              </a:prstGeom>
            </p:spPr>
          </p:pic>
        </p:grpSp>
      </p:grpSp>
      <p:sp>
        <p:nvSpPr>
          <p:cNvPr id="24" name="Rechteck 23">
            <a:extLst>
              <a:ext uri="{FF2B5EF4-FFF2-40B4-BE49-F238E27FC236}">
                <a16:creationId xmlns:a16="http://schemas.microsoft.com/office/drawing/2014/main" id="{114F26AD-6D46-4B00-AE6D-FB0746E6DF27}"/>
              </a:ext>
            </a:extLst>
          </p:cNvPr>
          <p:cNvSpPr/>
          <p:nvPr userDrawn="1"/>
        </p:nvSpPr>
        <p:spPr>
          <a:xfrm>
            <a:off x="0" y="3429000"/>
            <a:ext cx="11160000" cy="54000"/>
          </a:xfrm>
          <a:prstGeom prst="rect">
            <a:avLst/>
          </a:prstGeom>
          <a:gradFill flip="none" rotWithShape="1">
            <a:gsLst>
              <a:gs pos="50000">
                <a:srgbClr val="E62D2C"/>
              </a:gs>
              <a:gs pos="100000">
                <a:srgbClr val="E3E4E8">
                  <a:alpha val="25000"/>
                </a:srgb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5" name="Grafik 24">
            <a:extLst>
              <a:ext uri="{FF2B5EF4-FFF2-40B4-BE49-F238E27FC236}">
                <a16:creationId xmlns:a16="http://schemas.microsoft.com/office/drawing/2014/main" id="{9C2D38E8-0A28-4A76-A71D-36E831EA9E6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233787" y="43961"/>
            <a:ext cx="1417243" cy="540000"/>
          </a:xfrm>
          <a:prstGeom prst="rect">
            <a:avLst/>
          </a:prstGeom>
        </p:spPr>
      </p:pic>
    </p:spTree>
    <p:extLst>
      <p:ext uri="{BB962C8B-B14F-4D97-AF65-F5344CB8AC3E}">
        <p14:creationId xmlns:p14="http://schemas.microsoft.com/office/powerpoint/2010/main" val="408817601"/>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irmenfoli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070738A9-71AA-4E96-8237-B4CF823D0F8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4" y="0"/>
            <a:ext cx="12190612" cy="6858000"/>
          </a:xfrm>
          <a:prstGeom prst="rect">
            <a:avLst/>
          </a:prstGeom>
        </p:spPr>
      </p:pic>
      <p:pic>
        <p:nvPicPr>
          <p:cNvPr id="23" name="Grafik 22">
            <a:extLst>
              <a:ext uri="{FF2B5EF4-FFF2-40B4-BE49-F238E27FC236}">
                <a16:creationId xmlns:a16="http://schemas.microsoft.com/office/drawing/2014/main" id="{AD59AFB0-C061-499D-993B-6B8363762D9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31000" y="1359000"/>
            <a:ext cx="5668966" cy="2160000"/>
          </a:xfrm>
          <a:prstGeom prst="rect">
            <a:avLst/>
          </a:prstGeom>
        </p:spPr>
      </p:pic>
      <p:sp>
        <p:nvSpPr>
          <p:cNvPr id="2" name="Rechteck 1">
            <a:extLst>
              <a:ext uri="{FF2B5EF4-FFF2-40B4-BE49-F238E27FC236}">
                <a16:creationId xmlns:a16="http://schemas.microsoft.com/office/drawing/2014/main" id="{834834EE-9660-49C8-865D-CE8F33B19685}"/>
              </a:ext>
            </a:extLst>
          </p:cNvPr>
          <p:cNvSpPr/>
          <p:nvPr userDrawn="1"/>
        </p:nvSpPr>
        <p:spPr>
          <a:xfrm>
            <a:off x="0" y="3817226"/>
            <a:ext cx="11160000" cy="540000"/>
          </a:xfrm>
          <a:prstGeom prst="rect">
            <a:avLst/>
          </a:prstGeom>
          <a:gradFill flip="none" rotWithShape="1">
            <a:gsLst>
              <a:gs pos="50000">
                <a:srgbClr val="E62D2C"/>
              </a:gs>
              <a:gs pos="100000">
                <a:srgbClr val="E3E4E8">
                  <a:alpha val="25000"/>
                </a:srgb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Textfeld 25">
            <a:extLst>
              <a:ext uri="{FF2B5EF4-FFF2-40B4-BE49-F238E27FC236}">
                <a16:creationId xmlns:a16="http://schemas.microsoft.com/office/drawing/2014/main" id="{FE399674-2EE2-4639-AE8E-180D1A5B86CE}"/>
              </a:ext>
            </a:extLst>
          </p:cNvPr>
          <p:cNvSpPr txBox="1"/>
          <p:nvPr userDrawn="1"/>
        </p:nvSpPr>
        <p:spPr>
          <a:xfrm>
            <a:off x="1877438" y="3810227"/>
            <a:ext cx="7101624" cy="553998"/>
          </a:xfrm>
          <a:prstGeom prst="rect">
            <a:avLst/>
          </a:prstGeom>
          <a:noFill/>
        </p:spPr>
        <p:txBody>
          <a:bodyPr wrap="none" rtlCol="0">
            <a:spAutoFit/>
          </a:bodyPr>
          <a:lstStyle/>
          <a:p>
            <a:r>
              <a:rPr lang="de-DE" sz="3000" b="1" err="1">
                <a:solidFill>
                  <a:schemeClr val="bg1"/>
                </a:solidFill>
                <a:latin typeface="Ubuntu" panose="020B0504030602030204" pitchFamily="34" charset="0"/>
              </a:rPr>
              <a:t>Innovating</a:t>
            </a:r>
            <a:r>
              <a:rPr lang="de-DE" sz="3000" b="1">
                <a:solidFill>
                  <a:schemeClr val="bg1"/>
                </a:solidFill>
                <a:latin typeface="Ubuntu" panose="020B0504030602030204" pitchFamily="34" charset="0"/>
              </a:rPr>
              <a:t> Semiconductor Processing</a:t>
            </a:r>
            <a:endParaRPr lang="en-US" sz="3000" b="1">
              <a:solidFill>
                <a:schemeClr val="bg1"/>
              </a:solidFill>
              <a:latin typeface="Ubuntu" panose="020B0504030602030204" pitchFamily="34" charset="0"/>
            </a:endParaRPr>
          </a:p>
        </p:txBody>
      </p:sp>
    </p:spTree>
    <p:extLst>
      <p:ext uri="{BB962C8B-B14F-4D97-AF65-F5344CB8AC3E}">
        <p14:creationId xmlns:p14="http://schemas.microsoft.com/office/powerpoint/2010/main" val="203535215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elfolie">
    <p:bg>
      <p:bgPr>
        <a:solidFill>
          <a:schemeClr val="bg1">
            <a:alpha val="50000"/>
          </a:schemeClr>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6062BD6B-AA97-40C1-9155-64858EEA307B}"/>
              </a:ext>
            </a:extLst>
          </p:cNvPr>
          <p:cNvPicPr>
            <a:picLocks noChangeAspect="1"/>
          </p:cNvPicPr>
          <p:nvPr userDrawn="1"/>
        </p:nvPicPr>
        <p:blipFill>
          <a:blip r:embed="rId2">
            <a:alphaModFix amt="5000"/>
            <a:extLst>
              <a:ext uri="{28A0092B-C50C-407E-A947-70E740481C1C}">
                <a14:useLocalDpi xmlns:a14="http://schemas.microsoft.com/office/drawing/2010/main" val="0"/>
              </a:ext>
            </a:extLst>
          </a:blip>
          <a:stretch>
            <a:fillRect/>
          </a:stretch>
        </p:blipFill>
        <p:spPr>
          <a:xfrm flipH="1">
            <a:off x="110442" y="279001"/>
            <a:ext cx="7515558" cy="6479998"/>
          </a:xfrm>
          <a:prstGeom prst="rect">
            <a:avLst/>
          </a:prstGeom>
        </p:spPr>
      </p:pic>
      <p:sp>
        <p:nvSpPr>
          <p:cNvPr id="18" name="Titel 1">
            <a:extLst>
              <a:ext uri="{FF2B5EF4-FFF2-40B4-BE49-F238E27FC236}">
                <a16:creationId xmlns:a16="http://schemas.microsoft.com/office/drawing/2014/main" id="{87B9D4B0-2BA8-4BBC-A3CE-EEB93BE1020B}"/>
              </a:ext>
            </a:extLst>
          </p:cNvPr>
          <p:cNvSpPr>
            <a:spLocks noGrp="1"/>
          </p:cNvSpPr>
          <p:nvPr>
            <p:ph type="title" hasCustomPrompt="1"/>
          </p:nvPr>
        </p:nvSpPr>
        <p:spPr>
          <a:xfrm>
            <a:off x="696000" y="2718036"/>
            <a:ext cx="10800000" cy="646331"/>
          </a:xfrm>
        </p:spPr>
        <p:txBody>
          <a:bodyPr>
            <a:spAutoFit/>
          </a:bodyPr>
          <a:lstStyle>
            <a:lvl1pPr algn="ctr">
              <a:defRPr sz="4000">
                <a:solidFill>
                  <a:srgbClr val="003866"/>
                </a:solidFill>
                <a:latin typeface="Ubuntu" panose="020B0504030602030204" pitchFamily="34" charset="0"/>
              </a:defRPr>
            </a:lvl1pPr>
          </a:lstStyle>
          <a:p>
            <a:r>
              <a:rPr lang="de-DE"/>
              <a:t>Titelmasterformat durch Klicken bearbeiten</a:t>
            </a:r>
            <a:endParaRPr lang="en-US"/>
          </a:p>
        </p:txBody>
      </p:sp>
      <p:pic>
        <p:nvPicPr>
          <p:cNvPr id="13" name="Grafik 12">
            <a:extLst>
              <a:ext uri="{FF2B5EF4-FFF2-40B4-BE49-F238E27FC236}">
                <a16:creationId xmlns:a16="http://schemas.microsoft.com/office/drawing/2014/main" id="{34257389-7D38-439D-9118-2079964480E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33787" y="43961"/>
            <a:ext cx="1417243" cy="540000"/>
          </a:xfrm>
          <a:prstGeom prst="rect">
            <a:avLst/>
          </a:prstGeom>
        </p:spPr>
      </p:pic>
      <p:sp>
        <p:nvSpPr>
          <p:cNvPr id="14" name="Rechteck 13">
            <a:extLst>
              <a:ext uri="{FF2B5EF4-FFF2-40B4-BE49-F238E27FC236}">
                <a16:creationId xmlns:a16="http://schemas.microsoft.com/office/drawing/2014/main" id="{3CD1FE26-5911-4C7F-B643-D2FA72BB9CDB}"/>
              </a:ext>
            </a:extLst>
          </p:cNvPr>
          <p:cNvSpPr/>
          <p:nvPr userDrawn="1"/>
        </p:nvSpPr>
        <p:spPr>
          <a:xfrm rot="16200000" flipH="1">
            <a:off x="6187200" y="853200"/>
            <a:ext cx="360000" cy="11649600"/>
          </a:xfrm>
          <a:prstGeom prst="rect">
            <a:avLst/>
          </a:prstGeom>
          <a:gradFill>
            <a:gsLst>
              <a:gs pos="50000">
                <a:srgbClr val="003866"/>
              </a:gs>
              <a:gs pos="100000">
                <a:schemeClr val="bg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0" name="Rechteck 9">
            <a:extLst>
              <a:ext uri="{FF2B5EF4-FFF2-40B4-BE49-F238E27FC236}">
                <a16:creationId xmlns:a16="http://schemas.microsoft.com/office/drawing/2014/main" id="{0B497106-BE05-4199-87F6-0A283F372ED9}"/>
              </a:ext>
            </a:extLst>
          </p:cNvPr>
          <p:cNvSpPr/>
          <p:nvPr userDrawn="1"/>
        </p:nvSpPr>
        <p:spPr>
          <a:xfrm rot="5400000" flipH="1">
            <a:off x="5797085" y="-2359727"/>
            <a:ext cx="54000" cy="11651030"/>
          </a:xfrm>
          <a:prstGeom prst="rect">
            <a:avLst/>
          </a:prstGeom>
          <a:gradFill>
            <a:gsLst>
              <a:gs pos="50000">
                <a:srgbClr val="E62D2C"/>
              </a:gs>
              <a:gs pos="100000">
                <a:schemeClr val="bg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 name="Fußzeilenplatzhalter 15">
            <a:extLst>
              <a:ext uri="{FF2B5EF4-FFF2-40B4-BE49-F238E27FC236}">
                <a16:creationId xmlns:a16="http://schemas.microsoft.com/office/drawing/2014/main" id="{EA936589-1E87-2EF8-F1FD-9F3EE7DA2C26}"/>
              </a:ext>
            </a:extLst>
          </p:cNvPr>
          <p:cNvSpPr>
            <a:spLocks noGrp="1"/>
          </p:cNvSpPr>
          <p:nvPr>
            <p:ph type="ftr" sz="quarter" idx="11"/>
          </p:nvPr>
        </p:nvSpPr>
        <p:spPr>
          <a:xfrm>
            <a:off x="4038600" y="6498000"/>
            <a:ext cx="4114800" cy="360000"/>
          </a:xfrm>
        </p:spPr>
        <p:txBody>
          <a:bodyPr/>
          <a:lstStyle>
            <a:lvl1pPr>
              <a:defRPr sz="1000">
                <a:solidFill>
                  <a:schemeClr val="bg1"/>
                </a:solidFill>
                <a:latin typeface="Ubuntu" panose="020B0504030602030204" pitchFamily="34" charset="0"/>
              </a:defRPr>
            </a:lvl1pPr>
          </a:lstStyle>
          <a:p>
            <a:endParaRPr lang="en-US"/>
          </a:p>
        </p:txBody>
      </p:sp>
      <p:sp>
        <p:nvSpPr>
          <p:cNvPr id="4" name="Foliennummernplatzhalter 16">
            <a:extLst>
              <a:ext uri="{FF2B5EF4-FFF2-40B4-BE49-F238E27FC236}">
                <a16:creationId xmlns:a16="http://schemas.microsoft.com/office/drawing/2014/main" id="{9B041AB7-BF4C-FCA8-60CA-13BC6A6A5BA8}"/>
              </a:ext>
            </a:extLst>
          </p:cNvPr>
          <p:cNvSpPr>
            <a:spLocks noGrp="1"/>
          </p:cNvSpPr>
          <p:nvPr>
            <p:ph type="sldNum" sz="quarter" idx="12"/>
          </p:nvPr>
        </p:nvSpPr>
        <p:spPr>
          <a:xfrm>
            <a:off x="8862672" y="6498000"/>
            <a:ext cx="2742230" cy="360000"/>
          </a:xfrm>
        </p:spPr>
        <p:txBody>
          <a:bodyPr/>
          <a:lstStyle>
            <a:lvl1pPr>
              <a:defRPr sz="1000">
                <a:solidFill>
                  <a:schemeClr val="bg1"/>
                </a:solidFill>
                <a:latin typeface="Ubuntu" panose="020B0504030602030204" pitchFamily="34" charset="0"/>
              </a:defRPr>
            </a:lvl1pPr>
          </a:lstStyle>
          <a:p>
            <a:fld id="{708729A6-E271-4FEB-B205-D9AFCE75854C}" type="slidenum">
              <a:rPr lang="en-US" smtClean="0"/>
              <a:pPr/>
              <a:t>‹Nr.›</a:t>
            </a:fld>
            <a:endParaRPr lang="en-US"/>
          </a:p>
        </p:txBody>
      </p:sp>
    </p:spTree>
    <p:extLst>
      <p:ext uri="{BB962C8B-B14F-4D97-AF65-F5344CB8AC3E}">
        <p14:creationId xmlns:p14="http://schemas.microsoft.com/office/powerpoint/2010/main" val="6903249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Aufzählung">
    <p:spTree>
      <p:nvGrpSpPr>
        <p:cNvPr id="1" name=""/>
        <p:cNvGrpSpPr/>
        <p:nvPr/>
      </p:nvGrpSpPr>
      <p:grpSpPr>
        <a:xfrm>
          <a:off x="0" y="0"/>
          <a:ext cx="0" cy="0"/>
          <a:chOff x="0" y="0"/>
          <a:chExt cx="0" cy="0"/>
        </a:xfrm>
      </p:grpSpPr>
      <p:sp>
        <p:nvSpPr>
          <p:cNvPr id="2" name="Titel 1"/>
          <p:cNvSpPr>
            <a:spLocks noGrp="1"/>
          </p:cNvSpPr>
          <p:nvPr>
            <p:ph type="title"/>
          </p:nvPr>
        </p:nvSpPr>
        <p:spPr>
          <a:xfrm>
            <a:off x="923368" y="908719"/>
            <a:ext cx="8557008" cy="774491"/>
          </a:xfrm>
        </p:spPr>
        <p:txBody>
          <a:bodyPr/>
          <a:lstStyle/>
          <a:p>
            <a:r>
              <a:rPr lang="de-DE" dirty="0"/>
              <a:t>Titelmasterformat durch Klicken bearbeiten</a:t>
            </a:r>
          </a:p>
        </p:txBody>
      </p:sp>
      <p:sp>
        <p:nvSpPr>
          <p:cNvPr id="3" name="Foliennummernplatzhalter 2"/>
          <p:cNvSpPr>
            <a:spLocks noGrp="1"/>
          </p:cNvSpPr>
          <p:nvPr>
            <p:ph type="sldNum" sz="quarter" idx="10"/>
          </p:nvPr>
        </p:nvSpPr>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smtClean="0">
                <a:solidFill>
                  <a:schemeClr val="accent5"/>
                </a:solidFill>
              </a:rPr>
              <a:pPr algn="l" rtl="0"/>
              <a:t>‹Nr.›</a:t>
            </a:fld>
            <a:r>
              <a:rPr lang="en-GB" sz="1000" b="0" i="0" u="none" baseline="0">
                <a:solidFill>
                  <a:schemeClr val="accent5"/>
                </a:solidFill>
              </a:rPr>
              <a:t> </a:t>
            </a:r>
          </a:p>
        </p:txBody>
      </p:sp>
      <p:sp>
        <p:nvSpPr>
          <p:cNvPr id="5" name="Textplatzhalter 4"/>
          <p:cNvSpPr>
            <a:spLocks noGrp="1"/>
          </p:cNvSpPr>
          <p:nvPr>
            <p:ph type="body" sz="quarter" idx="15" hasCustomPrompt="1"/>
          </p:nvPr>
        </p:nvSpPr>
        <p:spPr>
          <a:xfrm>
            <a:off x="912285" y="1773239"/>
            <a:ext cx="10526183" cy="4535487"/>
          </a:xfrm>
        </p:spPr>
        <p:txBody>
          <a:bodyPr/>
          <a:lstStyle>
            <a:lvl1pPr marL="342900" indent="-342900" defTabSz="717550">
              <a:buClr>
                <a:schemeClr val="tx2"/>
              </a:buClr>
              <a:buFont typeface="Symbol" panose="05050102010706020507" pitchFamily="18" charset="2"/>
              <a:buChar char="-"/>
              <a:tabLst>
                <a:tab pos="7772400" algn="r"/>
              </a:tabLst>
              <a:defRPr u="sng" baseline="0">
                <a:solidFill>
                  <a:schemeClr val="accent5"/>
                </a:solidFill>
                <a:uFill>
                  <a:solidFill>
                    <a:schemeClr val="accent5">
                      <a:lumMod val="20000"/>
                      <a:lumOff val="80000"/>
                    </a:schemeClr>
                  </a:solidFill>
                </a:uFill>
              </a:defRPr>
            </a:lvl1pPr>
          </a:lstStyle>
          <a:p>
            <a:pPr algn="l" rtl="0"/>
            <a:r>
              <a:rPr lang="en-GB" b="0" i="0" u="none" baseline="0" dirty="0"/>
              <a:t>…</a:t>
            </a: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20000" y="540000"/>
            <a:ext cx="1812610" cy="560924"/>
          </a:xfrm>
          <a:prstGeom prst="rect">
            <a:avLst/>
          </a:prstGeom>
        </p:spPr>
      </p:pic>
      <p:pic>
        <p:nvPicPr>
          <p:cNvPr id="8" name="Grafik 7">
            <a:extLst>
              <a:ext uri="{FF2B5EF4-FFF2-40B4-BE49-F238E27FC236}">
                <a16:creationId xmlns:a16="http://schemas.microsoft.com/office/drawing/2014/main" id="{A9BA0A21-1AFE-4373-928E-76828F7E1D40}"/>
              </a:ext>
            </a:extLst>
          </p:cNvPr>
          <p:cNvPicPr>
            <a:picLocks noChangeAspect="1"/>
          </p:cNvPicPr>
          <p:nvPr userDrawn="1"/>
        </p:nvPicPr>
        <p:blipFill rotWithShape="1">
          <a:blip r:embed="rId3"/>
          <a:srcRect l="11160" t="8732" r="10722" b="13048"/>
          <a:stretch/>
        </p:blipFill>
        <p:spPr>
          <a:xfrm>
            <a:off x="8184232" y="421809"/>
            <a:ext cx="1368152" cy="846951"/>
          </a:xfrm>
          <a:prstGeom prst="rect">
            <a:avLst/>
          </a:prstGeom>
        </p:spPr>
      </p:pic>
    </p:spTree>
    <p:extLst>
      <p:ext uri="{BB962C8B-B14F-4D97-AF65-F5344CB8AC3E}">
        <p14:creationId xmlns:p14="http://schemas.microsoft.com/office/powerpoint/2010/main" val="22681853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haltsfolie">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D57AF441-0307-436A-BDAA-A22E5740890E}"/>
              </a:ext>
            </a:extLst>
          </p:cNvPr>
          <p:cNvSpPr/>
          <p:nvPr userDrawn="1"/>
        </p:nvSpPr>
        <p:spPr>
          <a:xfrm rot="16200000" flipH="1">
            <a:off x="6186485" y="852485"/>
            <a:ext cx="360000" cy="11651030"/>
          </a:xfrm>
          <a:prstGeom prst="rect">
            <a:avLst/>
          </a:prstGeom>
          <a:gradFill>
            <a:gsLst>
              <a:gs pos="50000">
                <a:srgbClr val="003866"/>
              </a:gs>
              <a:gs pos="100000">
                <a:schemeClr val="bg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3" name="Titel 1">
            <a:extLst>
              <a:ext uri="{FF2B5EF4-FFF2-40B4-BE49-F238E27FC236}">
                <a16:creationId xmlns:a16="http://schemas.microsoft.com/office/drawing/2014/main" id="{23D3752C-FD5D-49E2-A602-11BC907F9B02}"/>
              </a:ext>
            </a:extLst>
          </p:cNvPr>
          <p:cNvSpPr>
            <a:spLocks noGrp="1"/>
          </p:cNvSpPr>
          <p:nvPr>
            <p:ph type="title" hasCustomPrompt="1"/>
          </p:nvPr>
        </p:nvSpPr>
        <p:spPr>
          <a:xfrm>
            <a:off x="540000" y="60045"/>
            <a:ext cx="9000000" cy="507831"/>
          </a:xfrm>
        </p:spPr>
        <p:txBody>
          <a:bodyPr wrap="square">
            <a:spAutoFit/>
          </a:bodyPr>
          <a:lstStyle>
            <a:lvl1pPr>
              <a:defRPr sz="3000">
                <a:solidFill>
                  <a:srgbClr val="001A66"/>
                </a:solidFill>
                <a:latin typeface="Ubuntu" panose="020B0504030602030204" pitchFamily="34" charset="0"/>
              </a:defRPr>
            </a:lvl1pPr>
          </a:lstStyle>
          <a:p>
            <a:r>
              <a:rPr lang="de-DE"/>
              <a:t>Titelmasterformat durch Klicken bearbeiten</a:t>
            </a:r>
            <a:endParaRPr lang="en-US"/>
          </a:p>
        </p:txBody>
      </p:sp>
      <p:pic>
        <p:nvPicPr>
          <p:cNvPr id="21" name="Grafik 20">
            <a:extLst>
              <a:ext uri="{FF2B5EF4-FFF2-40B4-BE49-F238E27FC236}">
                <a16:creationId xmlns:a16="http://schemas.microsoft.com/office/drawing/2014/main" id="{2B15B4F0-1D63-4078-A550-236D98BC21C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33787" y="43961"/>
            <a:ext cx="1417243" cy="540000"/>
          </a:xfrm>
          <a:prstGeom prst="rect">
            <a:avLst/>
          </a:prstGeom>
        </p:spPr>
      </p:pic>
      <p:sp>
        <p:nvSpPr>
          <p:cNvPr id="26" name="Rechteck 25">
            <a:extLst>
              <a:ext uri="{FF2B5EF4-FFF2-40B4-BE49-F238E27FC236}">
                <a16:creationId xmlns:a16="http://schemas.microsoft.com/office/drawing/2014/main" id="{AB6E9A13-216A-4ED0-BE0C-ABAA72D003EC}"/>
              </a:ext>
            </a:extLst>
          </p:cNvPr>
          <p:cNvSpPr/>
          <p:nvPr userDrawn="1"/>
        </p:nvSpPr>
        <p:spPr>
          <a:xfrm rot="5400000" flipH="1">
            <a:off x="5798515" y="-5159515"/>
            <a:ext cx="54000" cy="11651030"/>
          </a:xfrm>
          <a:prstGeom prst="rect">
            <a:avLst/>
          </a:prstGeom>
          <a:gradFill>
            <a:gsLst>
              <a:gs pos="50000">
                <a:srgbClr val="E62D2C"/>
              </a:gs>
              <a:gs pos="100000">
                <a:schemeClr val="bg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5" name="Inhaltsplatzhalter 4">
            <a:extLst>
              <a:ext uri="{FF2B5EF4-FFF2-40B4-BE49-F238E27FC236}">
                <a16:creationId xmlns:a16="http://schemas.microsoft.com/office/drawing/2014/main" id="{C509BC93-08F4-4879-8827-0D7DF624574C}"/>
              </a:ext>
            </a:extLst>
          </p:cNvPr>
          <p:cNvSpPr>
            <a:spLocks noGrp="1"/>
          </p:cNvSpPr>
          <p:nvPr>
            <p:ph sz="quarter" idx="14"/>
          </p:nvPr>
        </p:nvSpPr>
        <p:spPr>
          <a:xfrm>
            <a:off x="540000" y="1140536"/>
            <a:ext cx="11111030" cy="1844608"/>
          </a:xfrm>
        </p:spPr>
        <p:txBody>
          <a:bodyPr wrap="square">
            <a:spAutoFit/>
          </a:bodyPr>
          <a:lstStyle>
            <a:lvl1pPr>
              <a:defRPr>
                <a:solidFill>
                  <a:srgbClr val="003866"/>
                </a:solidFill>
              </a:defRPr>
            </a:lvl1pPr>
            <a:lvl2pPr>
              <a:defRPr>
                <a:solidFill>
                  <a:srgbClr val="003866"/>
                </a:solidFill>
              </a:defRPr>
            </a:lvl2pPr>
            <a:lvl3pPr>
              <a:defRPr>
                <a:solidFill>
                  <a:srgbClr val="003866"/>
                </a:solidFill>
              </a:defRPr>
            </a:lvl3pPr>
            <a:lvl4pPr>
              <a:defRPr>
                <a:solidFill>
                  <a:srgbClr val="003866"/>
                </a:solidFill>
              </a:defRPr>
            </a:lvl4pPr>
            <a:lvl5pPr>
              <a:defRPr>
                <a:solidFill>
                  <a:srgbClr val="003866"/>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5">
            <a:extLst>
              <a:ext uri="{FF2B5EF4-FFF2-40B4-BE49-F238E27FC236}">
                <a16:creationId xmlns:a16="http://schemas.microsoft.com/office/drawing/2014/main" id="{4DF1B04E-D62A-4227-9983-33B999AFB7E5}"/>
              </a:ext>
            </a:extLst>
          </p:cNvPr>
          <p:cNvSpPr>
            <a:spLocks noGrp="1"/>
          </p:cNvSpPr>
          <p:nvPr>
            <p:ph type="ftr" sz="quarter" idx="11"/>
          </p:nvPr>
        </p:nvSpPr>
        <p:spPr>
          <a:xfrm>
            <a:off x="4038600" y="6498000"/>
            <a:ext cx="4114800" cy="360000"/>
          </a:xfrm>
        </p:spPr>
        <p:txBody>
          <a:bodyPr/>
          <a:lstStyle>
            <a:lvl1pPr>
              <a:defRPr sz="1000">
                <a:solidFill>
                  <a:schemeClr val="bg1"/>
                </a:solidFill>
                <a:latin typeface="Ubuntu" panose="020B0504030602030204" pitchFamily="34" charset="0"/>
              </a:defRPr>
            </a:lvl1pPr>
          </a:lstStyle>
          <a:p>
            <a:endParaRPr lang="en-US"/>
          </a:p>
        </p:txBody>
      </p:sp>
      <p:sp>
        <p:nvSpPr>
          <p:cNvPr id="3" name="Foliennummernplatzhalter 16">
            <a:extLst>
              <a:ext uri="{FF2B5EF4-FFF2-40B4-BE49-F238E27FC236}">
                <a16:creationId xmlns:a16="http://schemas.microsoft.com/office/drawing/2014/main" id="{236709EF-3770-F634-29B7-AF29C3D5ED15}"/>
              </a:ext>
            </a:extLst>
          </p:cNvPr>
          <p:cNvSpPr>
            <a:spLocks noGrp="1"/>
          </p:cNvSpPr>
          <p:nvPr>
            <p:ph type="sldNum" sz="quarter" idx="12"/>
          </p:nvPr>
        </p:nvSpPr>
        <p:spPr>
          <a:xfrm>
            <a:off x="8862672" y="6498000"/>
            <a:ext cx="2742230" cy="360000"/>
          </a:xfrm>
        </p:spPr>
        <p:txBody>
          <a:bodyPr/>
          <a:lstStyle>
            <a:lvl1pPr>
              <a:defRPr sz="1000">
                <a:solidFill>
                  <a:schemeClr val="bg1"/>
                </a:solidFill>
                <a:latin typeface="Ubuntu" panose="020B0504030602030204" pitchFamily="34" charset="0"/>
              </a:defRPr>
            </a:lvl1pPr>
          </a:lstStyle>
          <a:p>
            <a:fld id="{708729A6-E271-4FEB-B205-D9AFCE75854C}" type="slidenum">
              <a:rPr lang="en-US" smtClean="0"/>
              <a:pPr/>
              <a:t>‹Nr.›</a:t>
            </a:fld>
            <a:endParaRPr lang="en-US"/>
          </a:p>
        </p:txBody>
      </p:sp>
    </p:spTree>
    <p:extLst>
      <p:ext uri="{BB962C8B-B14F-4D97-AF65-F5344CB8AC3E}">
        <p14:creationId xmlns:p14="http://schemas.microsoft.com/office/powerpoint/2010/main" val="18790545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bschlussfolie">
    <p:spTree>
      <p:nvGrpSpPr>
        <p:cNvPr id="1" name=""/>
        <p:cNvGrpSpPr/>
        <p:nvPr/>
      </p:nvGrpSpPr>
      <p:grpSpPr>
        <a:xfrm>
          <a:off x="0" y="0"/>
          <a:ext cx="0" cy="0"/>
          <a:chOff x="0" y="0"/>
          <a:chExt cx="0" cy="0"/>
        </a:xfrm>
      </p:grpSpPr>
      <p:pic>
        <p:nvPicPr>
          <p:cNvPr id="21" name="Grafik 20">
            <a:extLst>
              <a:ext uri="{FF2B5EF4-FFF2-40B4-BE49-F238E27FC236}">
                <a16:creationId xmlns:a16="http://schemas.microsoft.com/office/drawing/2014/main" id="{CC0C4D46-6324-45FA-B38C-0091524512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4" y="0"/>
            <a:ext cx="12190612" cy="6858000"/>
          </a:xfrm>
          <a:prstGeom prst="rect">
            <a:avLst/>
          </a:prstGeom>
        </p:spPr>
      </p:pic>
      <p:sp>
        <p:nvSpPr>
          <p:cNvPr id="4" name="Textfeld 3">
            <a:extLst>
              <a:ext uri="{FF2B5EF4-FFF2-40B4-BE49-F238E27FC236}">
                <a16:creationId xmlns:a16="http://schemas.microsoft.com/office/drawing/2014/main" id="{56890509-C94A-46B2-B314-DF20A9985894}"/>
              </a:ext>
            </a:extLst>
          </p:cNvPr>
          <p:cNvSpPr txBox="1"/>
          <p:nvPr userDrawn="1"/>
        </p:nvSpPr>
        <p:spPr>
          <a:xfrm>
            <a:off x="2192499" y="2004943"/>
            <a:ext cx="7807002" cy="136191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US" sz="4000">
                <a:solidFill>
                  <a:srgbClr val="003866"/>
                </a:solidFill>
                <a:latin typeface="Ubuntu" panose="020B0504030602030204" pitchFamily="34" charset="0"/>
                <a:ea typeface="Ubuntu Medium"/>
                <a:cs typeface="Ubuntu Medium"/>
                <a:sym typeface="Ubuntu Medium"/>
              </a:rPr>
              <a:t>Thank You very much for</a:t>
            </a:r>
          </a:p>
          <a:p>
            <a:pPr marL="0" marR="0" lvl="0" indent="0" algn="ctr" defTabSz="914400" rtl="0" eaLnBrk="1" fontAlgn="auto" latinLnBrk="0" hangingPunct="1">
              <a:lnSpc>
                <a:spcPct val="100000"/>
              </a:lnSpc>
              <a:spcBef>
                <a:spcPts val="0"/>
              </a:spcBef>
              <a:spcAft>
                <a:spcPts val="300"/>
              </a:spcAft>
              <a:buClrTx/>
              <a:buSzTx/>
              <a:buFontTx/>
              <a:buNone/>
              <a:tabLst/>
              <a:defRPr/>
            </a:pPr>
            <a:r>
              <a:rPr lang="en-US" sz="4000">
                <a:solidFill>
                  <a:srgbClr val="003866"/>
                </a:solidFill>
                <a:latin typeface="Ubuntu" panose="020B0504030602030204" pitchFamily="34" charset="0"/>
                <a:ea typeface="Ubuntu Medium"/>
                <a:cs typeface="Ubuntu Medium"/>
                <a:sym typeface="Ubuntu Medium"/>
              </a:rPr>
              <a:t>Your attention and interest!</a:t>
            </a:r>
          </a:p>
        </p:txBody>
      </p:sp>
      <p:grpSp>
        <p:nvGrpSpPr>
          <p:cNvPr id="43" name="Gruppieren 42">
            <a:extLst>
              <a:ext uri="{FF2B5EF4-FFF2-40B4-BE49-F238E27FC236}">
                <a16:creationId xmlns:a16="http://schemas.microsoft.com/office/drawing/2014/main" id="{627F9501-3D0F-47F9-8253-5DA220A96088}"/>
              </a:ext>
            </a:extLst>
          </p:cNvPr>
          <p:cNvGrpSpPr/>
          <p:nvPr userDrawn="1"/>
        </p:nvGrpSpPr>
        <p:grpSpPr>
          <a:xfrm>
            <a:off x="5619494" y="4284000"/>
            <a:ext cx="2771506" cy="861774"/>
            <a:chOff x="5239002" y="5165582"/>
            <a:chExt cx="2771506" cy="861774"/>
          </a:xfrm>
        </p:grpSpPr>
        <p:pic>
          <p:nvPicPr>
            <p:cNvPr id="9" name="Grafik 8" descr="Markierung">
              <a:extLst>
                <a:ext uri="{FF2B5EF4-FFF2-40B4-BE49-F238E27FC236}">
                  <a16:creationId xmlns:a16="http://schemas.microsoft.com/office/drawing/2014/main" id="{22755EA7-31C6-4418-9D5C-5B1D3BAE563A}"/>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39002" y="5210582"/>
              <a:ext cx="270000" cy="270000"/>
            </a:xfrm>
            <a:prstGeom prst="rect">
              <a:avLst/>
            </a:prstGeom>
          </p:spPr>
        </p:pic>
        <p:sp>
          <p:nvSpPr>
            <p:cNvPr id="14" name="Textfeld 13">
              <a:extLst>
                <a:ext uri="{FF2B5EF4-FFF2-40B4-BE49-F238E27FC236}">
                  <a16:creationId xmlns:a16="http://schemas.microsoft.com/office/drawing/2014/main" id="{11271881-30C4-4A9B-8540-2D2E9A67E616}"/>
                </a:ext>
              </a:extLst>
            </p:cNvPr>
            <p:cNvSpPr txBox="1"/>
            <p:nvPr userDrawn="1"/>
          </p:nvSpPr>
          <p:spPr>
            <a:xfrm>
              <a:off x="5504694" y="5165582"/>
              <a:ext cx="2505814" cy="861774"/>
            </a:xfrm>
            <a:prstGeom prst="rect">
              <a:avLst/>
            </a:prstGeom>
          </p:spPr>
          <p:txBody>
            <a:bodyPr vert="horz" wrap="none" lIns="91440" tIns="45720" rIns="91440" bIns="45720" rtlCol="0" anchor="t">
              <a:spAutoFit/>
            </a:bodyPr>
            <a:lstStyle/>
            <a:p>
              <a:pPr algn="l">
                <a:spcAft>
                  <a:spcPts val="300"/>
                </a:spcAft>
              </a:pPr>
              <a:r>
                <a:rPr lang="de-DE" sz="1500">
                  <a:solidFill>
                    <a:srgbClr val="003866"/>
                  </a:solidFill>
                  <a:latin typeface="Ubuntu" panose="020B0504030602030204" pitchFamily="34" charset="0"/>
                </a:rPr>
                <a:t>Moritz-von-Rohr-Straße 1a</a:t>
              </a:r>
            </a:p>
            <a:p>
              <a:pPr algn="l">
                <a:spcAft>
                  <a:spcPts val="300"/>
                </a:spcAft>
              </a:pPr>
              <a:r>
                <a:rPr lang="de-DE" sz="1500">
                  <a:solidFill>
                    <a:srgbClr val="003866"/>
                  </a:solidFill>
                  <a:latin typeface="Ubuntu" panose="020B0504030602030204" pitchFamily="34" charset="0"/>
                </a:rPr>
                <a:t>07745 Jena</a:t>
              </a:r>
            </a:p>
            <a:p>
              <a:pPr algn="l">
                <a:spcAft>
                  <a:spcPts val="300"/>
                </a:spcAft>
              </a:pPr>
              <a:r>
                <a:rPr lang="de-DE" sz="1500">
                  <a:solidFill>
                    <a:srgbClr val="003866"/>
                  </a:solidFill>
                  <a:latin typeface="Ubuntu" panose="020B0504030602030204" pitchFamily="34" charset="0"/>
                </a:rPr>
                <a:t>Germany</a:t>
              </a:r>
            </a:p>
          </p:txBody>
        </p:sp>
      </p:grpSp>
      <p:grpSp>
        <p:nvGrpSpPr>
          <p:cNvPr id="32" name="Gruppieren 31">
            <a:extLst>
              <a:ext uri="{FF2B5EF4-FFF2-40B4-BE49-F238E27FC236}">
                <a16:creationId xmlns:a16="http://schemas.microsoft.com/office/drawing/2014/main" id="{6F991183-1DDE-43EE-8433-42AAC48F0B35}"/>
              </a:ext>
            </a:extLst>
          </p:cNvPr>
          <p:cNvGrpSpPr/>
          <p:nvPr userDrawn="1"/>
        </p:nvGrpSpPr>
        <p:grpSpPr>
          <a:xfrm>
            <a:off x="9336000" y="4284000"/>
            <a:ext cx="2405521" cy="1267538"/>
            <a:chOff x="8648932" y="5073403"/>
            <a:chExt cx="2405521" cy="1267538"/>
          </a:xfrm>
        </p:grpSpPr>
        <p:grpSp>
          <p:nvGrpSpPr>
            <p:cNvPr id="13" name="Gruppieren 12">
              <a:extLst>
                <a:ext uri="{FF2B5EF4-FFF2-40B4-BE49-F238E27FC236}">
                  <a16:creationId xmlns:a16="http://schemas.microsoft.com/office/drawing/2014/main" id="{9EBED89D-9F2C-4F09-AF00-C495D368CEF8}"/>
                </a:ext>
              </a:extLst>
            </p:cNvPr>
            <p:cNvGrpSpPr/>
            <p:nvPr userDrawn="1"/>
          </p:nvGrpSpPr>
          <p:grpSpPr>
            <a:xfrm>
              <a:off x="8648932" y="5073403"/>
              <a:ext cx="2070493" cy="323165"/>
              <a:chOff x="9581694" y="5634000"/>
              <a:chExt cx="2070493" cy="323165"/>
            </a:xfrm>
          </p:grpSpPr>
          <p:pic>
            <p:nvPicPr>
              <p:cNvPr id="6" name="Grafik 5" descr="Hörer">
                <a:extLst>
                  <a:ext uri="{FF2B5EF4-FFF2-40B4-BE49-F238E27FC236}">
                    <a16:creationId xmlns:a16="http://schemas.microsoft.com/office/drawing/2014/main" id="{811CD252-89BB-4BEF-A8FF-B14B67E8BF2A}"/>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81694" y="5660582"/>
                <a:ext cx="270000" cy="270000"/>
              </a:xfrm>
              <a:prstGeom prst="rect">
                <a:avLst/>
              </a:prstGeom>
            </p:spPr>
          </p:pic>
          <p:sp>
            <p:nvSpPr>
              <p:cNvPr id="12" name="Textfeld 11">
                <a:extLst>
                  <a:ext uri="{FF2B5EF4-FFF2-40B4-BE49-F238E27FC236}">
                    <a16:creationId xmlns:a16="http://schemas.microsoft.com/office/drawing/2014/main" id="{5218C54D-E996-4077-95B7-AE38D188A9C8}"/>
                  </a:ext>
                </a:extLst>
              </p:cNvPr>
              <p:cNvSpPr txBox="1"/>
              <p:nvPr userDrawn="1"/>
            </p:nvSpPr>
            <p:spPr>
              <a:xfrm>
                <a:off x="9851694" y="5634000"/>
                <a:ext cx="1800493" cy="323165"/>
              </a:xfrm>
              <a:prstGeom prst="rect">
                <a:avLst/>
              </a:prstGeom>
            </p:spPr>
            <p:txBody>
              <a:bodyPr vert="horz" wrap="none" lIns="91440" tIns="45720" rIns="9144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500">
                    <a:solidFill>
                      <a:srgbClr val="003866"/>
                    </a:solidFill>
                    <a:latin typeface="Ubuntu" panose="020B0504030602030204" pitchFamily="34" charset="0"/>
                  </a:rPr>
                  <a:t>+49 3641 2719321</a:t>
                </a:r>
              </a:p>
            </p:txBody>
          </p:sp>
        </p:grpSp>
        <p:grpSp>
          <p:nvGrpSpPr>
            <p:cNvPr id="15" name="Gruppieren 14">
              <a:extLst>
                <a:ext uri="{FF2B5EF4-FFF2-40B4-BE49-F238E27FC236}">
                  <a16:creationId xmlns:a16="http://schemas.microsoft.com/office/drawing/2014/main" id="{62BCBF15-A550-46BC-BBED-06792B9EEEF7}"/>
                </a:ext>
              </a:extLst>
            </p:cNvPr>
            <p:cNvGrpSpPr/>
            <p:nvPr userDrawn="1"/>
          </p:nvGrpSpPr>
          <p:grpSpPr>
            <a:xfrm>
              <a:off x="8648932" y="5426640"/>
              <a:ext cx="2070493" cy="323165"/>
              <a:chOff x="9581693" y="5926982"/>
              <a:chExt cx="2070493" cy="323165"/>
            </a:xfrm>
          </p:grpSpPr>
          <p:pic>
            <p:nvPicPr>
              <p:cNvPr id="11" name="Grafik 10" descr="Fax">
                <a:extLst>
                  <a:ext uri="{FF2B5EF4-FFF2-40B4-BE49-F238E27FC236}">
                    <a16:creationId xmlns:a16="http://schemas.microsoft.com/office/drawing/2014/main" id="{FEC9054D-F75D-4778-B71A-E63F67BEA3FA}"/>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581693" y="5948614"/>
                <a:ext cx="270000" cy="270000"/>
              </a:xfrm>
              <a:prstGeom prst="rect">
                <a:avLst/>
              </a:prstGeom>
            </p:spPr>
          </p:pic>
          <p:sp>
            <p:nvSpPr>
              <p:cNvPr id="28" name="Textfeld 27">
                <a:extLst>
                  <a:ext uri="{FF2B5EF4-FFF2-40B4-BE49-F238E27FC236}">
                    <a16:creationId xmlns:a16="http://schemas.microsoft.com/office/drawing/2014/main" id="{BA2113A1-4877-4895-9EE3-4E749EED2784}"/>
                  </a:ext>
                </a:extLst>
              </p:cNvPr>
              <p:cNvSpPr txBox="1"/>
              <p:nvPr userDrawn="1"/>
            </p:nvSpPr>
            <p:spPr>
              <a:xfrm>
                <a:off x="9851693" y="5926982"/>
                <a:ext cx="1800493" cy="323165"/>
              </a:xfrm>
              <a:prstGeom prst="rect">
                <a:avLst/>
              </a:prstGeom>
            </p:spPr>
            <p:txBody>
              <a:bodyPr vert="horz" wrap="none" lIns="91440" tIns="45720" rIns="9144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500">
                    <a:solidFill>
                      <a:srgbClr val="003866"/>
                    </a:solidFill>
                    <a:latin typeface="Ubuntu" panose="020B0504030602030204" pitchFamily="34" charset="0"/>
                  </a:rPr>
                  <a:t>+49 3641 2719323</a:t>
                </a:r>
              </a:p>
            </p:txBody>
          </p:sp>
        </p:grpSp>
        <p:grpSp>
          <p:nvGrpSpPr>
            <p:cNvPr id="31" name="Gruppieren 30">
              <a:extLst>
                <a:ext uri="{FF2B5EF4-FFF2-40B4-BE49-F238E27FC236}">
                  <a16:creationId xmlns:a16="http://schemas.microsoft.com/office/drawing/2014/main" id="{C5646013-3BCE-4964-8493-CFB77D37AB6D}"/>
                </a:ext>
              </a:extLst>
            </p:cNvPr>
            <p:cNvGrpSpPr/>
            <p:nvPr userDrawn="1"/>
          </p:nvGrpSpPr>
          <p:grpSpPr>
            <a:xfrm>
              <a:off x="8648932" y="6017776"/>
              <a:ext cx="2405521" cy="323165"/>
              <a:chOff x="7716172" y="6091022"/>
              <a:chExt cx="2405521" cy="323165"/>
            </a:xfrm>
          </p:grpSpPr>
          <p:pic>
            <p:nvPicPr>
              <p:cNvPr id="3" name="Grafik 2" descr="Umschlag">
                <a:extLst>
                  <a:ext uri="{FF2B5EF4-FFF2-40B4-BE49-F238E27FC236}">
                    <a16:creationId xmlns:a16="http://schemas.microsoft.com/office/drawing/2014/main" id="{1B03E5CF-0D55-4FE7-9477-169F9657B1B6}"/>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6172" y="6117604"/>
                <a:ext cx="270000" cy="270000"/>
              </a:xfrm>
              <a:prstGeom prst="rect">
                <a:avLst/>
              </a:prstGeom>
            </p:spPr>
          </p:pic>
          <p:sp>
            <p:nvSpPr>
              <p:cNvPr id="30" name="Textfeld 29">
                <a:extLst>
                  <a:ext uri="{FF2B5EF4-FFF2-40B4-BE49-F238E27FC236}">
                    <a16:creationId xmlns:a16="http://schemas.microsoft.com/office/drawing/2014/main" id="{77AE2A08-9520-447A-BE18-33D4AB072266}"/>
                  </a:ext>
                </a:extLst>
              </p:cNvPr>
              <p:cNvSpPr txBox="1"/>
              <p:nvPr userDrawn="1"/>
            </p:nvSpPr>
            <p:spPr>
              <a:xfrm>
                <a:off x="7986172" y="6091022"/>
                <a:ext cx="2135521" cy="323165"/>
              </a:xfrm>
              <a:prstGeom prst="rect">
                <a:avLst/>
              </a:prstGeom>
            </p:spPr>
            <p:txBody>
              <a:bodyPr vert="horz" wrap="none" lIns="91440" tIns="45720" rIns="91440" bIns="45720" rtlCol="0" anchor="t" anchorCtr="0">
                <a:spAutoFit/>
              </a:bodyPr>
              <a:lstStyle/>
              <a:p>
                <a:pPr marL="0" algn="l">
                  <a:spcBef>
                    <a:spcPts val="0"/>
                  </a:spcBef>
                  <a:spcAft>
                    <a:spcPts val="300"/>
                  </a:spcAft>
                  <a:tabLst>
                    <a:tab pos="307975" algn="l"/>
                  </a:tabLst>
                </a:pPr>
                <a:r>
                  <a:rPr lang="de-DE" sz="1500">
                    <a:solidFill>
                      <a:srgbClr val="003866"/>
                    </a:solidFill>
                    <a:latin typeface="Ubuntu" panose="020B0504030602030204" pitchFamily="34" charset="0"/>
                  </a:rPr>
                  <a:t>info@mi2-factory.com</a:t>
                </a:r>
              </a:p>
            </p:txBody>
          </p:sp>
        </p:grpSp>
        <p:grpSp>
          <p:nvGrpSpPr>
            <p:cNvPr id="18" name="Gruppieren 17">
              <a:extLst>
                <a:ext uri="{FF2B5EF4-FFF2-40B4-BE49-F238E27FC236}">
                  <a16:creationId xmlns:a16="http://schemas.microsoft.com/office/drawing/2014/main" id="{7C971AB3-6BA5-4BFC-AEC1-FBD9313ADDD1}"/>
                </a:ext>
              </a:extLst>
            </p:cNvPr>
            <p:cNvGrpSpPr/>
            <p:nvPr userDrawn="1"/>
          </p:nvGrpSpPr>
          <p:grpSpPr>
            <a:xfrm>
              <a:off x="8651255" y="5721193"/>
              <a:ext cx="2370684" cy="323165"/>
              <a:chOff x="8914031" y="5898010"/>
              <a:chExt cx="2370684" cy="323165"/>
            </a:xfrm>
          </p:grpSpPr>
          <p:sp>
            <p:nvSpPr>
              <p:cNvPr id="29" name="Textfeld 28">
                <a:extLst>
                  <a:ext uri="{FF2B5EF4-FFF2-40B4-BE49-F238E27FC236}">
                    <a16:creationId xmlns:a16="http://schemas.microsoft.com/office/drawing/2014/main" id="{3FB470C9-BAD5-491E-B742-EA5E3877CCA3}"/>
                  </a:ext>
                </a:extLst>
              </p:cNvPr>
              <p:cNvSpPr txBox="1"/>
              <p:nvPr userDrawn="1"/>
            </p:nvSpPr>
            <p:spPr>
              <a:xfrm>
                <a:off x="9182858" y="5898010"/>
                <a:ext cx="2101857" cy="323165"/>
              </a:xfrm>
              <a:prstGeom prst="rect">
                <a:avLst/>
              </a:prstGeom>
            </p:spPr>
            <p:txBody>
              <a:bodyPr vert="horz" wrap="none" lIns="91440" tIns="45720" rIns="91440" bIns="45720" rtlCol="0" anchor="t" anchorCtr="0">
                <a:spAutoFit/>
              </a:bodyPr>
              <a:lstStyle/>
              <a:p>
                <a:pPr marL="0" algn="l">
                  <a:spcBef>
                    <a:spcPts val="0"/>
                  </a:spcBef>
                  <a:spcAft>
                    <a:spcPts val="300"/>
                  </a:spcAft>
                  <a:tabLst>
                    <a:tab pos="307975" algn="l"/>
                  </a:tabLst>
                </a:pPr>
                <a:r>
                  <a:rPr lang="de-DE" sz="1500">
                    <a:solidFill>
                      <a:srgbClr val="003866"/>
                    </a:solidFill>
                    <a:latin typeface="Ubuntu" panose="020B0504030602030204" pitchFamily="34" charset="0"/>
                  </a:rPr>
                  <a:t>www.mi2-factory.com</a:t>
                </a:r>
              </a:p>
            </p:txBody>
          </p:sp>
          <p:pic>
            <p:nvPicPr>
              <p:cNvPr id="17" name="Grafik 16" descr="Welt">
                <a:extLst>
                  <a:ext uri="{FF2B5EF4-FFF2-40B4-BE49-F238E27FC236}">
                    <a16:creationId xmlns:a16="http://schemas.microsoft.com/office/drawing/2014/main" id="{5843963E-B4E2-4DF1-B615-FC16D50EB8DA}"/>
                  </a:ext>
                </a:extLst>
              </p:cNvPr>
              <p:cNvPicPr>
                <a:picLocks noChangeAspect="1"/>
              </p:cNvPicPr>
              <p:nvPr userDrawn="1"/>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14031" y="5924592"/>
                <a:ext cx="270000" cy="270000"/>
              </a:xfrm>
              <a:prstGeom prst="rect">
                <a:avLst/>
              </a:prstGeom>
            </p:spPr>
          </p:pic>
        </p:grpSp>
      </p:grpSp>
      <p:sp>
        <p:nvSpPr>
          <p:cNvPr id="24" name="Rechteck 23">
            <a:extLst>
              <a:ext uri="{FF2B5EF4-FFF2-40B4-BE49-F238E27FC236}">
                <a16:creationId xmlns:a16="http://schemas.microsoft.com/office/drawing/2014/main" id="{114F26AD-6D46-4B00-AE6D-FB0746E6DF27}"/>
              </a:ext>
            </a:extLst>
          </p:cNvPr>
          <p:cNvSpPr/>
          <p:nvPr userDrawn="1"/>
        </p:nvSpPr>
        <p:spPr>
          <a:xfrm>
            <a:off x="0" y="3429000"/>
            <a:ext cx="11160000" cy="54000"/>
          </a:xfrm>
          <a:prstGeom prst="rect">
            <a:avLst/>
          </a:prstGeom>
          <a:gradFill flip="none" rotWithShape="1">
            <a:gsLst>
              <a:gs pos="50000">
                <a:srgbClr val="E62D2C"/>
              </a:gs>
              <a:gs pos="100000">
                <a:srgbClr val="E3E4E8">
                  <a:alpha val="25000"/>
                </a:srgb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5" name="Grafik 24">
            <a:extLst>
              <a:ext uri="{FF2B5EF4-FFF2-40B4-BE49-F238E27FC236}">
                <a16:creationId xmlns:a16="http://schemas.microsoft.com/office/drawing/2014/main" id="{9C2D38E8-0A28-4A76-A71D-36E831EA9E6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233787" y="43961"/>
            <a:ext cx="1417243" cy="540000"/>
          </a:xfrm>
          <a:prstGeom prst="rect">
            <a:avLst/>
          </a:prstGeom>
        </p:spPr>
      </p:pic>
    </p:spTree>
    <p:extLst>
      <p:ext uri="{BB962C8B-B14F-4D97-AF65-F5344CB8AC3E}">
        <p14:creationId xmlns:p14="http://schemas.microsoft.com/office/powerpoint/2010/main" val="302898973"/>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x" preserve="1">
  <p:cSld name="1_Inhaltsfolie">
    <p:spTree>
      <p:nvGrpSpPr>
        <p:cNvPr id="1" name=""/>
        <p:cNvGrpSpPr/>
        <p:nvPr/>
      </p:nvGrpSpPr>
      <p:grpSpPr>
        <a:xfrm>
          <a:off x="0" y="0"/>
          <a:ext cx="0" cy="0"/>
          <a:chOff x="0" y="0"/>
          <a:chExt cx="0" cy="0"/>
        </a:xfrm>
      </p:grpSpPr>
      <p:sp>
        <p:nvSpPr>
          <p:cNvPr id="39" name="Titeltext"/>
          <p:cNvSpPr txBox="1">
            <a:spLocks noGrp="1"/>
          </p:cNvSpPr>
          <p:nvPr>
            <p:ph type="title"/>
          </p:nvPr>
        </p:nvSpPr>
        <p:spPr>
          <a:prstGeom prst="rect">
            <a:avLst/>
          </a:prstGeom>
        </p:spPr>
        <p:txBody>
          <a:bodyPr/>
          <a:lstStyle/>
          <a:p>
            <a:r>
              <a:t>Titeltext</a:t>
            </a:r>
          </a:p>
        </p:txBody>
      </p:sp>
      <p:sp>
        <p:nvSpPr>
          <p:cNvPr id="40" name="Textebene 1…"/>
          <p:cNvSpPr txBox="1">
            <a:spLocks noGrp="1"/>
          </p:cNvSpPr>
          <p:nvPr>
            <p:ph type="body" sz="half" idx="1"/>
          </p:nvPr>
        </p:nvSpPr>
        <p:spPr>
          <a:prstGeom prst="rect">
            <a:avLst/>
          </a:prstGeom>
        </p:spPr>
        <p:txBody>
          <a:bodyPr/>
          <a:lstStyle/>
          <a:p>
            <a:r>
              <a:t>Textebene 1</a:t>
            </a:r>
          </a:p>
          <a:p>
            <a:pPr lvl="1"/>
            <a:r>
              <a:t>Textebene 2</a:t>
            </a:r>
          </a:p>
          <a:p>
            <a:pPr lvl="2"/>
            <a:r>
              <a:t>Textebene 3</a:t>
            </a:r>
          </a:p>
          <a:p>
            <a:pPr lvl="3"/>
            <a:r>
              <a:t>Textebene 4</a:t>
            </a:r>
          </a:p>
          <a:p>
            <a:pPr lvl="4"/>
            <a:r>
              <a:t>Textebene 5</a:t>
            </a:r>
          </a:p>
        </p:txBody>
      </p:sp>
      <p:sp>
        <p:nvSpPr>
          <p:cNvPr id="41" name="Foliennummer"/>
          <p:cNvSpPr txBox="1">
            <a:spLocks noGrp="1"/>
          </p:cNvSpPr>
          <p:nvPr>
            <p:ph type="sldNum" sz="quarter" idx="2"/>
          </p:nvPr>
        </p:nvSpPr>
        <p:spPr>
          <a:xfrm>
            <a:off x="4496862" y="6563922"/>
            <a:ext cx="340795" cy="246217"/>
          </a:xfrm>
          <a:prstGeom prst="rect">
            <a:avLst/>
          </a:prstGeom>
        </p:spPr>
        <p:txBody>
          <a:bodyPr/>
          <a:lstStyle>
            <a:lvl1pPr>
              <a:defRPr>
                <a:solidFill>
                  <a:srgbClr val="003866"/>
                </a:solidFill>
              </a:defRPr>
            </a:lvl1pPr>
          </a:lstStyle>
          <a:p>
            <a:fld id="{86CB4B4D-7CA3-9044-876B-883B54F8677D}" type="slidenum">
              <a:rPr lang="de-DE" smtClean="0"/>
              <a:pPr/>
              <a:t>‹Nr.›</a:t>
            </a:fld>
            <a:endParaRPr lang="de-DE"/>
          </a:p>
        </p:txBody>
      </p:sp>
    </p:spTree>
    <p:extLst>
      <p:ext uri="{BB962C8B-B14F-4D97-AF65-F5344CB8AC3E}">
        <p14:creationId xmlns:p14="http://schemas.microsoft.com/office/powerpoint/2010/main" val="2972794374"/>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irmenfoli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070738A9-71AA-4E96-8237-B4CF823D0F8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4" y="0"/>
            <a:ext cx="12190612" cy="6858000"/>
          </a:xfrm>
          <a:prstGeom prst="rect">
            <a:avLst/>
          </a:prstGeom>
        </p:spPr>
      </p:pic>
      <p:pic>
        <p:nvPicPr>
          <p:cNvPr id="23" name="Grafik 22">
            <a:extLst>
              <a:ext uri="{FF2B5EF4-FFF2-40B4-BE49-F238E27FC236}">
                <a16:creationId xmlns:a16="http://schemas.microsoft.com/office/drawing/2014/main" id="{AD59AFB0-C061-499D-993B-6B8363762D9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31000" y="1359000"/>
            <a:ext cx="5668966" cy="2160000"/>
          </a:xfrm>
          <a:prstGeom prst="rect">
            <a:avLst/>
          </a:prstGeom>
        </p:spPr>
      </p:pic>
      <p:sp>
        <p:nvSpPr>
          <p:cNvPr id="2" name="Rechteck 1">
            <a:extLst>
              <a:ext uri="{FF2B5EF4-FFF2-40B4-BE49-F238E27FC236}">
                <a16:creationId xmlns:a16="http://schemas.microsoft.com/office/drawing/2014/main" id="{834834EE-9660-49C8-865D-CE8F33B19685}"/>
              </a:ext>
            </a:extLst>
          </p:cNvPr>
          <p:cNvSpPr/>
          <p:nvPr userDrawn="1"/>
        </p:nvSpPr>
        <p:spPr>
          <a:xfrm>
            <a:off x="0" y="3817226"/>
            <a:ext cx="11160000" cy="540000"/>
          </a:xfrm>
          <a:prstGeom prst="rect">
            <a:avLst/>
          </a:prstGeom>
          <a:gradFill flip="none" rotWithShape="1">
            <a:gsLst>
              <a:gs pos="50000">
                <a:srgbClr val="E62D2C"/>
              </a:gs>
              <a:gs pos="100000">
                <a:srgbClr val="E3E4E8">
                  <a:alpha val="25000"/>
                </a:srgb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Textfeld 25">
            <a:extLst>
              <a:ext uri="{FF2B5EF4-FFF2-40B4-BE49-F238E27FC236}">
                <a16:creationId xmlns:a16="http://schemas.microsoft.com/office/drawing/2014/main" id="{FE399674-2EE2-4639-AE8E-180D1A5B86CE}"/>
              </a:ext>
            </a:extLst>
          </p:cNvPr>
          <p:cNvSpPr txBox="1"/>
          <p:nvPr userDrawn="1"/>
        </p:nvSpPr>
        <p:spPr>
          <a:xfrm>
            <a:off x="1877438" y="3810227"/>
            <a:ext cx="5644494" cy="553998"/>
          </a:xfrm>
          <a:prstGeom prst="rect">
            <a:avLst/>
          </a:prstGeom>
          <a:noFill/>
        </p:spPr>
        <p:txBody>
          <a:bodyPr wrap="none" rtlCol="0">
            <a:spAutoFit/>
          </a:bodyPr>
          <a:lstStyle/>
          <a:p>
            <a:r>
              <a:rPr lang="de-DE" sz="3000" b="1">
                <a:solidFill>
                  <a:schemeClr val="bg1"/>
                </a:solidFill>
                <a:latin typeface="Ubuntu" panose="020B0504030602030204" pitchFamily="34" charset="0"/>
              </a:rPr>
              <a:t>MATCHED ION IMPLANTATION</a:t>
            </a:r>
            <a:endParaRPr lang="en-US" sz="3000" b="1">
              <a:solidFill>
                <a:schemeClr val="bg1"/>
              </a:solidFill>
              <a:latin typeface="Ubuntu" panose="020B0504030602030204" pitchFamily="34" charset="0"/>
            </a:endParaRPr>
          </a:p>
        </p:txBody>
      </p:sp>
      <p:sp>
        <p:nvSpPr>
          <p:cNvPr id="7" name="Textfeld 6">
            <a:extLst>
              <a:ext uri="{FF2B5EF4-FFF2-40B4-BE49-F238E27FC236}">
                <a16:creationId xmlns:a16="http://schemas.microsoft.com/office/drawing/2014/main" id="{0F77BA20-B758-4C1E-8F16-FEAC48E8A90D}"/>
              </a:ext>
            </a:extLst>
          </p:cNvPr>
          <p:cNvSpPr txBox="1"/>
          <p:nvPr userDrawn="1"/>
        </p:nvSpPr>
        <p:spPr>
          <a:xfrm>
            <a:off x="1876744" y="4475671"/>
            <a:ext cx="5058229" cy="400110"/>
          </a:xfrm>
          <a:prstGeom prst="rect">
            <a:avLst/>
          </a:prstGeom>
        </p:spPr>
        <p:txBody>
          <a:bodyPr vert="horz"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000" i="1">
                <a:solidFill>
                  <a:srgbClr val="003866"/>
                </a:solidFill>
                <a:latin typeface="Ubuntu" panose="020B0504030602030204" pitchFamily="34" charset="0"/>
              </a:rPr>
              <a:t>Energy-Filter </a:t>
            </a:r>
            <a:r>
              <a:rPr lang="de-DE" sz="2000" i="1" err="1">
                <a:solidFill>
                  <a:srgbClr val="003866"/>
                </a:solidFill>
                <a:latin typeface="Ubuntu" panose="020B0504030602030204" pitchFamily="34" charset="0"/>
              </a:rPr>
              <a:t>For</a:t>
            </a:r>
            <a:r>
              <a:rPr lang="de-DE" sz="2000" i="1">
                <a:solidFill>
                  <a:srgbClr val="003866"/>
                </a:solidFill>
                <a:latin typeface="Ubuntu" panose="020B0504030602030204" pitchFamily="34" charset="0"/>
              </a:rPr>
              <a:t> Ion Implantation – EFII </a:t>
            </a:r>
            <a:r>
              <a:rPr lang="de-DE" sz="2000" i="0" baseline="30000">
                <a:solidFill>
                  <a:srgbClr val="003866"/>
                </a:solidFill>
                <a:effectLst/>
                <a:latin typeface="Ubuntu" panose="020B0504030602030204" pitchFamily="34" charset="0"/>
              </a:rPr>
              <a:t>©</a:t>
            </a:r>
            <a:endParaRPr lang="de-DE" sz="2000" i="0" baseline="30000">
              <a:solidFill>
                <a:srgbClr val="003866"/>
              </a:solidFill>
              <a:latin typeface="Ubuntu" panose="020B0504030602030204" pitchFamily="34" charset="0"/>
            </a:endParaRPr>
          </a:p>
        </p:txBody>
      </p:sp>
    </p:spTree>
    <p:extLst>
      <p:ext uri="{BB962C8B-B14F-4D97-AF65-F5344CB8AC3E}">
        <p14:creationId xmlns:p14="http://schemas.microsoft.com/office/powerpoint/2010/main" val="5574729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folie">
    <p:bg>
      <p:bgPr>
        <a:solidFill>
          <a:schemeClr val="bg1">
            <a:alpha val="50000"/>
          </a:schemeClr>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6062BD6B-AA97-40C1-9155-64858EEA307B}"/>
              </a:ext>
            </a:extLst>
          </p:cNvPr>
          <p:cNvPicPr>
            <a:picLocks noChangeAspect="1"/>
          </p:cNvPicPr>
          <p:nvPr userDrawn="1"/>
        </p:nvPicPr>
        <p:blipFill>
          <a:blip r:embed="rId2">
            <a:alphaModFix amt="5000"/>
            <a:extLst>
              <a:ext uri="{28A0092B-C50C-407E-A947-70E740481C1C}">
                <a14:useLocalDpi xmlns:a14="http://schemas.microsoft.com/office/drawing/2010/main" val="0"/>
              </a:ext>
            </a:extLst>
          </a:blip>
          <a:stretch>
            <a:fillRect/>
          </a:stretch>
        </p:blipFill>
        <p:spPr>
          <a:xfrm flipH="1">
            <a:off x="110442" y="279001"/>
            <a:ext cx="7515558" cy="6479998"/>
          </a:xfrm>
          <a:prstGeom prst="rect">
            <a:avLst/>
          </a:prstGeom>
        </p:spPr>
      </p:pic>
      <p:sp>
        <p:nvSpPr>
          <p:cNvPr id="18" name="Titel 1">
            <a:extLst>
              <a:ext uri="{FF2B5EF4-FFF2-40B4-BE49-F238E27FC236}">
                <a16:creationId xmlns:a16="http://schemas.microsoft.com/office/drawing/2014/main" id="{87B9D4B0-2BA8-4BBC-A3CE-EEB93BE1020B}"/>
              </a:ext>
            </a:extLst>
          </p:cNvPr>
          <p:cNvSpPr>
            <a:spLocks noGrp="1"/>
          </p:cNvSpPr>
          <p:nvPr>
            <p:ph type="title" hasCustomPrompt="1"/>
          </p:nvPr>
        </p:nvSpPr>
        <p:spPr>
          <a:xfrm>
            <a:off x="696000" y="2718036"/>
            <a:ext cx="10800000" cy="646331"/>
          </a:xfrm>
        </p:spPr>
        <p:txBody>
          <a:bodyPr>
            <a:spAutoFit/>
          </a:bodyPr>
          <a:lstStyle>
            <a:lvl1pPr algn="ctr">
              <a:defRPr sz="4000">
                <a:solidFill>
                  <a:srgbClr val="003866"/>
                </a:solidFill>
                <a:latin typeface="Ubuntu" panose="020B0504030602030204" pitchFamily="34" charset="0"/>
              </a:defRPr>
            </a:lvl1pPr>
          </a:lstStyle>
          <a:p>
            <a:r>
              <a:rPr lang="de-DE"/>
              <a:t>Titelmasterformat durch Klicken bearbeiten</a:t>
            </a:r>
            <a:endParaRPr lang="en-US"/>
          </a:p>
        </p:txBody>
      </p:sp>
      <p:pic>
        <p:nvPicPr>
          <p:cNvPr id="13" name="Grafik 12">
            <a:extLst>
              <a:ext uri="{FF2B5EF4-FFF2-40B4-BE49-F238E27FC236}">
                <a16:creationId xmlns:a16="http://schemas.microsoft.com/office/drawing/2014/main" id="{34257389-7D38-439D-9118-2079964480E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33787" y="43961"/>
            <a:ext cx="1417243" cy="540000"/>
          </a:xfrm>
          <a:prstGeom prst="rect">
            <a:avLst/>
          </a:prstGeom>
        </p:spPr>
      </p:pic>
      <p:sp>
        <p:nvSpPr>
          <p:cNvPr id="14" name="Rechteck 13">
            <a:extLst>
              <a:ext uri="{FF2B5EF4-FFF2-40B4-BE49-F238E27FC236}">
                <a16:creationId xmlns:a16="http://schemas.microsoft.com/office/drawing/2014/main" id="{3CD1FE26-5911-4C7F-B643-D2FA72BB9CDB}"/>
              </a:ext>
            </a:extLst>
          </p:cNvPr>
          <p:cNvSpPr/>
          <p:nvPr userDrawn="1"/>
        </p:nvSpPr>
        <p:spPr>
          <a:xfrm rot="16200000" flipH="1">
            <a:off x="6187200" y="853200"/>
            <a:ext cx="360000" cy="11649600"/>
          </a:xfrm>
          <a:prstGeom prst="rect">
            <a:avLst/>
          </a:prstGeom>
          <a:gradFill>
            <a:gsLst>
              <a:gs pos="50000">
                <a:srgbClr val="003866"/>
              </a:gs>
              <a:gs pos="100000">
                <a:schemeClr val="bg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5" name="Fußzeilenplatzhalter 15">
            <a:extLst>
              <a:ext uri="{FF2B5EF4-FFF2-40B4-BE49-F238E27FC236}">
                <a16:creationId xmlns:a16="http://schemas.microsoft.com/office/drawing/2014/main" id="{22C108A2-42E0-4D79-965F-6E0AA5778A4A}"/>
              </a:ext>
            </a:extLst>
          </p:cNvPr>
          <p:cNvSpPr>
            <a:spLocks noGrp="1"/>
          </p:cNvSpPr>
          <p:nvPr>
            <p:ph type="ftr" sz="quarter" idx="11"/>
          </p:nvPr>
        </p:nvSpPr>
        <p:spPr>
          <a:xfrm>
            <a:off x="4038600" y="6498000"/>
            <a:ext cx="4114800" cy="360000"/>
          </a:xfrm>
        </p:spPr>
        <p:txBody>
          <a:bodyPr/>
          <a:lstStyle>
            <a:lvl1pPr>
              <a:defRPr sz="1000">
                <a:solidFill>
                  <a:schemeClr val="bg1"/>
                </a:solidFill>
                <a:latin typeface="Ubuntu" panose="020B0504030602030204" pitchFamily="34" charset="0"/>
              </a:defRPr>
            </a:lvl1pPr>
          </a:lstStyle>
          <a:p>
            <a:endParaRPr lang="en-US"/>
          </a:p>
        </p:txBody>
      </p:sp>
      <p:sp>
        <p:nvSpPr>
          <p:cNvPr id="16" name="Datumsplatzhalter 14">
            <a:extLst>
              <a:ext uri="{FF2B5EF4-FFF2-40B4-BE49-F238E27FC236}">
                <a16:creationId xmlns:a16="http://schemas.microsoft.com/office/drawing/2014/main" id="{97C01A0F-58B8-43FB-A72F-C736E7751C91}"/>
              </a:ext>
            </a:extLst>
          </p:cNvPr>
          <p:cNvSpPr>
            <a:spLocks noGrp="1"/>
          </p:cNvSpPr>
          <p:nvPr>
            <p:ph type="dt" sz="half" idx="10"/>
          </p:nvPr>
        </p:nvSpPr>
        <p:spPr>
          <a:xfrm>
            <a:off x="540000" y="6498000"/>
            <a:ext cx="2743200" cy="360000"/>
          </a:xfrm>
        </p:spPr>
        <p:txBody>
          <a:bodyPr/>
          <a:lstStyle>
            <a:lvl1pPr>
              <a:defRPr sz="1000">
                <a:solidFill>
                  <a:srgbClr val="003866"/>
                </a:solidFill>
                <a:latin typeface="Ubuntu" panose="020B0504030602030204" pitchFamily="34" charset="0"/>
              </a:defRPr>
            </a:lvl1pPr>
          </a:lstStyle>
          <a:p>
            <a:endParaRPr lang="en-US"/>
          </a:p>
        </p:txBody>
      </p:sp>
      <p:sp>
        <p:nvSpPr>
          <p:cNvPr id="17" name="Foliennummernplatzhalter 16">
            <a:extLst>
              <a:ext uri="{FF2B5EF4-FFF2-40B4-BE49-F238E27FC236}">
                <a16:creationId xmlns:a16="http://schemas.microsoft.com/office/drawing/2014/main" id="{FA174773-8E57-4EEF-83A1-C5A90B62973A}"/>
              </a:ext>
            </a:extLst>
          </p:cNvPr>
          <p:cNvSpPr>
            <a:spLocks noGrp="1"/>
          </p:cNvSpPr>
          <p:nvPr>
            <p:ph type="sldNum" sz="quarter" idx="12"/>
          </p:nvPr>
        </p:nvSpPr>
        <p:spPr>
          <a:xfrm>
            <a:off x="8862672" y="6498000"/>
            <a:ext cx="2742230" cy="360000"/>
          </a:xfrm>
        </p:spPr>
        <p:txBody>
          <a:bodyPr/>
          <a:lstStyle>
            <a:lvl1pPr>
              <a:defRPr sz="1000">
                <a:solidFill>
                  <a:schemeClr val="bg1"/>
                </a:solidFill>
                <a:latin typeface="Ubuntu" panose="020B0504030602030204" pitchFamily="34" charset="0"/>
              </a:defRPr>
            </a:lvl1pPr>
          </a:lstStyle>
          <a:p>
            <a:fld id="{708729A6-E271-4FEB-B205-D9AFCE75854C}" type="slidenum">
              <a:rPr lang="en-US" smtClean="0"/>
              <a:pPr/>
              <a:t>‹Nr.›</a:t>
            </a:fld>
            <a:endParaRPr lang="en-US"/>
          </a:p>
        </p:txBody>
      </p:sp>
      <p:sp>
        <p:nvSpPr>
          <p:cNvPr id="10" name="Rechteck 9">
            <a:extLst>
              <a:ext uri="{FF2B5EF4-FFF2-40B4-BE49-F238E27FC236}">
                <a16:creationId xmlns:a16="http://schemas.microsoft.com/office/drawing/2014/main" id="{0B497106-BE05-4199-87F6-0A283F372ED9}"/>
              </a:ext>
            </a:extLst>
          </p:cNvPr>
          <p:cNvSpPr/>
          <p:nvPr userDrawn="1"/>
        </p:nvSpPr>
        <p:spPr>
          <a:xfrm rot="5400000" flipH="1">
            <a:off x="5797085" y="-2359727"/>
            <a:ext cx="54000" cy="11651030"/>
          </a:xfrm>
          <a:prstGeom prst="rect">
            <a:avLst/>
          </a:prstGeom>
          <a:gradFill>
            <a:gsLst>
              <a:gs pos="50000">
                <a:srgbClr val="E62D2C"/>
              </a:gs>
              <a:gs pos="100000">
                <a:schemeClr val="bg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Tree>
    <p:extLst>
      <p:ext uri="{BB962C8B-B14F-4D97-AF65-F5344CB8AC3E}">
        <p14:creationId xmlns:p14="http://schemas.microsoft.com/office/powerpoint/2010/main" val="31595147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nhaltsfolie">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D57AF441-0307-436A-BDAA-A22E5740890E}"/>
              </a:ext>
            </a:extLst>
          </p:cNvPr>
          <p:cNvSpPr/>
          <p:nvPr userDrawn="1"/>
        </p:nvSpPr>
        <p:spPr>
          <a:xfrm rot="16200000" flipH="1">
            <a:off x="6186485" y="852485"/>
            <a:ext cx="360000" cy="11651030"/>
          </a:xfrm>
          <a:prstGeom prst="rect">
            <a:avLst/>
          </a:prstGeom>
          <a:gradFill>
            <a:gsLst>
              <a:gs pos="50000">
                <a:srgbClr val="003866"/>
              </a:gs>
              <a:gs pos="100000">
                <a:schemeClr val="bg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6" name="Fußzeilenplatzhalter 15">
            <a:extLst>
              <a:ext uri="{FF2B5EF4-FFF2-40B4-BE49-F238E27FC236}">
                <a16:creationId xmlns:a16="http://schemas.microsoft.com/office/drawing/2014/main" id="{794C19C7-6057-410D-898C-7DAF16435A3F}"/>
              </a:ext>
            </a:extLst>
          </p:cNvPr>
          <p:cNvSpPr>
            <a:spLocks noGrp="1"/>
          </p:cNvSpPr>
          <p:nvPr>
            <p:ph type="ftr" sz="quarter" idx="11"/>
          </p:nvPr>
        </p:nvSpPr>
        <p:spPr>
          <a:xfrm>
            <a:off x="4038600" y="6498000"/>
            <a:ext cx="4114800" cy="360000"/>
          </a:xfrm>
        </p:spPr>
        <p:txBody>
          <a:bodyPr/>
          <a:lstStyle>
            <a:lvl1pPr>
              <a:defRPr sz="1000">
                <a:solidFill>
                  <a:schemeClr val="bg1"/>
                </a:solidFill>
                <a:latin typeface="Ubuntu" panose="020B0504030602030204" pitchFamily="34" charset="0"/>
              </a:defRPr>
            </a:lvl1pPr>
          </a:lstStyle>
          <a:p>
            <a:endParaRPr lang="en-US"/>
          </a:p>
        </p:txBody>
      </p:sp>
      <p:sp>
        <p:nvSpPr>
          <p:cNvPr id="23" name="Datumsplatzhalter 14">
            <a:extLst>
              <a:ext uri="{FF2B5EF4-FFF2-40B4-BE49-F238E27FC236}">
                <a16:creationId xmlns:a16="http://schemas.microsoft.com/office/drawing/2014/main" id="{B5B15134-EADB-4DF8-B9FF-3C98CCEB6CDE}"/>
              </a:ext>
            </a:extLst>
          </p:cNvPr>
          <p:cNvSpPr>
            <a:spLocks noGrp="1"/>
          </p:cNvSpPr>
          <p:nvPr>
            <p:ph type="dt" sz="half" idx="10"/>
          </p:nvPr>
        </p:nvSpPr>
        <p:spPr>
          <a:xfrm>
            <a:off x="540000" y="6498000"/>
            <a:ext cx="2743200" cy="360000"/>
          </a:xfrm>
        </p:spPr>
        <p:txBody>
          <a:bodyPr/>
          <a:lstStyle>
            <a:lvl1pPr>
              <a:defRPr sz="1000">
                <a:solidFill>
                  <a:srgbClr val="003866"/>
                </a:solidFill>
                <a:latin typeface="Ubuntu" panose="020B0504030602030204" pitchFamily="34" charset="0"/>
              </a:defRPr>
            </a:lvl1pPr>
          </a:lstStyle>
          <a:p>
            <a:endParaRPr lang="en-US"/>
          </a:p>
        </p:txBody>
      </p:sp>
      <p:sp>
        <p:nvSpPr>
          <p:cNvPr id="24" name="Foliennummernplatzhalter 16">
            <a:extLst>
              <a:ext uri="{FF2B5EF4-FFF2-40B4-BE49-F238E27FC236}">
                <a16:creationId xmlns:a16="http://schemas.microsoft.com/office/drawing/2014/main" id="{A56930FC-6A94-418A-B4E2-B8F52FA5B935}"/>
              </a:ext>
            </a:extLst>
          </p:cNvPr>
          <p:cNvSpPr>
            <a:spLocks noGrp="1"/>
          </p:cNvSpPr>
          <p:nvPr>
            <p:ph type="sldNum" sz="quarter" idx="12"/>
          </p:nvPr>
        </p:nvSpPr>
        <p:spPr>
          <a:xfrm>
            <a:off x="8908800" y="6498087"/>
            <a:ext cx="2742230" cy="360000"/>
          </a:xfrm>
        </p:spPr>
        <p:txBody>
          <a:bodyPr/>
          <a:lstStyle>
            <a:lvl1pPr>
              <a:defRPr sz="1000">
                <a:solidFill>
                  <a:schemeClr val="bg1"/>
                </a:solidFill>
                <a:latin typeface="Ubuntu" panose="020B0504030602030204" pitchFamily="34" charset="0"/>
              </a:defRPr>
            </a:lvl1pPr>
          </a:lstStyle>
          <a:p>
            <a:fld id="{708729A6-E271-4FEB-B205-D9AFCE75854C}" type="slidenum">
              <a:rPr lang="en-US" smtClean="0"/>
              <a:pPr/>
              <a:t>‹Nr.›</a:t>
            </a:fld>
            <a:endParaRPr lang="en-US"/>
          </a:p>
        </p:txBody>
      </p:sp>
      <p:sp>
        <p:nvSpPr>
          <p:cNvPr id="13" name="Titel 1">
            <a:extLst>
              <a:ext uri="{FF2B5EF4-FFF2-40B4-BE49-F238E27FC236}">
                <a16:creationId xmlns:a16="http://schemas.microsoft.com/office/drawing/2014/main" id="{23D3752C-FD5D-49E2-A602-11BC907F9B02}"/>
              </a:ext>
            </a:extLst>
          </p:cNvPr>
          <p:cNvSpPr>
            <a:spLocks noGrp="1"/>
          </p:cNvSpPr>
          <p:nvPr>
            <p:ph type="title" hasCustomPrompt="1"/>
          </p:nvPr>
        </p:nvSpPr>
        <p:spPr>
          <a:xfrm>
            <a:off x="540000" y="60045"/>
            <a:ext cx="9000000" cy="507831"/>
          </a:xfrm>
        </p:spPr>
        <p:txBody>
          <a:bodyPr wrap="square">
            <a:spAutoFit/>
          </a:bodyPr>
          <a:lstStyle>
            <a:lvl1pPr>
              <a:defRPr sz="3000">
                <a:solidFill>
                  <a:srgbClr val="001A66"/>
                </a:solidFill>
                <a:latin typeface="Ubuntu" panose="020B0504030602030204" pitchFamily="34" charset="0"/>
              </a:defRPr>
            </a:lvl1pPr>
          </a:lstStyle>
          <a:p>
            <a:r>
              <a:rPr lang="de-DE"/>
              <a:t>Titelmasterformat durch Klicken bearbeiten</a:t>
            </a:r>
            <a:endParaRPr lang="en-US"/>
          </a:p>
        </p:txBody>
      </p:sp>
      <p:pic>
        <p:nvPicPr>
          <p:cNvPr id="21" name="Grafik 20">
            <a:extLst>
              <a:ext uri="{FF2B5EF4-FFF2-40B4-BE49-F238E27FC236}">
                <a16:creationId xmlns:a16="http://schemas.microsoft.com/office/drawing/2014/main" id="{2B15B4F0-1D63-4078-A550-236D98BC21C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33787" y="43961"/>
            <a:ext cx="1417243" cy="540000"/>
          </a:xfrm>
          <a:prstGeom prst="rect">
            <a:avLst/>
          </a:prstGeom>
        </p:spPr>
      </p:pic>
      <p:sp>
        <p:nvSpPr>
          <p:cNvPr id="26" name="Rechteck 25">
            <a:extLst>
              <a:ext uri="{FF2B5EF4-FFF2-40B4-BE49-F238E27FC236}">
                <a16:creationId xmlns:a16="http://schemas.microsoft.com/office/drawing/2014/main" id="{AB6E9A13-216A-4ED0-BE0C-ABAA72D003EC}"/>
              </a:ext>
            </a:extLst>
          </p:cNvPr>
          <p:cNvSpPr/>
          <p:nvPr userDrawn="1"/>
        </p:nvSpPr>
        <p:spPr>
          <a:xfrm rot="5400000" flipH="1">
            <a:off x="5798515" y="-5159515"/>
            <a:ext cx="54000" cy="11651030"/>
          </a:xfrm>
          <a:prstGeom prst="rect">
            <a:avLst/>
          </a:prstGeom>
          <a:gradFill>
            <a:gsLst>
              <a:gs pos="50000">
                <a:srgbClr val="E62D2C"/>
              </a:gs>
              <a:gs pos="100000">
                <a:schemeClr val="bg1"/>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5" name="Inhaltsplatzhalter 4">
            <a:extLst>
              <a:ext uri="{FF2B5EF4-FFF2-40B4-BE49-F238E27FC236}">
                <a16:creationId xmlns:a16="http://schemas.microsoft.com/office/drawing/2014/main" id="{C509BC93-08F4-4879-8827-0D7DF624574C}"/>
              </a:ext>
            </a:extLst>
          </p:cNvPr>
          <p:cNvSpPr>
            <a:spLocks noGrp="1"/>
          </p:cNvSpPr>
          <p:nvPr>
            <p:ph sz="quarter" idx="14"/>
          </p:nvPr>
        </p:nvSpPr>
        <p:spPr>
          <a:xfrm>
            <a:off x="540000" y="1140536"/>
            <a:ext cx="11111030" cy="1844608"/>
          </a:xfrm>
        </p:spPr>
        <p:txBody>
          <a:bodyPr wrap="square">
            <a:spAutoFit/>
          </a:bodyPr>
          <a:lstStyle>
            <a:lvl1pPr>
              <a:defRPr>
                <a:solidFill>
                  <a:srgbClr val="003866"/>
                </a:solidFill>
              </a:defRPr>
            </a:lvl1pPr>
            <a:lvl2pPr>
              <a:defRPr>
                <a:solidFill>
                  <a:srgbClr val="003866"/>
                </a:solidFill>
              </a:defRPr>
            </a:lvl2pPr>
            <a:lvl3pPr>
              <a:defRPr>
                <a:solidFill>
                  <a:srgbClr val="003866"/>
                </a:solidFill>
              </a:defRPr>
            </a:lvl3pPr>
            <a:lvl4pPr>
              <a:defRPr>
                <a:solidFill>
                  <a:srgbClr val="003866"/>
                </a:solidFill>
              </a:defRPr>
            </a:lvl4pPr>
            <a:lvl5pPr>
              <a:defRPr>
                <a:solidFill>
                  <a:srgbClr val="003866"/>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3281476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bschlussfolie">
    <p:spTree>
      <p:nvGrpSpPr>
        <p:cNvPr id="1" name=""/>
        <p:cNvGrpSpPr/>
        <p:nvPr/>
      </p:nvGrpSpPr>
      <p:grpSpPr>
        <a:xfrm>
          <a:off x="0" y="0"/>
          <a:ext cx="0" cy="0"/>
          <a:chOff x="0" y="0"/>
          <a:chExt cx="0" cy="0"/>
        </a:xfrm>
      </p:grpSpPr>
      <p:pic>
        <p:nvPicPr>
          <p:cNvPr id="21" name="Grafik 20">
            <a:extLst>
              <a:ext uri="{FF2B5EF4-FFF2-40B4-BE49-F238E27FC236}">
                <a16:creationId xmlns:a16="http://schemas.microsoft.com/office/drawing/2014/main" id="{CC0C4D46-6324-45FA-B38C-0091524512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4" y="0"/>
            <a:ext cx="12190612" cy="6858000"/>
          </a:xfrm>
          <a:prstGeom prst="rect">
            <a:avLst/>
          </a:prstGeom>
        </p:spPr>
      </p:pic>
      <p:sp>
        <p:nvSpPr>
          <p:cNvPr id="4" name="Textfeld 3">
            <a:extLst>
              <a:ext uri="{FF2B5EF4-FFF2-40B4-BE49-F238E27FC236}">
                <a16:creationId xmlns:a16="http://schemas.microsoft.com/office/drawing/2014/main" id="{56890509-C94A-46B2-B314-DF20A9985894}"/>
              </a:ext>
            </a:extLst>
          </p:cNvPr>
          <p:cNvSpPr txBox="1"/>
          <p:nvPr userDrawn="1"/>
        </p:nvSpPr>
        <p:spPr>
          <a:xfrm>
            <a:off x="2192499" y="2004943"/>
            <a:ext cx="7807002" cy="136191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lang="en-US" sz="4000">
                <a:solidFill>
                  <a:srgbClr val="003866"/>
                </a:solidFill>
                <a:latin typeface="Ubuntu" panose="020B0504030602030204" pitchFamily="34" charset="0"/>
                <a:ea typeface="Ubuntu Medium"/>
                <a:cs typeface="Ubuntu Medium"/>
                <a:sym typeface="Ubuntu Medium"/>
              </a:rPr>
              <a:t>Thank You very much for</a:t>
            </a:r>
          </a:p>
          <a:p>
            <a:pPr marL="0" marR="0" lvl="0" indent="0" algn="ctr" defTabSz="914400" rtl="0" eaLnBrk="1" fontAlgn="auto" latinLnBrk="0" hangingPunct="1">
              <a:lnSpc>
                <a:spcPct val="100000"/>
              </a:lnSpc>
              <a:spcBef>
                <a:spcPts val="0"/>
              </a:spcBef>
              <a:spcAft>
                <a:spcPts val="300"/>
              </a:spcAft>
              <a:buClrTx/>
              <a:buSzTx/>
              <a:buFontTx/>
              <a:buNone/>
              <a:tabLst/>
              <a:defRPr/>
            </a:pPr>
            <a:r>
              <a:rPr lang="en-US" sz="4000">
                <a:solidFill>
                  <a:srgbClr val="003866"/>
                </a:solidFill>
                <a:latin typeface="Ubuntu" panose="020B0504030602030204" pitchFamily="34" charset="0"/>
                <a:ea typeface="Ubuntu Medium"/>
                <a:cs typeface="Ubuntu Medium"/>
                <a:sym typeface="Ubuntu Medium"/>
              </a:rPr>
              <a:t>Your attention and interest!</a:t>
            </a:r>
          </a:p>
        </p:txBody>
      </p:sp>
      <p:grpSp>
        <p:nvGrpSpPr>
          <p:cNvPr id="43" name="Gruppieren 42">
            <a:extLst>
              <a:ext uri="{FF2B5EF4-FFF2-40B4-BE49-F238E27FC236}">
                <a16:creationId xmlns:a16="http://schemas.microsoft.com/office/drawing/2014/main" id="{627F9501-3D0F-47F9-8253-5DA220A96088}"/>
              </a:ext>
            </a:extLst>
          </p:cNvPr>
          <p:cNvGrpSpPr/>
          <p:nvPr userDrawn="1"/>
        </p:nvGrpSpPr>
        <p:grpSpPr>
          <a:xfrm>
            <a:off x="5619494" y="4284000"/>
            <a:ext cx="2771506" cy="861774"/>
            <a:chOff x="5239002" y="5165582"/>
            <a:chExt cx="2771506" cy="861774"/>
          </a:xfrm>
        </p:grpSpPr>
        <p:pic>
          <p:nvPicPr>
            <p:cNvPr id="9" name="Grafik 8" descr="Markierung">
              <a:extLst>
                <a:ext uri="{FF2B5EF4-FFF2-40B4-BE49-F238E27FC236}">
                  <a16:creationId xmlns:a16="http://schemas.microsoft.com/office/drawing/2014/main" id="{22755EA7-31C6-4418-9D5C-5B1D3BAE563A}"/>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39002" y="5210582"/>
              <a:ext cx="270000" cy="270000"/>
            </a:xfrm>
            <a:prstGeom prst="rect">
              <a:avLst/>
            </a:prstGeom>
          </p:spPr>
        </p:pic>
        <p:sp>
          <p:nvSpPr>
            <p:cNvPr id="14" name="Textfeld 13">
              <a:extLst>
                <a:ext uri="{FF2B5EF4-FFF2-40B4-BE49-F238E27FC236}">
                  <a16:creationId xmlns:a16="http://schemas.microsoft.com/office/drawing/2014/main" id="{11271881-30C4-4A9B-8540-2D2E9A67E616}"/>
                </a:ext>
              </a:extLst>
            </p:cNvPr>
            <p:cNvSpPr txBox="1"/>
            <p:nvPr userDrawn="1"/>
          </p:nvSpPr>
          <p:spPr>
            <a:xfrm>
              <a:off x="5504694" y="5165582"/>
              <a:ext cx="2505814" cy="861774"/>
            </a:xfrm>
            <a:prstGeom prst="rect">
              <a:avLst/>
            </a:prstGeom>
          </p:spPr>
          <p:txBody>
            <a:bodyPr vert="horz" wrap="none" lIns="91440" tIns="45720" rIns="91440" bIns="45720" rtlCol="0" anchor="t">
              <a:spAutoFit/>
            </a:bodyPr>
            <a:lstStyle/>
            <a:p>
              <a:pPr algn="l">
                <a:spcAft>
                  <a:spcPts val="300"/>
                </a:spcAft>
              </a:pPr>
              <a:r>
                <a:rPr lang="de-DE" sz="1500">
                  <a:solidFill>
                    <a:srgbClr val="003866"/>
                  </a:solidFill>
                  <a:latin typeface="Ubuntu" panose="020B0504030602030204" pitchFamily="34" charset="0"/>
                </a:rPr>
                <a:t>Moritz-von-Rohr-Straße 1a</a:t>
              </a:r>
            </a:p>
            <a:p>
              <a:pPr algn="l">
                <a:spcAft>
                  <a:spcPts val="300"/>
                </a:spcAft>
              </a:pPr>
              <a:r>
                <a:rPr lang="de-DE" sz="1500">
                  <a:solidFill>
                    <a:srgbClr val="003866"/>
                  </a:solidFill>
                  <a:latin typeface="Ubuntu" panose="020B0504030602030204" pitchFamily="34" charset="0"/>
                </a:rPr>
                <a:t>07745 Jena</a:t>
              </a:r>
            </a:p>
            <a:p>
              <a:pPr algn="l">
                <a:spcAft>
                  <a:spcPts val="300"/>
                </a:spcAft>
              </a:pPr>
              <a:r>
                <a:rPr lang="de-DE" sz="1500">
                  <a:solidFill>
                    <a:srgbClr val="003866"/>
                  </a:solidFill>
                  <a:latin typeface="Ubuntu" panose="020B0504030602030204" pitchFamily="34" charset="0"/>
                </a:rPr>
                <a:t>Germany</a:t>
              </a:r>
            </a:p>
          </p:txBody>
        </p:sp>
      </p:grpSp>
      <p:grpSp>
        <p:nvGrpSpPr>
          <p:cNvPr id="32" name="Gruppieren 31">
            <a:extLst>
              <a:ext uri="{FF2B5EF4-FFF2-40B4-BE49-F238E27FC236}">
                <a16:creationId xmlns:a16="http://schemas.microsoft.com/office/drawing/2014/main" id="{6F991183-1DDE-43EE-8433-42AAC48F0B35}"/>
              </a:ext>
            </a:extLst>
          </p:cNvPr>
          <p:cNvGrpSpPr/>
          <p:nvPr userDrawn="1"/>
        </p:nvGrpSpPr>
        <p:grpSpPr>
          <a:xfrm>
            <a:off x="9336000" y="4284000"/>
            <a:ext cx="2405521" cy="1267538"/>
            <a:chOff x="8648932" y="5073403"/>
            <a:chExt cx="2405521" cy="1267538"/>
          </a:xfrm>
        </p:grpSpPr>
        <p:grpSp>
          <p:nvGrpSpPr>
            <p:cNvPr id="13" name="Gruppieren 12">
              <a:extLst>
                <a:ext uri="{FF2B5EF4-FFF2-40B4-BE49-F238E27FC236}">
                  <a16:creationId xmlns:a16="http://schemas.microsoft.com/office/drawing/2014/main" id="{9EBED89D-9F2C-4F09-AF00-C495D368CEF8}"/>
                </a:ext>
              </a:extLst>
            </p:cNvPr>
            <p:cNvGrpSpPr/>
            <p:nvPr userDrawn="1"/>
          </p:nvGrpSpPr>
          <p:grpSpPr>
            <a:xfrm>
              <a:off x="8648932" y="5073403"/>
              <a:ext cx="2070493" cy="323165"/>
              <a:chOff x="9581694" y="5634000"/>
              <a:chExt cx="2070493" cy="323165"/>
            </a:xfrm>
          </p:grpSpPr>
          <p:pic>
            <p:nvPicPr>
              <p:cNvPr id="6" name="Grafik 5" descr="Hörer">
                <a:extLst>
                  <a:ext uri="{FF2B5EF4-FFF2-40B4-BE49-F238E27FC236}">
                    <a16:creationId xmlns:a16="http://schemas.microsoft.com/office/drawing/2014/main" id="{811CD252-89BB-4BEF-A8FF-B14B67E8BF2A}"/>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81694" y="5660582"/>
                <a:ext cx="270000" cy="270000"/>
              </a:xfrm>
              <a:prstGeom prst="rect">
                <a:avLst/>
              </a:prstGeom>
            </p:spPr>
          </p:pic>
          <p:sp>
            <p:nvSpPr>
              <p:cNvPr id="12" name="Textfeld 11">
                <a:extLst>
                  <a:ext uri="{FF2B5EF4-FFF2-40B4-BE49-F238E27FC236}">
                    <a16:creationId xmlns:a16="http://schemas.microsoft.com/office/drawing/2014/main" id="{5218C54D-E996-4077-95B7-AE38D188A9C8}"/>
                  </a:ext>
                </a:extLst>
              </p:cNvPr>
              <p:cNvSpPr txBox="1"/>
              <p:nvPr userDrawn="1"/>
            </p:nvSpPr>
            <p:spPr>
              <a:xfrm>
                <a:off x="9851694" y="5634000"/>
                <a:ext cx="1800493" cy="323165"/>
              </a:xfrm>
              <a:prstGeom prst="rect">
                <a:avLst/>
              </a:prstGeom>
            </p:spPr>
            <p:txBody>
              <a:bodyPr vert="horz" wrap="none" lIns="91440" tIns="45720" rIns="9144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500">
                    <a:solidFill>
                      <a:srgbClr val="003866"/>
                    </a:solidFill>
                    <a:latin typeface="Ubuntu" panose="020B0504030602030204" pitchFamily="34" charset="0"/>
                  </a:rPr>
                  <a:t>+49 3641 2719321</a:t>
                </a:r>
              </a:p>
            </p:txBody>
          </p:sp>
        </p:grpSp>
        <p:grpSp>
          <p:nvGrpSpPr>
            <p:cNvPr id="15" name="Gruppieren 14">
              <a:extLst>
                <a:ext uri="{FF2B5EF4-FFF2-40B4-BE49-F238E27FC236}">
                  <a16:creationId xmlns:a16="http://schemas.microsoft.com/office/drawing/2014/main" id="{62BCBF15-A550-46BC-BBED-06792B9EEEF7}"/>
                </a:ext>
              </a:extLst>
            </p:cNvPr>
            <p:cNvGrpSpPr/>
            <p:nvPr userDrawn="1"/>
          </p:nvGrpSpPr>
          <p:grpSpPr>
            <a:xfrm>
              <a:off x="8648932" y="5426640"/>
              <a:ext cx="2070493" cy="323165"/>
              <a:chOff x="9581693" y="5926982"/>
              <a:chExt cx="2070493" cy="323165"/>
            </a:xfrm>
          </p:grpSpPr>
          <p:pic>
            <p:nvPicPr>
              <p:cNvPr id="11" name="Grafik 10" descr="Fax">
                <a:extLst>
                  <a:ext uri="{FF2B5EF4-FFF2-40B4-BE49-F238E27FC236}">
                    <a16:creationId xmlns:a16="http://schemas.microsoft.com/office/drawing/2014/main" id="{FEC9054D-F75D-4778-B71A-E63F67BEA3FA}"/>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581693" y="5948614"/>
                <a:ext cx="270000" cy="270000"/>
              </a:xfrm>
              <a:prstGeom prst="rect">
                <a:avLst/>
              </a:prstGeom>
            </p:spPr>
          </p:pic>
          <p:sp>
            <p:nvSpPr>
              <p:cNvPr id="28" name="Textfeld 27">
                <a:extLst>
                  <a:ext uri="{FF2B5EF4-FFF2-40B4-BE49-F238E27FC236}">
                    <a16:creationId xmlns:a16="http://schemas.microsoft.com/office/drawing/2014/main" id="{BA2113A1-4877-4895-9EE3-4E749EED2784}"/>
                  </a:ext>
                </a:extLst>
              </p:cNvPr>
              <p:cNvSpPr txBox="1"/>
              <p:nvPr userDrawn="1"/>
            </p:nvSpPr>
            <p:spPr>
              <a:xfrm>
                <a:off x="9851693" y="5926982"/>
                <a:ext cx="1800493" cy="323165"/>
              </a:xfrm>
              <a:prstGeom prst="rect">
                <a:avLst/>
              </a:prstGeom>
            </p:spPr>
            <p:txBody>
              <a:bodyPr vert="horz" wrap="none" lIns="91440" tIns="45720" rIns="91440" bIns="4572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500">
                    <a:solidFill>
                      <a:srgbClr val="003866"/>
                    </a:solidFill>
                    <a:latin typeface="Ubuntu" panose="020B0504030602030204" pitchFamily="34" charset="0"/>
                  </a:rPr>
                  <a:t>+49 3641 2719323</a:t>
                </a:r>
              </a:p>
            </p:txBody>
          </p:sp>
        </p:grpSp>
        <p:grpSp>
          <p:nvGrpSpPr>
            <p:cNvPr id="31" name="Gruppieren 30">
              <a:extLst>
                <a:ext uri="{FF2B5EF4-FFF2-40B4-BE49-F238E27FC236}">
                  <a16:creationId xmlns:a16="http://schemas.microsoft.com/office/drawing/2014/main" id="{C5646013-3BCE-4964-8493-CFB77D37AB6D}"/>
                </a:ext>
              </a:extLst>
            </p:cNvPr>
            <p:cNvGrpSpPr/>
            <p:nvPr userDrawn="1"/>
          </p:nvGrpSpPr>
          <p:grpSpPr>
            <a:xfrm>
              <a:off x="8648932" y="6017776"/>
              <a:ext cx="2405521" cy="323165"/>
              <a:chOff x="7716172" y="6091022"/>
              <a:chExt cx="2405521" cy="323165"/>
            </a:xfrm>
          </p:grpSpPr>
          <p:pic>
            <p:nvPicPr>
              <p:cNvPr id="3" name="Grafik 2" descr="Umschlag">
                <a:extLst>
                  <a:ext uri="{FF2B5EF4-FFF2-40B4-BE49-F238E27FC236}">
                    <a16:creationId xmlns:a16="http://schemas.microsoft.com/office/drawing/2014/main" id="{1B03E5CF-0D55-4FE7-9477-169F9657B1B6}"/>
                  </a:ext>
                </a:extLst>
              </p:cNvPr>
              <p:cNvPicPr>
                <a:picLocks noChangeAspect="1"/>
              </p:cNvPicPr>
              <p:nvPr userDrawn="1"/>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16172" y="6117604"/>
                <a:ext cx="270000" cy="270000"/>
              </a:xfrm>
              <a:prstGeom prst="rect">
                <a:avLst/>
              </a:prstGeom>
            </p:spPr>
          </p:pic>
          <p:sp>
            <p:nvSpPr>
              <p:cNvPr id="30" name="Textfeld 29">
                <a:extLst>
                  <a:ext uri="{FF2B5EF4-FFF2-40B4-BE49-F238E27FC236}">
                    <a16:creationId xmlns:a16="http://schemas.microsoft.com/office/drawing/2014/main" id="{77AE2A08-9520-447A-BE18-33D4AB072266}"/>
                  </a:ext>
                </a:extLst>
              </p:cNvPr>
              <p:cNvSpPr txBox="1"/>
              <p:nvPr userDrawn="1"/>
            </p:nvSpPr>
            <p:spPr>
              <a:xfrm>
                <a:off x="7986172" y="6091022"/>
                <a:ext cx="2135521" cy="323165"/>
              </a:xfrm>
              <a:prstGeom prst="rect">
                <a:avLst/>
              </a:prstGeom>
            </p:spPr>
            <p:txBody>
              <a:bodyPr vert="horz" wrap="none" lIns="91440" tIns="45720" rIns="91440" bIns="45720" rtlCol="0" anchor="t" anchorCtr="0">
                <a:spAutoFit/>
              </a:bodyPr>
              <a:lstStyle/>
              <a:p>
                <a:pPr marL="0" algn="l">
                  <a:spcBef>
                    <a:spcPts val="0"/>
                  </a:spcBef>
                  <a:spcAft>
                    <a:spcPts val="300"/>
                  </a:spcAft>
                  <a:tabLst>
                    <a:tab pos="307975" algn="l"/>
                  </a:tabLst>
                </a:pPr>
                <a:r>
                  <a:rPr lang="de-DE" sz="1500">
                    <a:solidFill>
                      <a:srgbClr val="003866"/>
                    </a:solidFill>
                    <a:latin typeface="Ubuntu" panose="020B0504030602030204" pitchFamily="34" charset="0"/>
                  </a:rPr>
                  <a:t>info@mi2-factory.com</a:t>
                </a:r>
              </a:p>
            </p:txBody>
          </p:sp>
        </p:grpSp>
        <p:grpSp>
          <p:nvGrpSpPr>
            <p:cNvPr id="18" name="Gruppieren 17">
              <a:extLst>
                <a:ext uri="{FF2B5EF4-FFF2-40B4-BE49-F238E27FC236}">
                  <a16:creationId xmlns:a16="http://schemas.microsoft.com/office/drawing/2014/main" id="{7C971AB3-6BA5-4BFC-AEC1-FBD9313ADDD1}"/>
                </a:ext>
              </a:extLst>
            </p:cNvPr>
            <p:cNvGrpSpPr/>
            <p:nvPr userDrawn="1"/>
          </p:nvGrpSpPr>
          <p:grpSpPr>
            <a:xfrm>
              <a:off x="8651255" y="5721193"/>
              <a:ext cx="2370684" cy="323165"/>
              <a:chOff x="8914031" y="5898010"/>
              <a:chExt cx="2370684" cy="323165"/>
            </a:xfrm>
          </p:grpSpPr>
          <p:sp>
            <p:nvSpPr>
              <p:cNvPr id="29" name="Textfeld 28">
                <a:extLst>
                  <a:ext uri="{FF2B5EF4-FFF2-40B4-BE49-F238E27FC236}">
                    <a16:creationId xmlns:a16="http://schemas.microsoft.com/office/drawing/2014/main" id="{3FB470C9-BAD5-491E-B742-EA5E3877CCA3}"/>
                  </a:ext>
                </a:extLst>
              </p:cNvPr>
              <p:cNvSpPr txBox="1"/>
              <p:nvPr userDrawn="1"/>
            </p:nvSpPr>
            <p:spPr>
              <a:xfrm>
                <a:off x="9182858" y="5898010"/>
                <a:ext cx="2101857" cy="323165"/>
              </a:xfrm>
              <a:prstGeom prst="rect">
                <a:avLst/>
              </a:prstGeom>
            </p:spPr>
            <p:txBody>
              <a:bodyPr vert="horz" wrap="none" lIns="91440" tIns="45720" rIns="91440" bIns="45720" rtlCol="0" anchor="t" anchorCtr="0">
                <a:spAutoFit/>
              </a:bodyPr>
              <a:lstStyle/>
              <a:p>
                <a:pPr marL="0" algn="l">
                  <a:spcBef>
                    <a:spcPts val="0"/>
                  </a:spcBef>
                  <a:spcAft>
                    <a:spcPts val="300"/>
                  </a:spcAft>
                  <a:tabLst>
                    <a:tab pos="307975" algn="l"/>
                  </a:tabLst>
                </a:pPr>
                <a:r>
                  <a:rPr lang="de-DE" sz="1500">
                    <a:solidFill>
                      <a:srgbClr val="003866"/>
                    </a:solidFill>
                    <a:latin typeface="Ubuntu" panose="020B0504030602030204" pitchFamily="34" charset="0"/>
                  </a:rPr>
                  <a:t>www.mi2-factory.com</a:t>
                </a:r>
              </a:p>
            </p:txBody>
          </p:sp>
          <p:pic>
            <p:nvPicPr>
              <p:cNvPr id="17" name="Grafik 16" descr="Welt">
                <a:extLst>
                  <a:ext uri="{FF2B5EF4-FFF2-40B4-BE49-F238E27FC236}">
                    <a16:creationId xmlns:a16="http://schemas.microsoft.com/office/drawing/2014/main" id="{5843963E-B4E2-4DF1-B615-FC16D50EB8DA}"/>
                  </a:ext>
                </a:extLst>
              </p:cNvPr>
              <p:cNvPicPr>
                <a:picLocks noChangeAspect="1"/>
              </p:cNvPicPr>
              <p:nvPr userDrawn="1"/>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14031" y="5924592"/>
                <a:ext cx="270000" cy="270000"/>
              </a:xfrm>
              <a:prstGeom prst="rect">
                <a:avLst/>
              </a:prstGeom>
            </p:spPr>
          </p:pic>
        </p:grpSp>
      </p:grpSp>
      <p:sp>
        <p:nvSpPr>
          <p:cNvPr id="24" name="Rechteck 23">
            <a:extLst>
              <a:ext uri="{FF2B5EF4-FFF2-40B4-BE49-F238E27FC236}">
                <a16:creationId xmlns:a16="http://schemas.microsoft.com/office/drawing/2014/main" id="{114F26AD-6D46-4B00-AE6D-FB0746E6DF27}"/>
              </a:ext>
            </a:extLst>
          </p:cNvPr>
          <p:cNvSpPr/>
          <p:nvPr userDrawn="1"/>
        </p:nvSpPr>
        <p:spPr>
          <a:xfrm>
            <a:off x="0" y="3429000"/>
            <a:ext cx="11160000" cy="54000"/>
          </a:xfrm>
          <a:prstGeom prst="rect">
            <a:avLst/>
          </a:prstGeom>
          <a:gradFill flip="none" rotWithShape="1">
            <a:gsLst>
              <a:gs pos="50000">
                <a:srgbClr val="E62D2C"/>
              </a:gs>
              <a:gs pos="100000">
                <a:srgbClr val="E3E4E8">
                  <a:alpha val="25000"/>
                </a:srgb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5" name="Grafik 24">
            <a:extLst>
              <a:ext uri="{FF2B5EF4-FFF2-40B4-BE49-F238E27FC236}">
                <a16:creationId xmlns:a16="http://schemas.microsoft.com/office/drawing/2014/main" id="{9C2D38E8-0A28-4A76-A71D-36E831EA9E6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233787" y="43961"/>
            <a:ext cx="1417243" cy="540000"/>
          </a:xfrm>
          <a:prstGeom prst="rect">
            <a:avLst/>
          </a:prstGeom>
        </p:spPr>
      </p:pic>
    </p:spTree>
    <p:extLst>
      <p:ext uri="{BB962C8B-B14F-4D97-AF65-F5344CB8AC3E}">
        <p14:creationId xmlns:p14="http://schemas.microsoft.com/office/powerpoint/2010/main" val="470295664"/>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Foliennummernplatzhalter 2"/>
          <p:cNvSpPr>
            <a:spLocks noGrp="1"/>
          </p:cNvSpPr>
          <p:nvPr>
            <p:ph type="sldNum" sz="quarter" idx="10"/>
          </p:nvPr>
        </p:nvSpPr>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smtClean="0">
                <a:solidFill>
                  <a:schemeClr val="accent5"/>
                </a:solidFill>
              </a:rPr>
              <a:pPr algn="l" rtl="0"/>
              <a:t>‹Nr.›</a:t>
            </a:fld>
            <a:r>
              <a:rPr lang="en-GB" sz="1000" b="0" i="0" u="none" baseline="0">
                <a:solidFill>
                  <a:schemeClr val="accent5"/>
                </a:solidFill>
              </a:rPr>
              <a:t> </a:t>
            </a:r>
          </a:p>
        </p:txBody>
      </p:sp>
      <p:pic>
        <p:nvPicPr>
          <p:cNvPr id="5" name="Grafik 4">
            <a:extLst>
              <a:ext uri="{FF2B5EF4-FFF2-40B4-BE49-F238E27FC236}">
                <a16:creationId xmlns:a16="http://schemas.microsoft.com/office/drawing/2014/main" id="{F5FC806B-10F2-47DD-8933-1157AF0D81BA}"/>
              </a:ext>
            </a:extLst>
          </p:cNvPr>
          <p:cNvPicPr>
            <a:picLocks noChangeAspect="1"/>
          </p:cNvPicPr>
          <p:nvPr userDrawn="1"/>
        </p:nvPicPr>
        <p:blipFill rotWithShape="1">
          <a:blip r:embed="rId2"/>
          <a:srcRect l="11160" t="8732" r="10722" b="13048"/>
          <a:stretch/>
        </p:blipFill>
        <p:spPr>
          <a:xfrm>
            <a:off x="8184232" y="421809"/>
            <a:ext cx="1368152" cy="846951"/>
          </a:xfrm>
          <a:prstGeom prst="rect">
            <a:avLst/>
          </a:prstGeom>
        </p:spPr>
      </p:pic>
    </p:spTree>
    <p:extLst>
      <p:ext uri="{BB962C8B-B14F-4D97-AF65-F5344CB8AC3E}">
        <p14:creationId xmlns:p14="http://schemas.microsoft.com/office/powerpoint/2010/main" val="42605036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Logo">
    <p:spTree>
      <p:nvGrpSpPr>
        <p:cNvPr id="1" name=""/>
        <p:cNvGrpSpPr/>
        <p:nvPr/>
      </p:nvGrpSpPr>
      <p:grpSpPr>
        <a:xfrm>
          <a:off x="0" y="0"/>
          <a:ext cx="0" cy="0"/>
          <a:chOff x="0" y="0"/>
          <a:chExt cx="0" cy="0"/>
        </a:xfrm>
      </p:grpSpPr>
      <p:sp>
        <p:nvSpPr>
          <p:cNvPr id="2" name="Titel 1"/>
          <p:cNvSpPr>
            <a:spLocks noGrp="1"/>
          </p:cNvSpPr>
          <p:nvPr>
            <p:ph type="title"/>
          </p:nvPr>
        </p:nvSpPr>
        <p:spPr>
          <a:xfrm>
            <a:off x="923368" y="806911"/>
            <a:ext cx="8629016" cy="876300"/>
          </a:xfrm>
        </p:spPr>
        <p:txBody>
          <a:bodyPr/>
          <a:lstStyle/>
          <a:p>
            <a:r>
              <a:rPr lang="de-DE" dirty="0"/>
              <a:t>Titelmasterformat durch Klicken bearbeiten</a:t>
            </a:r>
          </a:p>
        </p:txBody>
      </p:sp>
      <p:sp>
        <p:nvSpPr>
          <p:cNvPr id="3" name="Foliennummernplatzhalter 2"/>
          <p:cNvSpPr>
            <a:spLocks noGrp="1"/>
          </p:cNvSpPr>
          <p:nvPr>
            <p:ph type="sldNum" sz="quarter" idx="10"/>
          </p:nvPr>
        </p:nvSpPr>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smtClean="0">
                <a:solidFill>
                  <a:schemeClr val="accent5"/>
                </a:solidFill>
              </a:rPr>
              <a:pPr algn="l" rtl="0"/>
              <a:t>‹Nr.›</a:t>
            </a:fld>
            <a:r>
              <a:rPr lang="en-GB" sz="1000" b="0" i="0" u="none" baseline="0">
                <a:solidFill>
                  <a:schemeClr val="accent5"/>
                </a:solidFill>
              </a:rPr>
              <a:t> </a:t>
            </a: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20000" y="540000"/>
            <a:ext cx="1812610" cy="560924"/>
          </a:xfrm>
          <a:prstGeom prst="rect">
            <a:avLst/>
          </a:prstGeom>
        </p:spPr>
      </p:pic>
      <p:pic>
        <p:nvPicPr>
          <p:cNvPr id="7" name="Grafik 6">
            <a:extLst>
              <a:ext uri="{FF2B5EF4-FFF2-40B4-BE49-F238E27FC236}">
                <a16:creationId xmlns:a16="http://schemas.microsoft.com/office/drawing/2014/main" id="{85C3B72E-1DBF-4168-8730-06A2AECEAC15}"/>
              </a:ext>
            </a:extLst>
          </p:cNvPr>
          <p:cNvPicPr>
            <a:picLocks noChangeAspect="1"/>
          </p:cNvPicPr>
          <p:nvPr userDrawn="1"/>
        </p:nvPicPr>
        <p:blipFill rotWithShape="1">
          <a:blip r:embed="rId3"/>
          <a:srcRect l="11160" t="8732" r="10722" b="13048"/>
          <a:stretch/>
        </p:blipFill>
        <p:spPr>
          <a:xfrm>
            <a:off x="8184232" y="421809"/>
            <a:ext cx="1368152" cy="846951"/>
          </a:xfrm>
          <a:prstGeom prst="rect">
            <a:avLst/>
          </a:prstGeom>
        </p:spPr>
      </p:pic>
    </p:spTree>
    <p:extLst>
      <p:ext uri="{BB962C8B-B14F-4D97-AF65-F5344CB8AC3E}">
        <p14:creationId xmlns:p14="http://schemas.microsoft.com/office/powerpoint/2010/main" val="18700873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erfolie mit Logo">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a:solidFill>
                  <a:schemeClr val="accent5"/>
                </a:solidFill>
              </a:rPr>
              <a:pPr algn="l" rtl="0"/>
              <a:t>‹Nr.›</a:t>
            </a:fld>
            <a:r>
              <a:rPr lang="en-GB" sz="1000" b="0" i="0" u="none" baseline="0">
                <a:solidFill>
                  <a:schemeClr val="accent5"/>
                </a:solidFill>
              </a:rPr>
              <a:t> </a:t>
            </a:r>
            <a:endParaRPr lang="en-GB" sz="1000" dirty="0">
              <a:solidFill>
                <a:schemeClr val="accent5"/>
              </a:solidFill>
            </a:endParaRPr>
          </a:p>
        </p:txBody>
      </p:sp>
      <p:pic>
        <p:nvPicPr>
          <p:cNvPr id="4"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20000" y="540000"/>
            <a:ext cx="1812610" cy="560924"/>
          </a:xfrm>
          <a:prstGeom prst="rect">
            <a:avLst/>
          </a:prstGeom>
        </p:spPr>
      </p:pic>
      <p:pic>
        <p:nvPicPr>
          <p:cNvPr id="6" name="Grafik 5">
            <a:extLst>
              <a:ext uri="{FF2B5EF4-FFF2-40B4-BE49-F238E27FC236}">
                <a16:creationId xmlns:a16="http://schemas.microsoft.com/office/drawing/2014/main" id="{40003DDC-5DD4-4DC2-86C1-D14D0004C2B7}"/>
              </a:ext>
            </a:extLst>
          </p:cNvPr>
          <p:cNvPicPr>
            <a:picLocks noChangeAspect="1"/>
          </p:cNvPicPr>
          <p:nvPr userDrawn="1"/>
        </p:nvPicPr>
        <p:blipFill rotWithShape="1">
          <a:blip r:embed="rId3"/>
          <a:srcRect l="11160" t="8732" r="10722" b="13048"/>
          <a:stretch/>
        </p:blipFill>
        <p:spPr>
          <a:xfrm>
            <a:off x="8184232" y="421809"/>
            <a:ext cx="1368152" cy="846951"/>
          </a:xfrm>
          <a:prstGeom prst="rect">
            <a:avLst/>
          </a:prstGeom>
        </p:spPr>
      </p:pic>
    </p:spTree>
    <p:extLst>
      <p:ext uri="{BB962C8B-B14F-4D97-AF65-F5344CB8AC3E}">
        <p14:creationId xmlns:p14="http://schemas.microsoft.com/office/powerpoint/2010/main" val="517785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Foliennummernplatzhalter 2"/>
          <p:cNvSpPr>
            <a:spLocks noGrp="1"/>
          </p:cNvSpPr>
          <p:nvPr>
            <p:ph type="sldNum" sz="quarter" idx="10"/>
          </p:nvPr>
        </p:nvSpPr>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smtClean="0">
                <a:solidFill>
                  <a:schemeClr val="accent5"/>
                </a:solidFill>
              </a:rPr>
              <a:pPr algn="l" rtl="0"/>
              <a:t>‹Nr.›</a:t>
            </a:fld>
            <a:r>
              <a:rPr lang="en-GB" sz="1000" b="0" i="0" u="none" baseline="0">
                <a:solidFill>
                  <a:schemeClr val="accent5"/>
                </a:solidFill>
              </a:rPr>
              <a:t> </a:t>
            </a:r>
          </a:p>
        </p:txBody>
      </p:sp>
      <p:pic>
        <p:nvPicPr>
          <p:cNvPr id="5" name="Grafik 4">
            <a:extLst>
              <a:ext uri="{FF2B5EF4-FFF2-40B4-BE49-F238E27FC236}">
                <a16:creationId xmlns:a16="http://schemas.microsoft.com/office/drawing/2014/main" id="{34CD4F3C-EA2A-4EDC-86A1-0AE93B002208}"/>
              </a:ext>
            </a:extLst>
          </p:cNvPr>
          <p:cNvPicPr>
            <a:picLocks noChangeAspect="1"/>
          </p:cNvPicPr>
          <p:nvPr userDrawn="1"/>
        </p:nvPicPr>
        <p:blipFill rotWithShape="1">
          <a:blip r:embed="rId2"/>
          <a:srcRect l="11160" t="8732" r="10722" b="13048"/>
          <a:stretch/>
        </p:blipFill>
        <p:spPr>
          <a:xfrm>
            <a:off x="8184232" y="421809"/>
            <a:ext cx="1368152" cy="846951"/>
          </a:xfrm>
          <a:prstGeom prst="rect">
            <a:avLst/>
          </a:prstGeom>
        </p:spPr>
      </p:pic>
    </p:spTree>
    <p:extLst>
      <p:ext uri="{BB962C8B-B14F-4D97-AF65-F5344CB8AC3E}">
        <p14:creationId xmlns:p14="http://schemas.microsoft.com/office/powerpoint/2010/main" val="13343356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34" Type="http://schemas.openxmlformats.org/officeDocument/2006/relationships/theme" Target="../theme/theme2.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slideLayout" Target="../slideLayouts/slideLayout43.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29" Type="http://schemas.openxmlformats.org/officeDocument/2006/relationships/slideLayout" Target="../slideLayouts/slideLayout39.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slideLayout" Target="../slideLayouts/slideLayout42.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36" Type="http://schemas.openxmlformats.org/officeDocument/2006/relationships/image" Target="../media/image4.jpeg"/><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slideLayout" Target="../slideLayouts/slideLayout41.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slideLayout" Target="../slideLayouts/slideLayout40.xml"/><Relationship Id="rId35" Type="http://schemas.openxmlformats.org/officeDocument/2006/relationships/image" Target="../media/image3.png"/><Relationship Id="rId8"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6.xml"/><Relationship Id="rId7" Type="http://schemas.openxmlformats.org/officeDocument/2006/relationships/tags" Target="../tags/tag1.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vmlDrawing" Target="../drawings/vmlDrawing1.vml"/><Relationship Id="rId5" Type="http://schemas.openxmlformats.org/officeDocument/2006/relationships/theme" Target="../theme/theme3.xml"/><Relationship Id="rId4" Type="http://schemas.openxmlformats.org/officeDocument/2006/relationships/slideLayout" Target="../slideLayouts/slideLayout47.xml"/><Relationship Id="rId9" Type="http://schemas.openxmlformats.org/officeDocument/2006/relationships/image" Target="../media/image10.emf"/></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theme" Target="../theme/theme4.xml"/><Relationship Id="rId5" Type="http://schemas.openxmlformats.org/officeDocument/2006/relationships/slideLayout" Target="../slideLayouts/slideLayout52.xml"/><Relationship Id="rId4" Type="http://schemas.openxmlformats.org/officeDocument/2006/relationships/slideLayout" Target="../slideLayouts/slideLayout51.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55.xml"/><Relationship Id="rId7" Type="http://schemas.openxmlformats.org/officeDocument/2006/relationships/tags" Target="../tags/tag2.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vmlDrawing" Target="../drawings/vmlDrawing2.vml"/><Relationship Id="rId5" Type="http://schemas.openxmlformats.org/officeDocument/2006/relationships/theme" Target="../theme/theme5.xml"/><Relationship Id="rId4" Type="http://schemas.openxmlformats.org/officeDocument/2006/relationships/slideLayout" Target="../slideLayouts/slideLayout56.xml"/><Relationship Id="rId9" Type="http://schemas.openxmlformats.org/officeDocument/2006/relationships/image" Target="../media/image10.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23368" y="806910"/>
            <a:ext cx="8701024" cy="893897"/>
          </a:xfrm>
          <a:prstGeom prst="rect">
            <a:avLst/>
          </a:prstGeom>
        </p:spPr>
        <p:txBody>
          <a:bodyPr vert="horz" lIns="0" tIns="0" rIns="108000" bIns="0" rtlCol="0" anchor="t">
            <a:noAutofit/>
          </a:bodyPr>
          <a:lstStyle/>
          <a:p>
            <a:pPr algn="l" rtl="0"/>
            <a:r>
              <a:rPr lang="en-GB" b="0" i="0" u="none" baseline="0"/>
              <a:t>Headline eingeben | maximal Zweizeilig</a:t>
            </a:r>
            <a:endParaRPr lang="en-GB" dirty="0"/>
          </a:p>
        </p:txBody>
      </p:sp>
      <p:sp>
        <p:nvSpPr>
          <p:cNvPr id="3" name="Text Placeholder 2"/>
          <p:cNvSpPr>
            <a:spLocks noGrp="1"/>
          </p:cNvSpPr>
          <p:nvPr>
            <p:ph type="body" idx="1"/>
          </p:nvPr>
        </p:nvSpPr>
        <p:spPr>
          <a:xfrm>
            <a:off x="922867" y="2352503"/>
            <a:ext cx="10515600" cy="3956223"/>
          </a:xfrm>
          <a:prstGeom prst="rect">
            <a:avLst/>
          </a:prstGeom>
        </p:spPr>
        <p:txBody>
          <a:bodyPr vert="horz" lIns="0" tIns="0" rIns="108000" bIns="0" rtlCol="0">
            <a:noAutofit/>
          </a:bodyPr>
          <a:lstStyle/>
          <a:p>
            <a:pPr lvl="0" algn="l" rtl="0"/>
            <a:r>
              <a:rPr lang="en-GB" b="0" i="0" u="none" baseline="0" dirty="0" err="1"/>
              <a:t>Textmasterformat</a:t>
            </a:r>
            <a:r>
              <a:rPr lang="en-GB" b="0" i="0" u="none" baseline="0" dirty="0"/>
              <a:t> </a:t>
            </a:r>
            <a:r>
              <a:rPr lang="en-GB" b="0" i="0" u="none" baseline="0" dirty="0" err="1"/>
              <a:t>bearbeiten</a:t>
            </a:r>
            <a:endParaRPr lang="en-GB" b="0" i="0" u="none" baseline="0" dirty="0"/>
          </a:p>
          <a:p>
            <a:pPr lvl="1" algn="l" rtl="0"/>
            <a:r>
              <a:rPr lang="en-GB" b="0" i="0" u="none" baseline="0" dirty="0" err="1"/>
              <a:t>Zweite</a:t>
            </a:r>
            <a:r>
              <a:rPr lang="en-GB" b="0" i="0" u="none" baseline="0" dirty="0"/>
              <a:t> </a:t>
            </a:r>
            <a:r>
              <a:rPr lang="en-GB" b="0" i="0" u="none" baseline="0" dirty="0" err="1"/>
              <a:t>Ebene</a:t>
            </a:r>
            <a:endParaRPr lang="en-GB" b="0" i="0" u="none" baseline="0" dirty="0"/>
          </a:p>
          <a:p>
            <a:pPr lvl="2" algn="l" rtl="0"/>
            <a:r>
              <a:rPr lang="en-GB" b="0" i="0" u="none" baseline="0" dirty="0" err="1"/>
              <a:t>Dritte</a:t>
            </a:r>
            <a:r>
              <a:rPr lang="en-GB" b="0" i="0" u="none" baseline="0" dirty="0"/>
              <a:t> </a:t>
            </a:r>
            <a:r>
              <a:rPr lang="en-GB" b="0" i="0" u="none" baseline="0" dirty="0" err="1"/>
              <a:t>Ebene</a:t>
            </a:r>
            <a:endParaRPr lang="en-GB" b="0" i="0" u="none" baseline="0" dirty="0"/>
          </a:p>
          <a:p>
            <a:pPr lvl="3" algn="l" rtl="0"/>
            <a:r>
              <a:rPr lang="en-GB" b="0" i="0" u="none" baseline="0" dirty="0" err="1"/>
              <a:t>Vierte</a:t>
            </a:r>
            <a:r>
              <a:rPr lang="en-GB" b="0" i="0" u="none" baseline="0" dirty="0"/>
              <a:t> </a:t>
            </a:r>
            <a:r>
              <a:rPr lang="en-GB" b="0" i="0" u="none" baseline="0" dirty="0" err="1"/>
              <a:t>Ebene</a:t>
            </a:r>
            <a:endParaRPr lang="en-GB" b="0" i="0" u="none" baseline="0" dirty="0"/>
          </a:p>
          <a:p>
            <a:pPr lvl="4" algn="l" rtl="0"/>
            <a:r>
              <a:rPr lang="en-GB" b="0" i="0" u="none" baseline="0" dirty="0" err="1"/>
              <a:t>Fünfte</a:t>
            </a:r>
            <a:r>
              <a:rPr lang="en-GB" b="0" i="0" u="none" baseline="0" dirty="0"/>
              <a:t> </a:t>
            </a:r>
            <a:r>
              <a:rPr lang="en-GB" b="0" i="0" u="none" baseline="0" dirty="0" err="1"/>
              <a:t>Ebene</a:t>
            </a:r>
            <a:endParaRPr lang="en-GB" dirty="0"/>
          </a:p>
        </p:txBody>
      </p:sp>
      <p:sp>
        <p:nvSpPr>
          <p:cNvPr id="6" name="Slide Number Placeholder 5"/>
          <p:cNvSpPr>
            <a:spLocks noGrp="1"/>
          </p:cNvSpPr>
          <p:nvPr>
            <p:ph type="sldNum" sz="quarter" idx="4"/>
          </p:nvPr>
        </p:nvSpPr>
        <p:spPr>
          <a:xfrm>
            <a:off x="912286" y="6374816"/>
            <a:ext cx="10484464" cy="221932"/>
          </a:xfrm>
          <a:prstGeom prst="rect">
            <a:avLst/>
          </a:prstGeom>
        </p:spPr>
        <p:txBody>
          <a:bodyPr vert="horz" lIns="91440" tIns="0" rIns="108000" bIns="0" rtlCol="0" anchor="ctr"/>
          <a:lstStyle>
            <a:lvl1pPr algn="r">
              <a:defRPr sz="1200">
                <a:solidFill>
                  <a:schemeClr val="accent4"/>
                </a:solidFill>
              </a:defRPr>
            </a:lvl1p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a:solidFill>
                  <a:schemeClr val="accent5"/>
                </a:solidFill>
              </a:rPr>
              <a:pPr algn="l" rtl="0"/>
              <a:t>‹Nr.›</a:t>
            </a:fld>
            <a:r>
              <a:rPr lang="en-GB" sz="1000" b="0" i="0" u="none" baseline="0">
                <a:solidFill>
                  <a:schemeClr val="accent5"/>
                </a:solidFill>
              </a:rPr>
              <a:t> </a:t>
            </a:r>
          </a:p>
        </p:txBody>
      </p:sp>
      <p:sp>
        <p:nvSpPr>
          <p:cNvPr id="9" name="Rechteck 8"/>
          <p:cNvSpPr/>
          <p:nvPr/>
        </p:nvSpPr>
        <p:spPr>
          <a:xfrm>
            <a:off x="0" y="908050"/>
            <a:ext cx="168000" cy="8651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a:p>
        </p:txBody>
      </p:sp>
      <p:sp>
        <p:nvSpPr>
          <p:cNvPr id="10" name="Rechteck 9"/>
          <p:cNvSpPr/>
          <p:nvPr/>
        </p:nvSpPr>
        <p:spPr>
          <a:xfrm>
            <a:off x="0" y="1772814"/>
            <a:ext cx="168000" cy="5085186"/>
          </a:xfrm>
          <a:prstGeom prst="rect">
            <a:avLst/>
          </a:prstGeom>
          <a:solidFill>
            <a:srgbClr val="DDD1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800"/>
          </a:p>
        </p:txBody>
      </p:sp>
    </p:spTree>
    <p:extLst>
      <p:ext uri="{BB962C8B-B14F-4D97-AF65-F5344CB8AC3E}">
        <p14:creationId xmlns:p14="http://schemas.microsoft.com/office/powerpoint/2010/main" val="13461834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751" r:id="rId4"/>
    <p:sldLayoutId id="2147483758" r:id="rId5"/>
    <p:sldLayoutId id="2147483761" r:id="rId6"/>
    <p:sldLayoutId id="2147483759" r:id="rId7"/>
    <p:sldLayoutId id="2147483667" r:id="rId8"/>
    <p:sldLayoutId id="2147483762" r:id="rId9"/>
    <p:sldLayoutId id="2147483760" r:id="rId10"/>
  </p:sldLayoutIdLst>
  <p:hf hdr="0" dt="0"/>
  <p:txStyles>
    <p:titleStyle>
      <a:lvl1pPr algn="l" defTabSz="914400" rtl="0" eaLnBrk="1" latinLnBrk="0" hangingPunct="1">
        <a:lnSpc>
          <a:spcPct val="100000"/>
        </a:lnSpc>
        <a:spcBef>
          <a:spcPct val="0"/>
        </a:spcBef>
        <a:buNone/>
        <a:defRPr sz="3000" kern="1200" cap="all" baseline="0">
          <a:solidFill>
            <a:schemeClr val="tx2"/>
          </a:solidFill>
          <a:latin typeface="+mj-lt"/>
          <a:ea typeface="+mj-ea"/>
          <a:cs typeface="+mj-cs"/>
        </a:defRPr>
      </a:lvl1pPr>
    </p:titleStyle>
    <p:bodyStyle>
      <a:lvl1pPr marL="177800" indent="-177800" algn="l" defTabSz="914400" rtl="0" eaLnBrk="1" latinLnBrk="0" hangingPunct="1">
        <a:lnSpc>
          <a:spcPct val="120000"/>
        </a:lnSpc>
        <a:spcBef>
          <a:spcPts val="1000"/>
        </a:spcBef>
        <a:buClr>
          <a:schemeClr val="tx2"/>
        </a:buClr>
        <a:buSzPct val="80000"/>
        <a:buFont typeface="Wingdings" panose="05000000000000000000" pitchFamily="2" charset="2"/>
        <a:buChar char=""/>
        <a:defRPr sz="2000" kern="1200">
          <a:solidFill>
            <a:schemeClr val="accent5"/>
          </a:solidFill>
          <a:latin typeface="+mn-lt"/>
          <a:ea typeface="+mn-ea"/>
          <a:cs typeface="+mn-cs"/>
        </a:defRPr>
      </a:lvl1pPr>
      <a:lvl2pPr marL="361950" indent="-184150" algn="l" defTabSz="914400" rtl="0" eaLnBrk="1" latinLnBrk="0" hangingPunct="1">
        <a:lnSpc>
          <a:spcPct val="120000"/>
        </a:lnSpc>
        <a:spcBef>
          <a:spcPts val="500"/>
        </a:spcBef>
        <a:buClr>
          <a:schemeClr val="tx2"/>
        </a:buClr>
        <a:buSzPct val="80000"/>
        <a:buFont typeface="Wingdings" panose="05000000000000000000" pitchFamily="2" charset="2"/>
        <a:buChar char=""/>
        <a:defRPr sz="1800" kern="1200">
          <a:solidFill>
            <a:schemeClr val="accent5"/>
          </a:solidFill>
          <a:latin typeface="+mn-lt"/>
          <a:ea typeface="+mn-ea"/>
          <a:cs typeface="+mn-cs"/>
        </a:defRPr>
      </a:lvl2pPr>
      <a:lvl3pPr marL="539750" indent="-177800" algn="l" defTabSz="914400" rtl="0" eaLnBrk="1" latinLnBrk="0" hangingPunct="1">
        <a:lnSpc>
          <a:spcPct val="120000"/>
        </a:lnSpc>
        <a:spcBef>
          <a:spcPts val="500"/>
        </a:spcBef>
        <a:buClr>
          <a:schemeClr val="tx2"/>
        </a:buClr>
        <a:buSzPct val="80000"/>
        <a:buFont typeface="Wingdings" panose="05000000000000000000" pitchFamily="2" charset="2"/>
        <a:buChar char=""/>
        <a:defRPr sz="1600" kern="1200">
          <a:solidFill>
            <a:schemeClr val="accent5"/>
          </a:solidFill>
          <a:latin typeface="+mn-lt"/>
          <a:ea typeface="+mn-ea"/>
          <a:cs typeface="+mn-cs"/>
        </a:defRPr>
      </a:lvl3pPr>
      <a:lvl4pPr marL="717550" indent="-177800" algn="l" defTabSz="914400" rtl="0" eaLnBrk="1" latinLnBrk="0" hangingPunct="1">
        <a:lnSpc>
          <a:spcPct val="120000"/>
        </a:lnSpc>
        <a:spcBef>
          <a:spcPts val="500"/>
        </a:spcBef>
        <a:buClr>
          <a:schemeClr val="tx2"/>
        </a:buClr>
        <a:buSzPct val="80000"/>
        <a:buFont typeface="Wingdings" panose="05000000000000000000" pitchFamily="2" charset="2"/>
        <a:buChar char=""/>
        <a:defRPr sz="1400" kern="1200">
          <a:solidFill>
            <a:schemeClr val="accent5"/>
          </a:solidFill>
          <a:latin typeface="+mn-lt"/>
          <a:ea typeface="+mn-ea"/>
          <a:cs typeface="+mn-cs"/>
        </a:defRPr>
      </a:lvl4pPr>
      <a:lvl5pPr marL="895350" indent="-177800" algn="l" defTabSz="914400" rtl="0" eaLnBrk="1" latinLnBrk="0" hangingPunct="1">
        <a:lnSpc>
          <a:spcPct val="120000"/>
        </a:lnSpc>
        <a:spcBef>
          <a:spcPts val="500"/>
        </a:spcBef>
        <a:buClr>
          <a:schemeClr val="tx2"/>
        </a:buClr>
        <a:buSzPct val="80000"/>
        <a:buFont typeface="Wingdings" panose="05000000000000000000" pitchFamily="2" charset="2"/>
        <a:buChar char=""/>
        <a:defRPr sz="1200" kern="1200">
          <a:solidFill>
            <a:schemeClr val="accent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900">
          <p15:clr>
            <a:srgbClr val="F26B43"/>
          </p15:clr>
        </p15:guide>
        <p15:guide id="4" pos="3780">
          <p15:clr>
            <a:srgbClr val="F26B43"/>
          </p15:clr>
        </p15:guide>
        <p15:guide id="5" pos="575">
          <p15:clr>
            <a:srgbClr val="F26B43"/>
          </p15:clr>
        </p15:guide>
        <p15:guide id="6" pos="7342" userDrawn="1">
          <p15:clr>
            <a:srgbClr val="F26B43"/>
          </p15:clr>
        </p15:guide>
        <p15:guide id="7" orient="horz" pos="572">
          <p15:clr>
            <a:srgbClr val="F26B43"/>
          </p15:clr>
        </p15:guide>
        <p15:guide id="8" orient="horz" pos="1117">
          <p15:clr>
            <a:srgbClr val="F26B43"/>
          </p15:clr>
        </p15:guide>
        <p15:guide id="9" pos="4989">
          <p15:clr>
            <a:srgbClr val="F26B43"/>
          </p15:clr>
        </p15:guide>
        <p15:guide id="10" pos="4899">
          <p15:clr>
            <a:srgbClr val="F26B43"/>
          </p15:clr>
        </p15:guide>
        <p15:guide id="11" pos="2691">
          <p15:clr>
            <a:srgbClr val="F26B43"/>
          </p15:clr>
        </p15:guide>
        <p15:guide id="12" pos="2783">
          <p15:clr>
            <a:srgbClr val="F26B43"/>
          </p15:clr>
        </p15:guide>
        <p15:guide id="16" orient="horz" pos="3974">
          <p15:clr>
            <a:srgbClr val="F26B43"/>
          </p15:clr>
        </p15:guide>
        <p15:guide id="17" orient="horz" pos="152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F0FE374-A678-A684-FA4B-26330CF65FB3}"/>
              </a:ext>
            </a:extLst>
          </p:cNvPr>
          <p:cNvSpPr>
            <a:spLocks noGrp="1"/>
          </p:cNvSpPr>
          <p:nvPr>
            <p:ph type="sldNum" sz="quarter" idx="4"/>
          </p:nvPr>
        </p:nvSpPr>
        <p:spPr>
          <a:xfrm>
            <a:off x="376188" y="6282069"/>
            <a:ext cx="2743200" cy="365125"/>
          </a:xfrm>
          <a:prstGeom prst="rect">
            <a:avLst/>
          </a:prstGeom>
        </p:spPr>
        <p:txBody>
          <a:bodyPr vert="horz" lIns="91440" tIns="45720" rIns="91440" bIns="45720" rtlCol="0" anchor="b"/>
          <a:lstStyle>
            <a:lvl1pPr algn="r">
              <a:defRPr sz="1000">
                <a:solidFill>
                  <a:schemeClr val="tx1"/>
                </a:solidFill>
                <a:latin typeface="+mn-lt"/>
              </a:defRPr>
            </a:lvl1pPr>
          </a:lstStyle>
          <a:p>
            <a:pPr algn="l"/>
            <a:fld id="{768364BB-9B21-4D29-A19C-C6410F652861}" type="slidenum">
              <a:rPr lang="en-IE" smtClean="0"/>
              <a:pPr algn="l"/>
              <a:t>‹Nr.›</a:t>
            </a:fld>
            <a:endParaRPr lang="en-IE"/>
          </a:p>
        </p:txBody>
      </p:sp>
      <p:sp>
        <p:nvSpPr>
          <p:cNvPr id="2" name="Title Placeholder 1">
            <a:extLst>
              <a:ext uri="{FF2B5EF4-FFF2-40B4-BE49-F238E27FC236}">
                <a16:creationId xmlns:a16="http://schemas.microsoft.com/office/drawing/2014/main" id="{2D4A1E0C-386D-FF7A-6872-1942CD433577}"/>
              </a:ext>
            </a:extLst>
          </p:cNvPr>
          <p:cNvSpPr>
            <a:spLocks noGrp="1" noRot="1" noMove="1" noResize="1" noEditPoints="1" noAdjustHandles="1" noChangeArrowheads="1" noChangeShapeType="1"/>
          </p:cNvSpPr>
          <p:nvPr>
            <p:ph type="title"/>
          </p:nvPr>
        </p:nvSpPr>
        <p:spPr>
          <a:xfrm>
            <a:off x="838200" y="365126"/>
            <a:ext cx="10515600" cy="816904"/>
          </a:xfrm>
          <a:prstGeom prst="rect">
            <a:avLst/>
          </a:prstGeom>
        </p:spPr>
        <p:txBody>
          <a:bodyPr vert="horz" lIns="91440" tIns="45720" rIns="91440" bIns="45720" rtlCol="0" anchor="ctr">
            <a:noAutofit/>
          </a:bodyPr>
          <a:lstStyle/>
          <a:p>
            <a:r>
              <a:rPr lang="en-US"/>
              <a:t>Click to edit Master title style</a:t>
            </a:r>
            <a:endParaRPr lang="en-IE"/>
          </a:p>
        </p:txBody>
      </p:sp>
      <p:sp>
        <p:nvSpPr>
          <p:cNvPr id="3" name="Text Placeholder 2">
            <a:extLst>
              <a:ext uri="{FF2B5EF4-FFF2-40B4-BE49-F238E27FC236}">
                <a16:creationId xmlns:a16="http://schemas.microsoft.com/office/drawing/2014/main" id="{30EE66B9-5E84-94E6-4EDD-A9E25FB078A4}"/>
              </a:ext>
            </a:extLst>
          </p:cNvPr>
          <p:cNvSpPr>
            <a:spLocks noGrp="1"/>
          </p:cNvSpPr>
          <p:nvPr>
            <p:ph type="body" idx="1"/>
          </p:nvPr>
        </p:nvSpPr>
        <p:spPr>
          <a:xfrm>
            <a:off x="838200" y="1825625"/>
            <a:ext cx="10515600" cy="3942619"/>
          </a:xfrm>
          <a:prstGeom prst="rect">
            <a:avLst/>
          </a:prstGeom>
        </p:spPr>
        <p:txBody>
          <a:bodyPr vert="horz" lIns="144000" tIns="144000" rIns="144000" bIns="144000" rtlCol="0">
            <a:noAutofit/>
          </a:bodyPr>
          <a:lstStyle/>
          <a:p>
            <a:pPr lvl="0"/>
            <a:r>
              <a:rPr lang="en-US"/>
              <a:t>Click to edit Master text styles</a:t>
            </a:r>
          </a:p>
          <a:p>
            <a:pPr lvl="1"/>
            <a:endParaRPr lang="en-US"/>
          </a:p>
          <a:p>
            <a:pPr lvl="1"/>
            <a:endParaRPr lang="en-US"/>
          </a:p>
          <a:p>
            <a:pPr lvl="1"/>
            <a:endParaRPr lang="en-US"/>
          </a:p>
          <a:p>
            <a:pPr lvl="0"/>
            <a:endParaRPr lang="en-US"/>
          </a:p>
          <a:p>
            <a:pPr lvl="1"/>
            <a:endParaRPr lang="en-US"/>
          </a:p>
        </p:txBody>
      </p:sp>
      <p:pic>
        <p:nvPicPr>
          <p:cNvPr id="7" name="Picture 6">
            <a:extLst>
              <a:ext uri="{FF2B5EF4-FFF2-40B4-BE49-F238E27FC236}">
                <a16:creationId xmlns:a16="http://schemas.microsoft.com/office/drawing/2014/main" id="{9F653097-A9FD-84E7-4EFA-47C8DA485037}"/>
              </a:ext>
              <a:ext uri="{C183D7F6-B498-43B3-948B-1728B52AA6E4}">
                <adec:decorative xmlns:adec="http://schemas.microsoft.com/office/drawing/2017/decorative" val="1"/>
              </a:ext>
            </a:extLst>
          </p:cNvPr>
          <p:cNvPicPr>
            <a:picLocks noChangeAspect="1"/>
          </p:cNvPicPr>
          <p:nvPr/>
        </p:nvPicPr>
        <p:blipFill>
          <a:blip r:embed="rId35"/>
          <a:stretch>
            <a:fillRect/>
          </a:stretch>
        </p:blipFill>
        <p:spPr>
          <a:xfrm>
            <a:off x="10725768" y="5901016"/>
            <a:ext cx="1256063" cy="762106"/>
          </a:xfrm>
          <a:prstGeom prst="rect">
            <a:avLst/>
          </a:prstGeom>
        </p:spPr>
      </p:pic>
      <p:pic>
        <p:nvPicPr>
          <p:cNvPr id="5" name="Picture 4" descr="A close-up of a line&#10;&#10;Description automatically generated" hidden="1">
            <a:extLst>
              <a:ext uri="{FF2B5EF4-FFF2-40B4-BE49-F238E27FC236}">
                <a16:creationId xmlns:a16="http://schemas.microsoft.com/office/drawing/2014/main" id="{CE57FDCE-6642-0FA5-3739-FA81457769C2}"/>
              </a:ext>
            </a:extLst>
          </p:cNvPr>
          <p:cNvPicPr>
            <a:picLocks noGrp="1" noRot="1" noChangeAspect="1" noMove="1" noResize="1" noEditPoints="1" noAdjustHandles="1" noChangeArrowheads="1" noChangeShapeType="1" noCrop="1"/>
          </p:cNvPicPr>
          <p:nvPr/>
        </p:nvPicPr>
        <p:blipFill>
          <a:blip r:embed="rId36">
            <a:alphaModFix amt="20000"/>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7D640C55-B1A0-5DE0-B0E4-F05DE5506E17}"/>
              </a:ext>
              <a:ext uri="{C183D7F6-B498-43B3-948B-1728B52AA6E4}">
                <adec:decorative xmlns:adec="http://schemas.microsoft.com/office/drawing/2017/decorative" val="1"/>
              </a:ext>
            </a:extLst>
          </p:cNvPr>
          <p:cNvPicPr>
            <a:picLocks noChangeAspect="1"/>
          </p:cNvPicPr>
          <p:nvPr userDrawn="1"/>
        </p:nvPicPr>
        <p:blipFill>
          <a:blip r:embed="rId35"/>
          <a:stretch>
            <a:fillRect/>
          </a:stretch>
        </p:blipFill>
        <p:spPr>
          <a:xfrm>
            <a:off x="10725768" y="5901016"/>
            <a:ext cx="1256063" cy="762106"/>
          </a:xfrm>
          <a:prstGeom prst="rect">
            <a:avLst/>
          </a:prstGeom>
        </p:spPr>
      </p:pic>
      <p:pic>
        <p:nvPicPr>
          <p:cNvPr id="8" name="Picture 7" descr="A close-up of a line&#10;&#10;Description automatically generated" hidden="1">
            <a:extLst>
              <a:ext uri="{FF2B5EF4-FFF2-40B4-BE49-F238E27FC236}">
                <a16:creationId xmlns:a16="http://schemas.microsoft.com/office/drawing/2014/main" id="{A12B438D-C839-BF7B-253A-401802D9F2AC}"/>
              </a:ext>
            </a:extLst>
          </p:cNvPr>
          <p:cNvPicPr/>
          <p:nvPr userDrawn="1"/>
        </p:nvPicPr>
        <p:blipFill>
          <a:blip r:embed="rId36">
            <a:alphaModFix amt="20000"/>
          </a:blip>
          <a:stretch>
            <a:fillRect/>
          </a:stretch>
        </p:blipFill>
        <p:spPr>
          <a:xfrm>
            <a:off x="0" y="0"/>
            <a:ext cx="12192000" cy="6858000"/>
          </a:xfrm>
          <a:prstGeom prst="rect">
            <a:avLst/>
          </a:prstGeom>
        </p:spPr>
      </p:pic>
    </p:spTree>
    <p:extLst>
      <p:ext uri="{BB962C8B-B14F-4D97-AF65-F5344CB8AC3E}">
        <p14:creationId xmlns:p14="http://schemas.microsoft.com/office/powerpoint/2010/main" val="2641458383"/>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 id="2147483793" r:id="rId30"/>
    <p:sldLayoutId id="2147483794" r:id="rId31"/>
    <p:sldLayoutId id="2147483795" r:id="rId32"/>
    <p:sldLayoutId id="2147483796" r:id="rId33"/>
  </p:sldLayoutIdLst>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p:titleStyle>
    <p:bodyStyle>
      <a:lvl1pPr marL="342900" indent="-342900" algn="l" defTabSz="914400" rtl="0" eaLnBrk="1" latinLnBrk="0" hangingPunct="1">
        <a:lnSpc>
          <a:spcPct val="90000"/>
        </a:lnSpc>
        <a:spcBef>
          <a:spcPts val="1000"/>
        </a:spcBef>
        <a:buClr>
          <a:schemeClr val="tx2"/>
        </a:buClr>
        <a:buFont typeface="Arial" panose="020B0604020202020204" pitchFamily="34" charset="0"/>
        <a:buChar char="•"/>
        <a:defRPr sz="2000" kern="1200">
          <a:solidFill>
            <a:schemeClr val="tx1">
              <a:lumMod val="95000"/>
              <a:lumOff val="5000"/>
            </a:schemeClr>
          </a:solidFill>
          <a:latin typeface="+mn-lt"/>
          <a:ea typeface="+mn-ea"/>
          <a:cs typeface="+mn-cs"/>
        </a:defRPr>
      </a:lvl1pPr>
      <a:lvl2pPr marL="742950" indent="-285750"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p15:clr>
            <a:srgbClr val="F26B43"/>
          </p15:clr>
        </p15:guide>
        <p15:guide id="4"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80DED99A-1907-4594-9267-9B90D873031E}"/>
              </a:ext>
            </a:extLst>
          </p:cNvPr>
          <p:cNvGraphicFramePr>
            <a:graphicFrameLocks noChangeAspect="1"/>
          </p:cNvGraphicFramePr>
          <p:nvPr userDrawn="1">
            <p:custDataLst>
              <p:tags r:id="rId7"/>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Folie" r:id="rId8" imgW="573" imgH="574" progId="TCLayout.ActiveDocument.1">
                  <p:embed/>
                </p:oleObj>
              </mc:Choice>
              <mc:Fallback>
                <p:oleObj name="think-cell Folie" r:id="rId8" imgW="573" imgH="574" progId="TCLayout.ActiveDocument.1">
                  <p:embed/>
                  <p:pic>
                    <p:nvPicPr>
                      <p:cNvPr id="10" name="Objekt 9" hidden="1">
                        <a:extLst>
                          <a:ext uri="{FF2B5EF4-FFF2-40B4-BE49-F238E27FC236}">
                            <a16:creationId xmlns:a16="http://schemas.microsoft.com/office/drawing/2014/main" id="{80DED99A-1907-4594-9267-9B90D873031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F3AC2012-20D2-40BD-BEF7-2016C73ADF9D}"/>
              </a:ext>
            </a:extLst>
          </p:cNvPr>
          <p:cNvSpPr>
            <a:spLocks noGrp="1"/>
          </p:cNvSpPr>
          <p:nvPr>
            <p:ph type="title"/>
          </p:nvPr>
        </p:nvSpPr>
        <p:spPr>
          <a:xfrm>
            <a:off x="838200" y="365125"/>
            <a:ext cx="10515600" cy="1325563"/>
          </a:xfrm>
          <a:prstGeom prst="rect">
            <a:avLst/>
          </a:prstGeom>
        </p:spPr>
        <p:txBody>
          <a:bodyPr vert="horz" lIns="91440" tIns="45720" rIns="91440" bIns="45720" rtlCol="0" anchor="t">
            <a:normAutofit/>
          </a:bodyPr>
          <a:lstStyle/>
          <a:p>
            <a:r>
              <a:rPr lang="de-DE"/>
              <a:t>Titelmasterformat durch Klicken bearbeiten</a:t>
            </a:r>
            <a:endParaRPr lang="en-US"/>
          </a:p>
        </p:txBody>
      </p:sp>
      <p:sp>
        <p:nvSpPr>
          <p:cNvPr id="3" name="Textplatzhalter 2">
            <a:extLst>
              <a:ext uri="{FF2B5EF4-FFF2-40B4-BE49-F238E27FC236}">
                <a16:creationId xmlns:a16="http://schemas.microsoft.com/office/drawing/2014/main" id="{B8E2F85C-870B-44BF-8517-302C73B8672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a:extLst>
              <a:ext uri="{FF2B5EF4-FFF2-40B4-BE49-F238E27FC236}">
                <a16:creationId xmlns:a16="http://schemas.microsoft.com/office/drawing/2014/main" id="{1A7E1C52-2620-4AB4-BF46-D9B6397404B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ußzeilenplatzhalter 4">
            <a:extLst>
              <a:ext uri="{FF2B5EF4-FFF2-40B4-BE49-F238E27FC236}">
                <a16:creationId xmlns:a16="http://schemas.microsoft.com/office/drawing/2014/main" id="{44E3BD6C-C843-4350-99F1-273EEFEBF91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 mi2-factory GmbH - 01|2021 - Confidential</a:t>
            </a:r>
          </a:p>
        </p:txBody>
      </p:sp>
      <p:sp>
        <p:nvSpPr>
          <p:cNvPr id="6" name="Foliennummernplatzhalter 5">
            <a:extLst>
              <a:ext uri="{FF2B5EF4-FFF2-40B4-BE49-F238E27FC236}">
                <a16:creationId xmlns:a16="http://schemas.microsoft.com/office/drawing/2014/main" id="{F1901E42-8402-4BEA-9A4C-15D859A4215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8729A6-E271-4FEB-B205-D9AFCE75854C}" type="slidenum">
              <a:rPr lang="en-US" smtClean="0"/>
              <a:t>‹Nr.›</a:t>
            </a:fld>
            <a:endParaRPr lang="en-US"/>
          </a:p>
        </p:txBody>
      </p:sp>
    </p:spTree>
    <p:extLst>
      <p:ext uri="{BB962C8B-B14F-4D97-AF65-F5344CB8AC3E}">
        <p14:creationId xmlns:p14="http://schemas.microsoft.com/office/powerpoint/2010/main" val="3065431927"/>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F3AC2012-20D2-40BD-BEF7-2016C73ADF9D}"/>
              </a:ext>
            </a:extLst>
          </p:cNvPr>
          <p:cNvSpPr>
            <a:spLocks noGrp="1"/>
          </p:cNvSpPr>
          <p:nvPr>
            <p:ph type="title"/>
          </p:nvPr>
        </p:nvSpPr>
        <p:spPr>
          <a:xfrm>
            <a:off x="838200" y="365125"/>
            <a:ext cx="10515600" cy="1325563"/>
          </a:xfrm>
          <a:prstGeom prst="rect">
            <a:avLst/>
          </a:prstGeom>
        </p:spPr>
        <p:txBody>
          <a:bodyPr vert="horz" lIns="91440" tIns="45720" rIns="91440" bIns="45720" rtlCol="0" anchor="t">
            <a:normAutofit/>
          </a:bodyPr>
          <a:lstStyle/>
          <a:p>
            <a:r>
              <a:rPr lang="de-DE"/>
              <a:t>Titelmasterformat durch Klicken bearbeiten</a:t>
            </a:r>
            <a:endParaRPr lang="en-US"/>
          </a:p>
        </p:txBody>
      </p:sp>
      <p:sp>
        <p:nvSpPr>
          <p:cNvPr id="3" name="Textplatzhalter 2">
            <a:extLst>
              <a:ext uri="{FF2B5EF4-FFF2-40B4-BE49-F238E27FC236}">
                <a16:creationId xmlns:a16="http://schemas.microsoft.com/office/drawing/2014/main" id="{B8E2F85C-870B-44BF-8517-302C73B8672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Fußzeilenplatzhalter 15">
            <a:extLst>
              <a:ext uri="{FF2B5EF4-FFF2-40B4-BE49-F238E27FC236}">
                <a16:creationId xmlns:a16="http://schemas.microsoft.com/office/drawing/2014/main" id="{85FC288F-4D1F-0D57-F56C-99ACE2E76513}"/>
              </a:ext>
            </a:extLst>
          </p:cNvPr>
          <p:cNvSpPr>
            <a:spLocks noGrp="1"/>
          </p:cNvSpPr>
          <p:nvPr>
            <p:ph type="ftr" sz="quarter" idx="3"/>
          </p:nvPr>
        </p:nvSpPr>
        <p:spPr>
          <a:xfrm>
            <a:off x="4038600" y="6498000"/>
            <a:ext cx="4114800" cy="360000"/>
          </a:xfrm>
          <a:prstGeom prst="rect">
            <a:avLst/>
          </a:prstGeom>
        </p:spPr>
        <p:txBody>
          <a:bodyPr/>
          <a:lstStyle>
            <a:lvl1pPr>
              <a:defRPr sz="1000">
                <a:solidFill>
                  <a:schemeClr val="accent1">
                    <a:lumMod val="50000"/>
                  </a:schemeClr>
                </a:solidFill>
                <a:latin typeface="Ubuntu" panose="020B0504030602030204" pitchFamily="34" charset="0"/>
              </a:defRPr>
            </a:lvl1pPr>
          </a:lstStyle>
          <a:p>
            <a:endParaRPr lang="en-US"/>
          </a:p>
        </p:txBody>
      </p:sp>
      <p:sp>
        <p:nvSpPr>
          <p:cNvPr id="8" name="Foliennummernplatzhalter 16">
            <a:extLst>
              <a:ext uri="{FF2B5EF4-FFF2-40B4-BE49-F238E27FC236}">
                <a16:creationId xmlns:a16="http://schemas.microsoft.com/office/drawing/2014/main" id="{DAD94480-C66F-85B5-C6CB-8C78BCEFA387}"/>
              </a:ext>
            </a:extLst>
          </p:cNvPr>
          <p:cNvSpPr>
            <a:spLocks noGrp="1"/>
          </p:cNvSpPr>
          <p:nvPr>
            <p:ph type="sldNum" sz="quarter" idx="4"/>
          </p:nvPr>
        </p:nvSpPr>
        <p:spPr>
          <a:xfrm>
            <a:off x="8862672" y="6498000"/>
            <a:ext cx="2742230" cy="360000"/>
          </a:xfrm>
          <a:prstGeom prst="rect">
            <a:avLst/>
          </a:prstGeom>
        </p:spPr>
        <p:txBody>
          <a:bodyPr/>
          <a:lstStyle>
            <a:lvl1pPr>
              <a:defRPr sz="1000">
                <a:solidFill>
                  <a:schemeClr val="accent1">
                    <a:lumMod val="50000"/>
                  </a:schemeClr>
                </a:solidFill>
                <a:latin typeface="Ubuntu" panose="020B0504030602030204" pitchFamily="34" charset="0"/>
              </a:defRPr>
            </a:lvl1pPr>
          </a:lstStyle>
          <a:p>
            <a:fld id="{708729A6-E271-4FEB-B205-D9AFCE75854C}" type="slidenum">
              <a:rPr lang="en-US" smtClean="0"/>
              <a:pPr/>
              <a:t>‹Nr.›</a:t>
            </a:fld>
            <a:endParaRPr lang="en-US"/>
          </a:p>
        </p:txBody>
      </p:sp>
    </p:spTree>
    <p:extLst>
      <p:ext uri="{BB962C8B-B14F-4D97-AF65-F5344CB8AC3E}">
        <p14:creationId xmlns:p14="http://schemas.microsoft.com/office/powerpoint/2010/main" val="155797482"/>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80DED99A-1907-4594-9267-9B90D873031E}"/>
              </a:ext>
            </a:extLst>
          </p:cNvPr>
          <p:cNvGraphicFramePr>
            <a:graphicFrameLocks noChangeAspect="1"/>
          </p:cNvGraphicFramePr>
          <p:nvPr userDrawn="1">
            <p:custDataLst>
              <p:tags r:id="rId7"/>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9" name="think-cell Folie" r:id="rId8" imgW="573" imgH="574" progId="TCLayout.ActiveDocument.1">
                  <p:embed/>
                </p:oleObj>
              </mc:Choice>
              <mc:Fallback>
                <p:oleObj name="think-cell Folie" r:id="rId8" imgW="573" imgH="574" progId="TCLayout.ActiveDocument.1">
                  <p:embed/>
                  <p:pic>
                    <p:nvPicPr>
                      <p:cNvPr id="10" name="Objekt 9" hidden="1">
                        <a:extLst>
                          <a:ext uri="{FF2B5EF4-FFF2-40B4-BE49-F238E27FC236}">
                            <a16:creationId xmlns:a16="http://schemas.microsoft.com/office/drawing/2014/main" id="{80DED99A-1907-4594-9267-9B90D873031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F3AC2012-20D2-40BD-BEF7-2016C73ADF9D}"/>
              </a:ext>
            </a:extLst>
          </p:cNvPr>
          <p:cNvSpPr>
            <a:spLocks noGrp="1"/>
          </p:cNvSpPr>
          <p:nvPr>
            <p:ph type="title"/>
          </p:nvPr>
        </p:nvSpPr>
        <p:spPr>
          <a:xfrm>
            <a:off x="838200" y="365125"/>
            <a:ext cx="10515600" cy="1325563"/>
          </a:xfrm>
          <a:prstGeom prst="rect">
            <a:avLst/>
          </a:prstGeom>
        </p:spPr>
        <p:txBody>
          <a:bodyPr vert="horz" lIns="91440" tIns="45720" rIns="91440" bIns="45720" rtlCol="0" anchor="t">
            <a:normAutofit/>
          </a:bodyPr>
          <a:lstStyle/>
          <a:p>
            <a:r>
              <a:rPr lang="de-DE"/>
              <a:t>Titelmasterformat durch Klicken bearbeiten</a:t>
            </a:r>
            <a:endParaRPr lang="en-US"/>
          </a:p>
        </p:txBody>
      </p:sp>
      <p:sp>
        <p:nvSpPr>
          <p:cNvPr id="3" name="Textplatzhalter 2">
            <a:extLst>
              <a:ext uri="{FF2B5EF4-FFF2-40B4-BE49-F238E27FC236}">
                <a16:creationId xmlns:a16="http://schemas.microsoft.com/office/drawing/2014/main" id="{B8E2F85C-870B-44BF-8517-302C73B8672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a:extLst>
              <a:ext uri="{FF2B5EF4-FFF2-40B4-BE49-F238E27FC236}">
                <a16:creationId xmlns:a16="http://schemas.microsoft.com/office/drawing/2014/main" id="{1A7E1C52-2620-4AB4-BF46-D9B6397404B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ußzeilenplatzhalter 4">
            <a:extLst>
              <a:ext uri="{FF2B5EF4-FFF2-40B4-BE49-F238E27FC236}">
                <a16:creationId xmlns:a16="http://schemas.microsoft.com/office/drawing/2014/main" id="{44E3BD6C-C843-4350-99F1-273EEFEBF91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Foliennummernplatzhalter 5">
            <a:extLst>
              <a:ext uri="{FF2B5EF4-FFF2-40B4-BE49-F238E27FC236}">
                <a16:creationId xmlns:a16="http://schemas.microsoft.com/office/drawing/2014/main" id="{F1901E42-8402-4BEA-9A4C-15D859A4215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8729A6-E271-4FEB-B205-D9AFCE75854C}" type="slidenum">
              <a:rPr lang="en-US" smtClean="0"/>
              <a:t>‹Nr.›</a:t>
            </a:fld>
            <a:endParaRPr lang="en-US"/>
          </a:p>
        </p:txBody>
      </p:sp>
    </p:spTree>
    <p:extLst>
      <p:ext uri="{BB962C8B-B14F-4D97-AF65-F5344CB8AC3E}">
        <p14:creationId xmlns:p14="http://schemas.microsoft.com/office/powerpoint/2010/main" val="762198486"/>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diagramLayout" Target="../diagrams/layout2.xml"/><Relationship Id="rId7" Type="http://schemas.openxmlformats.org/officeDocument/2006/relationships/image" Target="../media/image31.png"/><Relationship Id="rId2" Type="http://schemas.openxmlformats.org/officeDocument/2006/relationships/diagramData" Target="../diagrams/data2.xml"/><Relationship Id="rId1" Type="http://schemas.openxmlformats.org/officeDocument/2006/relationships/slideLayout" Target="../slideLayouts/slideLayout1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 Id="rId9" Type="http://schemas.openxmlformats.org/officeDocument/2006/relationships/image" Target="../media/image33.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 Id="rId9" Type="http://schemas.openxmlformats.org/officeDocument/2006/relationships/image" Target="../media/image40.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hyperlink" Target="https://competition-policy.ec.europa.eu/document/download/04b18665-fcd2-44b3-a34b-375d702158c2_en?filename=IPCEI_project_portfolio_template_october_2023.docx" TargetMode="External"/><Relationship Id="rId2" Type="http://schemas.openxmlformats.org/officeDocument/2006/relationships/hyperlink" Target="https://competition-policy.ec.europa.eu/state-aid/ipcei_en" TargetMode="External"/><Relationship Id="rId1" Type="http://schemas.openxmlformats.org/officeDocument/2006/relationships/slideLayout" Target="../slideLayouts/slideLayout14.xml"/><Relationship Id="rId6" Type="http://schemas.openxmlformats.org/officeDocument/2006/relationships/hyperlink" Target="https://eur-lex.europa.eu/legal-content/EN/TXT/?uri=celex%3A52022XC1028%2803%29" TargetMode="External"/><Relationship Id="rId5" Type="http://schemas.openxmlformats.org/officeDocument/2006/relationships/hyperlink" Target="https://competition-policy.ec.europa.eu/state-aid/ipcei/approved-ipceis_en" TargetMode="External"/><Relationship Id="rId4" Type="http://schemas.openxmlformats.org/officeDocument/2006/relationships/hyperlink" Target="https://competition-policy.ec.europa.eu/document/download/00d45d71-26f3-44e5-b0fc-c36a05fe0538_en?filename=IPCEIs_DG_COMP_code_of_good_practices.pdf"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Online Informationsveranstaltung: Vorstellung IPCEI-Instrument im Rahmen der Mikroelektronik</a:t>
            </a:r>
          </a:p>
        </p:txBody>
      </p:sp>
      <p:sp>
        <p:nvSpPr>
          <p:cNvPr id="3" name="Textplatzhalter 2"/>
          <p:cNvSpPr>
            <a:spLocks noGrp="1"/>
          </p:cNvSpPr>
          <p:nvPr>
            <p:ph type="body" sz="quarter" idx="11"/>
          </p:nvPr>
        </p:nvSpPr>
        <p:spPr>
          <a:xfrm>
            <a:off x="912285" y="3967560"/>
            <a:ext cx="10526183" cy="469552"/>
          </a:xfrm>
        </p:spPr>
        <p:txBody>
          <a:bodyPr/>
          <a:lstStyle/>
          <a:p>
            <a:r>
              <a:rPr lang="de-DE" sz="2800" dirty="0"/>
              <a:t>Webinar | 24.06.2025 | 10:00 - 12:00 Uhr</a:t>
            </a:r>
          </a:p>
        </p:txBody>
      </p:sp>
    </p:spTree>
    <p:extLst>
      <p:ext uri="{BB962C8B-B14F-4D97-AF65-F5344CB8AC3E}">
        <p14:creationId xmlns:p14="http://schemas.microsoft.com/office/powerpoint/2010/main" val="22047742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880971-DE1E-4344-88E4-FF4A5EEF0196}"/>
              </a:ext>
            </a:extLst>
          </p:cNvPr>
          <p:cNvSpPr>
            <a:spLocks noGrp="1"/>
          </p:cNvSpPr>
          <p:nvPr>
            <p:ph type="title"/>
          </p:nvPr>
        </p:nvSpPr>
        <p:spPr>
          <a:xfrm>
            <a:off x="900000" y="720000"/>
            <a:ext cx="8557008" cy="774491"/>
          </a:xfrm>
        </p:spPr>
        <p:txBody>
          <a:bodyPr/>
          <a:lstStyle/>
          <a:p>
            <a:r>
              <a:rPr lang="de-DE" dirty="0"/>
              <a:t>IPCEI-Förderung | Vorbereitung</a:t>
            </a:r>
          </a:p>
        </p:txBody>
      </p:sp>
      <p:sp>
        <p:nvSpPr>
          <p:cNvPr id="3" name="Foliennummernplatzhalter 2">
            <a:extLst>
              <a:ext uri="{FF2B5EF4-FFF2-40B4-BE49-F238E27FC236}">
                <a16:creationId xmlns:a16="http://schemas.microsoft.com/office/drawing/2014/main" id="{3D5E4B77-70CD-47CE-90A2-67E9C633A601}"/>
              </a:ext>
            </a:extLst>
          </p:cNvPr>
          <p:cNvSpPr>
            <a:spLocks noGrp="1"/>
          </p:cNvSpPr>
          <p:nvPr>
            <p:ph type="sldNum" sz="quarter" idx="10"/>
          </p:nvPr>
        </p:nvSpPr>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smtClean="0">
                <a:solidFill>
                  <a:schemeClr val="accent5"/>
                </a:solidFill>
              </a:rPr>
              <a:pPr algn="l" rtl="0"/>
              <a:t>10</a:t>
            </a:fld>
            <a:r>
              <a:rPr lang="en-GB" sz="1000" b="0" i="0" u="none" baseline="0">
                <a:solidFill>
                  <a:schemeClr val="accent5"/>
                </a:solidFill>
              </a:rPr>
              <a:t> </a:t>
            </a:r>
          </a:p>
        </p:txBody>
      </p:sp>
      <p:cxnSp>
        <p:nvCxnSpPr>
          <p:cNvPr id="5" name="Gerade Verbindung mit Pfeil 4">
            <a:extLst>
              <a:ext uri="{FF2B5EF4-FFF2-40B4-BE49-F238E27FC236}">
                <a16:creationId xmlns:a16="http://schemas.microsoft.com/office/drawing/2014/main" id="{32B6DF02-DF72-468C-98E0-74237E84951C}"/>
              </a:ext>
            </a:extLst>
          </p:cNvPr>
          <p:cNvCxnSpPr>
            <a:cxnSpLocks/>
          </p:cNvCxnSpPr>
          <p:nvPr/>
        </p:nvCxnSpPr>
        <p:spPr bwMode="auto">
          <a:xfrm>
            <a:off x="959758" y="4180680"/>
            <a:ext cx="10259487" cy="0"/>
          </a:xfrm>
          <a:prstGeom prst="straightConnector1">
            <a:avLst/>
          </a:prstGeom>
          <a:ln w="38100">
            <a:headEnd type="none" w="med" len="med"/>
            <a:tailEnd type="triangle"/>
          </a:ln>
        </p:spPr>
        <p:style>
          <a:lnRef idx="1">
            <a:schemeClr val="accent2"/>
          </a:lnRef>
          <a:fillRef idx="0">
            <a:schemeClr val="accent2"/>
          </a:fillRef>
          <a:effectRef idx="0">
            <a:schemeClr val="accent2"/>
          </a:effectRef>
          <a:fontRef idx="minor">
            <a:schemeClr val="tx1"/>
          </a:fontRef>
        </p:style>
      </p:cxnSp>
      <p:grpSp>
        <p:nvGrpSpPr>
          <p:cNvPr id="6" name="Gruppieren 5">
            <a:extLst>
              <a:ext uri="{FF2B5EF4-FFF2-40B4-BE49-F238E27FC236}">
                <a16:creationId xmlns:a16="http://schemas.microsoft.com/office/drawing/2014/main" id="{E0D4A9E8-0CA8-48A5-B6AB-1F5AF45DF8F1}"/>
              </a:ext>
            </a:extLst>
          </p:cNvPr>
          <p:cNvGrpSpPr/>
          <p:nvPr/>
        </p:nvGrpSpPr>
        <p:grpSpPr>
          <a:xfrm>
            <a:off x="504000" y="1690382"/>
            <a:ext cx="10407041" cy="2506074"/>
            <a:chOff x="-1307014" y="933230"/>
            <a:chExt cx="9118642" cy="1853424"/>
          </a:xfrm>
        </p:grpSpPr>
        <p:cxnSp>
          <p:nvCxnSpPr>
            <p:cNvPr id="7" name="Gerader Verbinder 6">
              <a:extLst>
                <a:ext uri="{FF2B5EF4-FFF2-40B4-BE49-F238E27FC236}">
                  <a16:creationId xmlns:a16="http://schemas.microsoft.com/office/drawing/2014/main" id="{5514BB61-51CC-4AE1-A9C4-ABF8C97BF8F0}"/>
                </a:ext>
              </a:extLst>
            </p:cNvPr>
            <p:cNvCxnSpPr>
              <a:cxnSpLocks/>
            </p:cNvCxnSpPr>
            <p:nvPr/>
          </p:nvCxnSpPr>
          <p:spPr bwMode="auto">
            <a:xfrm flipV="1">
              <a:off x="2119512" y="2194783"/>
              <a:ext cx="0" cy="591869"/>
            </a:xfrm>
            <a:prstGeom prst="line">
              <a:avLst/>
            </a:prstGeom>
            <a:ln w="19050">
              <a:solidFill>
                <a:schemeClr val="accent2"/>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8" name="Textfeld 7">
              <a:extLst>
                <a:ext uri="{FF2B5EF4-FFF2-40B4-BE49-F238E27FC236}">
                  <a16:creationId xmlns:a16="http://schemas.microsoft.com/office/drawing/2014/main" id="{83D35CF0-B305-4218-8ADE-0A8F73049F25}"/>
                </a:ext>
              </a:extLst>
            </p:cNvPr>
            <p:cNvSpPr txBox="1"/>
            <p:nvPr/>
          </p:nvSpPr>
          <p:spPr>
            <a:xfrm>
              <a:off x="1759576" y="2057321"/>
              <a:ext cx="2376263" cy="193480"/>
            </a:xfrm>
            <a:prstGeom prst="rect">
              <a:avLst/>
            </a:prstGeom>
          </p:spPr>
          <p:txBody>
            <a:bodyPr wrap="square" rtlCol="0">
              <a:spAutoFit/>
            </a:bodyPr>
            <a:lstStyle/>
            <a:p>
              <a:pPr marL="474663" marR="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pPr>
              <a:endParaRPr kumimoji="0" lang="en-US" sz="1100" b="0" i="0" u="none" strike="noStrike" kern="0" cap="none" spc="0" normalizeH="0" baseline="0" dirty="0">
                <a:ln>
                  <a:noFill/>
                </a:ln>
                <a:effectLst/>
                <a:uLnTx/>
                <a:uFillTx/>
                <a:latin typeface="+mj-lt"/>
                <a:ea typeface="+mn-ea"/>
                <a:cs typeface="+mn-cs"/>
              </a:endParaRPr>
            </a:p>
          </p:txBody>
        </p:sp>
        <p:sp>
          <p:nvSpPr>
            <p:cNvPr id="9" name="Abgerundetes Rechteck 20">
              <a:extLst>
                <a:ext uri="{FF2B5EF4-FFF2-40B4-BE49-F238E27FC236}">
                  <a16:creationId xmlns:a16="http://schemas.microsoft.com/office/drawing/2014/main" id="{FA0073F3-3D91-45CE-B031-69D6037E7919}"/>
                </a:ext>
              </a:extLst>
            </p:cNvPr>
            <p:cNvSpPr/>
            <p:nvPr/>
          </p:nvSpPr>
          <p:spPr bwMode="auto">
            <a:xfrm>
              <a:off x="2267744" y="2055952"/>
              <a:ext cx="1488258" cy="293701"/>
            </a:xfrm>
            <a:prstGeom prst="roundRect">
              <a:avLst/>
            </a:prstGeom>
            <a:ln w="12700">
              <a:solidFill>
                <a:srgbClr val="00B05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474663" indent="-474663" algn="ctr">
                <a:spcBef>
                  <a:spcPts val="0"/>
                </a:spcBef>
                <a:buClr>
                  <a:srgbClr val="004F80"/>
                </a:buClr>
                <a:buSzPct val="80000"/>
              </a:pPr>
              <a:r>
                <a:rPr lang="en-US" sz="1400" b="1" kern="0" dirty="0" err="1">
                  <a:solidFill>
                    <a:schemeClr val="tx1"/>
                  </a:solidFill>
                  <a:latin typeface="+mj-lt"/>
                </a:rPr>
                <a:t>Pränotifizierung</a:t>
              </a:r>
              <a:endParaRPr lang="en-US" sz="1400" b="1" kern="0" dirty="0">
                <a:solidFill>
                  <a:schemeClr val="tx1"/>
                </a:solidFill>
                <a:latin typeface="+mj-lt"/>
              </a:endParaRPr>
            </a:p>
          </p:txBody>
        </p:sp>
        <p:sp>
          <p:nvSpPr>
            <p:cNvPr id="10" name="Abgerundetes Rechteck 25">
              <a:extLst>
                <a:ext uri="{FF2B5EF4-FFF2-40B4-BE49-F238E27FC236}">
                  <a16:creationId xmlns:a16="http://schemas.microsoft.com/office/drawing/2014/main" id="{8FF17A0D-A123-4938-B22A-2904CAA31973}"/>
                </a:ext>
              </a:extLst>
            </p:cNvPr>
            <p:cNvSpPr/>
            <p:nvPr/>
          </p:nvSpPr>
          <p:spPr bwMode="auto">
            <a:xfrm>
              <a:off x="276529" y="1352801"/>
              <a:ext cx="1593974" cy="653242"/>
            </a:xfrm>
            <a:prstGeom prst="roundRect">
              <a:avLst/>
            </a:prstGeom>
            <a:ln w="12700">
              <a:solidFill>
                <a:srgbClr val="00B05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a:spcBef>
                  <a:spcPts val="0"/>
                </a:spcBef>
                <a:buClr>
                  <a:srgbClr val="004F80"/>
                </a:buClr>
                <a:buSzPct val="80000"/>
              </a:pPr>
              <a:r>
                <a:rPr lang="en-US" sz="1400" b="1" kern="0" dirty="0" err="1">
                  <a:solidFill>
                    <a:schemeClr val="tx1"/>
                  </a:solidFill>
                  <a:latin typeface="+mj-lt"/>
                </a:rPr>
                <a:t>Qualifizierung</a:t>
              </a:r>
              <a:r>
                <a:rPr lang="en-US" sz="1400" b="1" kern="0" dirty="0">
                  <a:solidFill>
                    <a:schemeClr val="tx1"/>
                  </a:solidFill>
                  <a:latin typeface="+mj-lt"/>
                </a:rPr>
                <a:t> der </a:t>
              </a:r>
              <a:r>
                <a:rPr lang="en-US" sz="1400" b="1" kern="0" dirty="0" err="1">
                  <a:solidFill>
                    <a:schemeClr val="tx1"/>
                  </a:solidFill>
                  <a:latin typeface="+mj-lt"/>
                </a:rPr>
                <a:t>Dokumente</a:t>
              </a:r>
              <a:r>
                <a:rPr lang="en-US" sz="1400" b="1" kern="0" dirty="0">
                  <a:solidFill>
                    <a:schemeClr val="tx1"/>
                  </a:solidFill>
                  <a:latin typeface="+mj-lt"/>
                </a:rPr>
                <a:t> </a:t>
              </a:r>
              <a:r>
                <a:rPr lang="en-US" sz="1400" b="1" kern="0" dirty="0" err="1">
                  <a:solidFill>
                    <a:schemeClr val="tx1"/>
                  </a:solidFill>
                  <a:latin typeface="+mj-lt"/>
                </a:rPr>
                <a:t>zur</a:t>
              </a:r>
              <a:r>
                <a:rPr lang="en-US" sz="1400" b="1" kern="0" dirty="0">
                  <a:solidFill>
                    <a:schemeClr val="tx1"/>
                  </a:solidFill>
                  <a:latin typeface="+mj-lt"/>
                </a:rPr>
                <a:t> </a:t>
              </a:r>
              <a:r>
                <a:rPr lang="en-US" sz="1400" b="1" kern="0" dirty="0" err="1">
                  <a:solidFill>
                    <a:schemeClr val="tx1"/>
                  </a:solidFill>
                  <a:latin typeface="+mj-lt"/>
                </a:rPr>
                <a:t>Pränotifizierung</a:t>
              </a:r>
              <a:endParaRPr lang="en-US" sz="1400" b="1" kern="0" dirty="0">
                <a:solidFill>
                  <a:schemeClr val="tx1"/>
                </a:solidFill>
                <a:latin typeface="+mj-lt"/>
              </a:endParaRPr>
            </a:p>
          </p:txBody>
        </p:sp>
        <p:cxnSp>
          <p:nvCxnSpPr>
            <p:cNvPr id="11" name="Gerader Verbinder 10">
              <a:extLst>
                <a:ext uri="{FF2B5EF4-FFF2-40B4-BE49-F238E27FC236}">
                  <a16:creationId xmlns:a16="http://schemas.microsoft.com/office/drawing/2014/main" id="{BDF1295E-CEF7-4105-A180-770F91EB75D5}"/>
                </a:ext>
              </a:extLst>
            </p:cNvPr>
            <p:cNvCxnSpPr>
              <a:cxnSpLocks/>
              <a:endCxn id="10" idx="2"/>
            </p:cNvCxnSpPr>
            <p:nvPr/>
          </p:nvCxnSpPr>
          <p:spPr bwMode="auto">
            <a:xfrm flipH="1" flipV="1">
              <a:off x="1073516" y="2006043"/>
              <a:ext cx="2981" cy="780611"/>
            </a:xfrm>
            <a:prstGeom prst="line">
              <a:avLst/>
            </a:prstGeom>
            <a:ln w="19050">
              <a:solidFill>
                <a:schemeClr val="accent2"/>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2" name="Gerade Verbindung mit Pfeil 11">
              <a:extLst>
                <a:ext uri="{FF2B5EF4-FFF2-40B4-BE49-F238E27FC236}">
                  <a16:creationId xmlns:a16="http://schemas.microsoft.com/office/drawing/2014/main" id="{62410EEF-DA39-450F-8D53-0A0E1D4AFD77}"/>
                </a:ext>
              </a:extLst>
            </p:cNvPr>
            <p:cNvCxnSpPr/>
            <p:nvPr/>
          </p:nvCxnSpPr>
          <p:spPr bwMode="auto">
            <a:xfrm flipV="1">
              <a:off x="2119512" y="1495664"/>
              <a:ext cx="3746524" cy="0"/>
            </a:xfrm>
            <a:prstGeom prst="straightConnector1">
              <a:avLst/>
            </a:prstGeom>
            <a:ln w="19050">
              <a:solidFill>
                <a:schemeClr val="accent2"/>
              </a:solidFill>
              <a:headEnd type="triangle" w="med" len="med"/>
              <a:tailEnd type="triangle"/>
            </a:ln>
          </p:spPr>
          <p:style>
            <a:lnRef idx="1">
              <a:schemeClr val="accent2"/>
            </a:lnRef>
            <a:fillRef idx="0">
              <a:schemeClr val="accent2"/>
            </a:fillRef>
            <a:effectRef idx="0">
              <a:schemeClr val="accent2"/>
            </a:effectRef>
            <a:fontRef idx="minor">
              <a:schemeClr val="tx1"/>
            </a:fontRef>
          </p:style>
        </p:cxnSp>
        <p:sp>
          <p:nvSpPr>
            <p:cNvPr id="13" name="Abgerundetes Rechteck 31">
              <a:extLst>
                <a:ext uri="{FF2B5EF4-FFF2-40B4-BE49-F238E27FC236}">
                  <a16:creationId xmlns:a16="http://schemas.microsoft.com/office/drawing/2014/main" id="{44174D85-F52D-47A1-9DF4-BBD2E92C41D7}"/>
                </a:ext>
              </a:extLst>
            </p:cNvPr>
            <p:cNvSpPr/>
            <p:nvPr/>
          </p:nvSpPr>
          <p:spPr bwMode="auto">
            <a:xfrm>
              <a:off x="2555775" y="933230"/>
              <a:ext cx="2847958" cy="539074"/>
            </a:xfrm>
            <a:prstGeom prst="roundRect">
              <a:avLst/>
            </a:prstGeom>
            <a:ln w="12700">
              <a:solidFill>
                <a:srgbClr val="00B05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0" rIns="91440" bIns="45720" numCol="1" rtlCol="0" anchor="t" anchorCtr="0" compatLnSpc="1">
              <a:prstTxWarp prst="textNoShape">
                <a:avLst/>
              </a:prstTxWarp>
            </a:bodyPr>
            <a:lstStyle/>
            <a:p>
              <a:pPr indent="-474663" algn="ctr">
                <a:spcBef>
                  <a:spcPts val="0"/>
                </a:spcBef>
                <a:buClr>
                  <a:srgbClr val="004F80"/>
                </a:buClr>
                <a:buSzPct val="80000"/>
              </a:pPr>
              <a:r>
                <a:rPr lang="en-US" sz="1400" kern="0" dirty="0">
                  <a:solidFill>
                    <a:schemeClr val="tx1"/>
                  </a:solidFill>
                  <a:latin typeface="+mj-lt"/>
                </a:rPr>
                <a:t>Requests for information (RFIs) von KOM und </a:t>
              </a:r>
              <a:r>
                <a:rPr lang="en-US" sz="1400" kern="0" dirty="0" err="1">
                  <a:solidFill>
                    <a:schemeClr val="tx1"/>
                  </a:solidFill>
                  <a:latin typeface="+mj-lt"/>
                </a:rPr>
                <a:t>Überarbeitung</a:t>
              </a:r>
              <a:r>
                <a:rPr lang="en-US" sz="1400" kern="0" dirty="0">
                  <a:solidFill>
                    <a:schemeClr val="tx1"/>
                  </a:solidFill>
                  <a:latin typeface="+mj-lt"/>
                </a:rPr>
                <a:t> der </a:t>
              </a:r>
              <a:r>
                <a:rPr lang="en-US" sz="1400" kern="0" dirty="0" err="1">
                  <a:solidFill>
                    <a:schemeClr val="tx1"/>
                  </a:solidFill>
                  <a:latin typeface="+mj-lt"/>
                </a:rPr>
                <a:t>Antragsdokumente</a:t>
              </a:r>
              <a:endParaRPr lang="en-US" sz="1400" kern="0" dirty="0">
                <a:solidFill>
                  <a:schemeClr val="tx1"/>
                </a:solidFill>
                <a:latin typeface="+mj-lt"/>
              </a:endParaRPr>
            </a:p>
          </p:txBody>
        </p:sp>
        <p:sp>
          <p:nvSpPr>
            <p:cNvPr id="14" name="Textfeld 13">
              <a:extLst>
                <a:ext uri="{FF2B5EF4-FFF2-40B4-BE49-F238E27FC236}">
                  <a16:creationId xmlns:a16="http://schemas.microsoft.com/office/drawing/2014/main" id="{AC05C8D9-92AB-4F43-A04F-6650DB5A320D}"/>
                </a:ext>
              </a:extLst>
            </p:cNvPr>
            <p:cNvSpPr txBox="1"/>
            <p:nvPr/>
          </p:nvSpPr>
          <p:spPr>
            <a:xfrm>
              <a:off x="-1307014" y="940200"/>
              <a:ext cx="2038283" cy="273148"/>
            </a:xfrm>
            <a:prstGeom prst="rect">
              <a:avLst/>
            </a:prstGeom>
            <a:noFill/>
          </p:spPr>
          <p:txBody>
            <a:bodyPr wrap="none" rtlCol="0">
              <a:spAutoFit/>
            </a:bodyPr>
            <a:lstStyle>
              <a:defPPr>
                <a:defRPr lang="de-DE"/>
              </a:defPPr>
              <a:lvl1pPr marL="474663" marR="0" indent="-474663" defTabSz="914400" latinLnBrk="0">
                <a:lnSpc>
                  <a:spcPct val="100000"/>
                </a:lnSpc>
                <a:spcBef>
                  <a:spcPct val="20000"/>
                </a:spcBef>
                <a:buClr>
                  <a:srgbClr val="004F80"/>
                </a:buClr>
                <a:buSzPct val="80000"/>
                <a:buFont typeface="Wingdings" pitchFamily="2" charset="2"/>
                <a:buNone/>
                <a:tabLst/>
                <a:defRPr kumimoji="0" sz="1400" b="1" i="0" u="none" strike="noStrike" kern="0" cap="none" spc="0" normalizeH="0" baseline="0">
                  <a:ln>
                    <a:noFill/>
                  </a:ln>
                  <a:solidFill>
                    <a:srgbClr val="00314F"/>
                  </a:solidFill>
                  <a:effectLst/>
                  <a:uLnTx/>
                  <a:uFillTx/>
                  <a:latin typeface="BundesSans Office"/>
                  <a:ea typeface="+mn-ea"/>
                </a:defRPr>
              </a:lvl1pPr>
            </a:lstStyle>
            <a:p>
              <a:r>
                <a:rPr lang="de-DE" sz="1800" dirty="0">
                  <a:solidFill>
                    <a:schemeClr val="tx1"/>
                  </a:solidFill>
                  <a:latin typeface="+mj-lt"/>
                </a:rPr>
                <a:t>Europäische Ebene</a:t>
              </a:r>
            </a:p>
          </p:txBody>
        </p:sp>
        <p:cxnSp>
          <p:nvCxnSpPr>
            <p:cNvPr id="15" name="Gerader Verbinder 14">
              <a:extLst>
                <a:ext uri="{FF2B5EF4-FFF2-40B4-BE49-F238E27FC236}">
                  <a16:creationId xmlns:a16="http://schemas.microsoft.com/office/drawing/2014/main" id="{8F0C439F-652A-4544-BCA5-F23FBF9A954C}"/>
                </a:ext>
              </a:extLst>
            </p:cNvPr>
            <p:cNvCxnSpPr/>
            <p:nvPr/>
          </p:nvCxnSpPr>
          <p:spPr bwMode="auto">
            <a:xfrm flipV="1">
              <a:off x="5866036" y="2206122"/>
              <a:ext cx="0" cy="553581"/>
            </a:xfrm>
            <a:prstGeom prst="line">
              <a:avLst/>
            </a:prstGeom>
            <a:ln w="19050">
              <a:solidFill>
                <a:schemeClr val="accent2"/>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6" name="Abgerundetes Rechteck 33">
              <a:extLst>
                <a:ext uri="{FF2B5EF4-FFF2-40B4-BE49-F238E27FC236}">
                  <a16:creationId xmlns:a16="http://schemas.microsoft.com/office/drawing/2014/main" id="{57B3E3FE-2AF5-4EB1-A178-2C90CE5C7236}"/>
                </a:ext>
              </a:extLst>
            </p:cNvPr>
            <p:cNvSpPr/>
            <p:nvPr/>
          </p:nvSpPr>
          <p:spPr bwMode="auto">
            <a:xfrm>
              <a:off x="4546304" y="2085801"/>
              <a:ext cx="1182824" cy="240643"/>
            </a:xfrm>
            <a:prstGeom prst="roundRect">
              <a:avLst/>
            </a:prstGeom>
            <a:ln w="12700">
              <a:solidFill>
                <a:srgbClr val="00B05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474663" indent="-474663" algn="ctr">
                <a:spcBef>
                  <a:spcPts val="0"/>
                </a:spcBef>
                <a:buClr>
                  <a:srgbClr val="004F80"/>
                </a:buClr>
                <a:buSzPct val="80000"/>
              </a:pPr>
              <a:r>
                <a:rPr lang="en-US" sz="1400" b="1" kern="0" dirty="0" err="1">
                  <a:solidFill>
                    <a:schemeClr val="tx1"/>
                  </a:solidFill>
                  <a:latin typeface="+mj-lt"/>
                </a:rPr>
                <a:t>Notifizierung</a:t>
              </a:r>
              <a:endParaRPr lang="en-US" sz="1400" b="1" kern="0" dirty="0">
                <a:solidFill>
                  <a:schemeClr val="tx1"/>
                </a:solidFill>
                <a:latin typeface="+mj-lt"/>
              </a:endParaRPr>
            </a:p>
          </p:txBody>
        </p:sp>
        <p:cxnSp>
          <p:nvCxnSpPr>
            <p:cNvPr id="17" name="Gerader Verbinder 16">
              <a:extLst>
                <a:ext uri="{FF2B5EF4-FFF2-40B4-BE49-F238E27FC236}">
                  <a16:creationId xmlns:a16="http://schemas.microsoft.com/office/drawing/2014/main" id="{138AE18E-E2FA-468B-B406-AC7B982FA22F}"/>
                </a:ext>
              </a:extLst>
            </p:cNvPr>
            <p:cNvCxnSpPr>
              <a:cxnSpLocks/>
            </p:cNvCxnSpPr>
            <p:nvPr/>
          </p:nvCxnSpPr>
          <p:spPr bwMode="auto">
            <a:xfrm flipV="1">
              <a:off x="7016749" y="2036638"/>
              <a:ext cx="4577" cy="733062"/>
            </a:xfrm>
            <a:prstGeom prst="line">
              <a:avLst/>
            </a:prstGeom>
            <a:ln w="19050">
              <a:solidFill>
                <a:schemeClr val="accent2"/>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8" name="Abgerundetes Rechteck 53">
              <a:extLst>
                <a:ext uri="{FF2B5EF4-FFF2-40B4-BE49-F238E27FC236}">
                  <a16:creationId xmlns:a16="http://schemas.microsoft.com/office/drawing/2014/main" id="{67DC4F75-76CF-44F9-AD73-C9626F6D890C}"/>
                </a:ext>
              </a:extLst>
            </p:cNvPr>
            <p:cNvSpPr/>
            <p:nvPr/>
          </p:nvSpPr>
          <p:spPr bwMode="auto">
            <a:xfrm>
              <a:off x="6221870" y="1427675"/>
              <a:ext cx="1589758" cy="628279"/>
            </a:xfrm>
            <a:prstGeom prst="roundRect">
              <a:avLst/>
            </a:prstGeom>
            <a:ln w="12700">
              <a:solidFill>
                <a:srgbClr val="00B05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indent="-474663" algn="ctr">
                <a:spcBef>
                  <a:spcPts val="0"/>
                </a:spcBef>
                <a:buClr>
                  <a:srgbClr val="004F80"/>
                </a:buClr>
                <a:buSzPct val="80000"/>
              </a:pPr>
              <a:r>
                <a:rPr lang="en-US" sz="1400" b="1" kern="0" dirty="0" err="1">
                  <a:solidFill>
                    <a:schemeClr val="tx1"/>
                  </a:solidFill>
                  <a:latin typeface="+mj-lt"/>
                </a:rPr>
                <a:t>Beihilferechtliche</a:t>
              </a:r>
              <a:r>
                <a:rPr lang="en-US" sz="1400" b="1" kern="0" dirty="0">
                  <a:solidFill>
                    <a:schemeClr val="tx1"/>
                  </a:solidFill>
                  <a:latin typeface="+mj-lt"/>
                </a:rPr>
                <a:t> </a:t>
              </a:r>
              <a:r>
                <a:rPr lang="en-US" sz="1400" b="1" kern="0" dirty="0" err="1">
                  <a:solidFill>
                    <a:schemeClr val="tx1"/>
                  </a:solidFill>
                  <a:latin typeface="+mj-lt"/>
                </a:rPr>
                <a:t>Genehmigung</a:t>
              </a:r>
              <a:r>
                <a:rPr lang="en-US" sz="1400" b="1" kern="0" dirty="0">
                  <a:solidFill>
                    <a:schemeClr val="tx1"/>
                  </a:solidFill>
                  <a:latin typeface="+mj-lt"/>
                </a:rPr>
                <a:t> von KOM</a:t>
              </a:r>
            </a:p>
          </p:txBody>
        </p:sp>
        <p:cxnSp>
          <p:nvCxnSpPr>
            <p:cNvPr id="19" name="Gerader Verbinder 18">
              <a:extLst>
                <a:ext uri="{FF2B5EF4-FFF2-40B4-BE49-F238E27FC236}">
                  <a16:creationId xmlns:a16="http://schemas.microsoft.com/office/drawing/2014/main" id="{C1C7835B-86DA-4FF8-947A-5361C70DF62E}"/>
                </a:ext>
              </a:extLst>
            </p:cNvPr>
            <p:cNvCxnSpPr/>
            <p:nvPr/>
          </p:nvCxnSpPr>
          <p:spPr bwMode="auto">
            <a:xfrm flipH="1">
              <a:off x="2120664" y="2198143"/>
              <a:ext cx="110651" cy="0"/>
            </a:xfrm>
            <a:prstGeom prst="line">
              <a:avLst/>
            </a:prstGeom>
            <a:solidFill>
              <a:schemeClr val="accent1"/>
            </a:solidFill>
            <a:ln w="15240" cap="flat" cmpd="sng" algn="ctr">
              <a:solidFill>
                <a:schemeClr val="accent2"/>
              </a:solidFill>
              <a:prstDash val="solid"/>
              <a:round/>
              <a:headEnd type="none" w="med" len="med"/>
              <a:tailEnd type="none" w="med" len="med"/>
            </a:ln>
            <a:effectLst/>
          </p:spPr>
        </p:cxnSp>
        <p:cxnSp>
          <p:nvCxnSpPr>
            <p:cNvPr id="20" name="Gerader Verbinder 19">
              <a:extLst>
                <a:ext uri="{FF2B5EF4-FFF2-40B4-BE49-F238E27FC236}">
                  <a16:creationId xmlns:a16="http://schemas.microsoft.com/office/drawing/2014/main" id="{37A7B3AB-7657-444D-8BFC-85A8870B1179}"/>
                </a:ext>
              </a:extLst>
            </p:cNvPr>
            <p:cNvCxnSpPr/>
            <p:nvPr/>
          </p:nvCxnSpPr>
          <p:spPr bwMode="auto">
            <a:xfrm flipH="1">
              <a:off x="5757493" y="2211710"/>
              <a:ext cx="110651" cy="0"/>
            </a:xfrm>
            <a:prstGeom prst="line">
              <a:avLst/>
            </a:prstGeom>
            <a:solidFill>
              <a:schemeClr val="accent1"/>
            </a:solidFill>
            <a:ln w="15240" cap="flat" cmpd="sng" algn="ctr">
              <a:solidFill>
                <a:schemeClr val="accent2"/>
              </a:solidFill>
              <a:prstDash val="solid"/>
              <a:round/>
              <a:headEnd type="none" w="med" len="med"/>
              <a:tailEnd type="none" w="med" len="med"/>
            </a:ln>
            <a:effectLst/>
          </p:spPr>
        </p:cxnSp>
      </p:grpSp>
      <p:grpSp>
        <p:nvGrpSpPr>
          <p:cNvPr id="21" name="Gruppieren 20">
            <a:extLst>
              <a:ext uri="{FF2B5EF4-FFF2-40B4-BE49-F238E27FC236}">
                <a16:creationId xmlns:a16="http://schemas.microsoft.com/office/drawing/2014/main" id="{1A7214BC-D675-4C16-9115-2B9460F41E6E}"/>
              </a:ext>
            </a:extLst>
          </p:cNvPr>
          <p:cNvGrpSpPr/>
          <p:nvPr/>
        </p:nvGrpSpPr>
        <p:grpSpPr>
          <a:xfrm>
            <a:off x="504000" y="4180680"/>
            <a:ext cx="11263756" cy="2200648"/>
            <a:chOff x="-1241242" y="2524835"/>
            <a:chExt cx="9815947" cy="2200648"/>
          </a:xfrm>
        </p:grpSpPr>
        <p:cxnSp>
          <p:nvCxnSpPr>
            <p:cNvPr id="22" name="Gerader Verbinder 21">
              <a:extLst>
                <a:ext uri="{FF2B5EF4-FFF2-40B4-BE49-F238E27FC236}">
                  <a16:creationId xmlns:a16="http://schemas.microsoft.com/office/drawing/2014/main" id="{702215DF-4BAD-4836-AEF9-3678AF9FE35C}"/>
                </a:ext>
              </a:extLst>
            </p:cNvPr>
            <p:cNvCxnSpPr>
              <a:cxnSpLocks/>
            </p:cNvCxnSpPr>
            <p:nvPr/>
          </p:nvCxnSpPr>
          <p:spPr bwMode="auto">
            <a:xfrm flipV="1">
              <a:off x="2555776" y="2524835"/>
              <a:ext cx="0" cy="996934"/>
            </a:xfrm>
            <a:prstGeom prst="line">
              <a:avLst/>
            </a:prstGeom>
            <a:ln w="19050">
              <a:solidFill>
                <a:schemeClr val="accent2"/>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23" name="Abgerundetes Rechteck 35">
              <a:extLst>
                <a:ext uri="{FF2B5EF4-FFF2-40B4-BE49-F238E27FC236}">
                  <a16:creationId xmlns:a16="http://schemas.microsoft.com/office/drawing/2014/main" id="{A258F2FF-8235-49C6-A75B-36EB309AF71F}"/>
                </a:ext>
              </a:extLst>
            </p:cNvPr>
            <p:cNvSpPr/>
            <p:nvPr/>
          </p:nvSpPr>
          <p:spPr bwMode="auto">
            <a:xfrm>
              <a:off x="1870623" y="3327166"/>
              <a:ext cx="1661084" cy="837744"/>
            </a:xfrm>
            <a:prstGeom prst="roundRect">
              <a:avLst/>
            </a:prstGeom>
            <a:ln w="12700">
              <a:solidFill>
                <a:srgbClr val="EB9F15"/>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indent="-474663" algn="ctr">
                <a:spcBef>
                  <a:spcPts val="0"/>
                </a:spcBef>
                <a:buClr>
                  <a:srgbClr val="004F80"/>
                </a:buClr>
                <a:buSzPct val="80000"/>
              </a:pPr>
              <a:r>
                <a:rPr lang="en-US" sz="1400" kern="0" dirty="0" err="1">
                  <a:solidFill>
                    <a:schemeClr val="tx1"/>
                  </a:solidFill>
                  <a:latin typeface="+mj-lt"/>
                </a:rPr>
                <a:t>Einreichung</a:t>
              </a:r>
              <a:r>
                <a:rPr lang="en-US" sz="1400" kern="0" dirty="0">
                  <a:solidFill>
                    <a:schemeClr val="tx1"/>
                  </a:solidFill>
                  <a:latin typeface="+mj-lt"/>
                </a:rPr>
                <a:t> </a:t>
              </a:r>
              <a:r>
                <a:rPr lang="en-US" sz="1400" b="1" kern="0" dirty="0" err="1">
                  <a:solidFill>
                    <a:schemeClr val="tx1"/>
                  </a:solidFill>
                  <a:latin typeface="+mj-lt"/>
                </a:rPr>
                <a:t>nationaler</a:t>
              </a:r>
              <a:r>
                <a:rPr lang="en-US" sz="1400" b="1" kern="0" dirty="0">
                  <a:solidFill>
                    <a:schemeClr val="tx1"/>
                  </a:solidFill>
                  <a:latin typeface="+mj-lt"/>
                </a:rPr>
                <a:t> </a:t>
              </a:r>
              <a:r>
                <a:rPr lang="en-US" sz="1400" b="1" kern="0" dirty="0" err="1">
                  <a:solidFill>
                    <a:schemeClr val="tx1"/>
                  </a:solidFill>
                  <a:latin typeface="+mj-lt"/>
                </a:rPr>
                <a:t>Antragsdokumente</a:t>
              </a:r>
              <a:endParaRPr lang="en-US" sz="1400" b="1" kern="0" dirty="0">
                <a:solidFill>
                  <a:schemeClr val="tx1"/>
                </a:solidFill>
                <a:latin typeface="+mj-lt"/>
              </a:endParaRPr>
            </a:p>
          </p:txBody>
        </p:sp>
        <p:cxnSp>
          <p:nvCxnSpPr>
            <p:cNvPr id="24" name="Gerader Verbinder 23">
              <a:extLst>
                <a:ext uri="{FF2B5EF4-FFF2-40B4-BE49-F238E27FC236}">
                  <a16:creationId xmlns:a16="http://schemas.microsoft.com/office/drawing/2014/main" id="{ACBFAAAD-782C-4B09-A3D2-9FB742172BE1}"/>
                </a:ext>
              </a:extLst>
            </p:cNvPr>
            <p:cNvCxnSpPr>
              <a:cxnSpLocks/>
            </p:cNvCxnSpPr>
            <p:nvPr/>
          </p:nvCxnSpPr>
          <p:spPr bwMode="auto">
            <a:xfrm flipH="1" flipV="1">
              <a:off x="7805007" y="2531497"/>
              <a:ext cx="7353" cy="990272"/>
            </a:xfrm>
            <a:prstGeom prst="line">
              <a:avLst/>
            </a:prstGeom>
            <a:ln w="19050">
              <a:solidFill>
                <a:schemeClr val="accent2"/>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25" name="Abgerundetes Rechteck 38">
              <a:extLst>
                <a:ext uri="{FF2B5EF4-FFF2-40B4-BE49-F238E27FC236}">
                  <a16:creationId xmlns:a16="http://schemas.microsoft.com/office/drawing/2014/main" id="{23A3F143-561D-43E4-8CC8-5308B625D85C}"/>
                </a:ext>
              </a:extLst>
            </p:cNvPr>
            <p:cNvSpPr/>
            <p:nvPr/>
          </p:nvSpPr>
          <p:spPr bwMode="auto">
            <a:xfrm>
              <a:off x="7020604" y="3524244"/>
              <a:ext cx="1554101" cy="527979"/>
            </a:xfrm>
            <a:prstGeom prst="roundRect">
              <a:avLst/>
            </a:prstGeom>
            <a:ln w="12700">
              <a:solidFill>
                <a:srgbClr val="EB9F15"/>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0" rIns="91440" bIns="45720" numCol="1" rtlCol="0" anchor="t" anchorCtr="0" compatLnSpc="1">
              <a:prstTxWarp prst="textNoShape">
                <a:avLst/>
              </a:prstTxWarp>
            </a:bodyPr>
            <a:lstStyle/>
            <a:p>
              <a:pPr indent="-474663" algn="ctr">
                <a:spcBef>
                  <a:spcPts val="0"/>
                </a:spcBef>
                <a:buClr>
                  <a:srgbClr val="004F80"/>
                </a:buClr>
                <a:buSzPct val="80000"/>
              </a:pPr>
              <a:r>
                <a:rPr lang="en-US" sz="1400" b="1" kern="0" dirty="0" err="1">
                  <a:solidFill>
                    <a:schemeClr val="tx1"/>
                  </a:solidFill>
                  <a:latin typeface="+mj-lt"/>
                </a:rPr>
                <a:t>Nationaler</a:t>
              </a:r>
              <a:r>
                <a:rPr lang="en-US" sz="1400" b="1" kern="0" dirty="0">
                  <a:solidFill>
                    <a:schemeClr val="tx1"/>
                  </a:solidFill>
                  <a:latin typeface="+mj-lt"/>
                </a:rPr>
                <a:t> </a:t>
              </a:r>
              <a:r>
                <a:rPr lang="en-US" sz="1400" b="1" kern="0" dirty="0" err="1">
                  <a:solidFill>
                    <a:schemeClr val="tx1"/>
                  </a:solidFill>
                  <a:latin typeface="+mj-lt"/>
                </a:rPr>
                <a:t>Förderbescheid</a:t>
              </a:r>
              <a:endParaRPr lang="en-US" sz="1400" b="1" kern="0" dirty="0">
                <a:solidFill>
                  <a:schemeClr val="tx1"/>
                </a:solidFill>
                <a:latin typeface="+mj-lt"/>
              </a:endParaRPr>
            </a:p>
          </p:txBody>
        </p:sp>
        <p:cxnSp>
          <p:nvCxnSpPr>
            <p:cNvPr id="26" name="Gerade Verbindung mit Pfeil 25">
              <a:extLst>
                <a:ext uri="{FF2B5EF4-FFF2-40B4-BE49-F238E27FC236}">
                  <a16:creationId xmlns:a16="http://schemas.microsoft.com/office/drawing/2014/main" id="{F0CD3AA8-C46A-4C7A-A548-1553F5E6BB5A}"/>
                </a:ext>
              </a:extLst>
            </p:cNvPr>
            <p:cNvCxnSpPr/>
            <p:nvPr/>
          </p:nvCxnSpPr>
          <p:spPr bwMode="auto">
            <a:xfrm>
              <a:off x="2555776" y="4360523"/>
              <a:ext cx="5256584" cy="0"/>
            </a:xfrm>
            <a:prstGeom prst="straightConnector1">
              <a:avLst/>
            </a:prstGeom>
            <a:solidFill>
              <a:schemeClr val="accent1"/>
            </a:solidFill>
            <a:ln w="19050" cap="flat" cmpd="sng" algn="ctr">
              <a:solidFill>
                <a:schemeClr val="accent2"/>
              </a:solidFill>
              <a:prstDash val="solid"/>
              <a:round/>
              <a:headEnd type="triangle" w="med" len="med"/>
              <a:tailEnd type="triangle"/>
            </a:ln>
            <a:effectLst/>
          </p:spPr>
        </p:cxnSp>
        <p:sp>
          <p:nvSpPr>
            <p:cNvPr id="27" name="Abgerundetes Rechteck 40">
              <a:extLst>
                <a:ext uri="{FF2B5EF4-FFF2-40B4-BE49-F238E27FC236}">
                  <a16:creationId xmlns:a16="http://schemas.microsoft.com/office/drawing/2014/main" id="{7C6216F6-0252-48D8-AA9F-1F253D34B5C2}"/>
                </a:ext>
              </a:extLst>
            </p:cNvPr>
            <p:cNvSpPr/>
            <p:nvPr/>
          </p:nvSpPr>
          <p:spPr bwMode="auto">
            <a:xfrm>
              <a:off x="3172080" y="4401816"/>
              <a:ext cx="3865804" cy="323667"/>
            </a:xfrm>
            <a:prstGeom prst="roundRect">
              <a:avLst/>
            </a:prstGeom>
            <a:ln w="12700">
              <a:solidFill>
                <a:srgbClr val="EB9F15"/>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18000" rIns="91440" bIns="45720" numCol="1" rtlCol="0" anchor="t" anchorCtr="0" compatLnSpc="1">
              <a:prstTxWarp prst="textNoShape">
                <a:avLst/>
              </a:prstTxWarp>
            </a:bodyPr>
            <a:lstStyle/>
            <a:p>
              <a:pPr marL="474663" indent="-474663" algn="ctr">
                <a:spcBef>
                  <a:spcPts val="0"/>
                </a:spcBef>
                <a:buClr>
                  <a:srgbClr val="004F80"/>
                </a:buClr>
                <a:buSzPct val="80000"/>
              </a:pPr>
              <a:r>
                <a:rPr lang="en-US" sz="1400" b="1" kern="0" dirty="0" err="1">
                  <a:solidFill>
                    <a:schemeClr val="tx1"/>
                  </a:solidFill>
                  <a:latin typeface="+mj-lt"/>
                </a:rPr>
                <a:t>Prüfung</a:t>
              </a:r>
              <a:r>
                <a:rPr lang="en-US" sz="1400" b="1" kern="0" dirty="0">
                  <a:solidFill>
                    <a:schemeClr val="tx1"/>
                  </a:solidFill>
                  <a:latin typeface="+mj-lt"/>
                </a:rPr>
                <a:t> </a:t>
              </a:r>
              <a:r>
                <a:rPr lang="en-US" sz="1400" b="1" kern="0" dirty="0" err="1">
                  <a:solidFill>
                    <a:schemeClr val="tx1"/>
                  </a:solidFill>
                  <a:latin typeface="+mj-lt"/>
                </a:rPr>
                <a:t>nationaler</a:t>
              </a:r>
              <a:r>
                <a:rPr lang="en-US" sz="1400" b="1" kern="0" dirty="0">
                  <a:solidFill>
                    <a:schemeClr val="tx1"/>
                  </a:solidFill>
                  <a:latin typeface="+mj-lt"/>
                </a:rPr>
                <a:t> </a:t>
              </a:r>
              <a:r>
                <a:rPr lang="en-US" sz="1400" b="1" kern="0" dirty="0" err="1">
                  <a:solidFill>
                    <a:schemeClr val="tx1"/>
                  </a:solidFill>
                  <a:latin typeface="+mj-lt"/>
                </a:rPr>
                <a:t>Antragsdokumente</a:t>
              </a:r>
              <a:endParaRPr lang="en-US" sz="1400" b="1" kern="0" dirty="0">
                <a:solidFill>
                  <a:schemeClr val="tx1"/>
                </a:solidFill>
                <a:latin typeface="+mj-lt"/>
              </a:endParaRPr>
            </a:p>
          </p:txBody>
        </p:sp>
        <p:sp>
          <p:nvSpPr>
            <p:cNvPr id="29" name="Textfeld 28">
              <a:extLst>
                <a:ext uri="{FF2B5EF4-FFF2-40B4-BE49-F238E27FC236}">
                  <a16:creationId xmlns:a16="http://schemas.microsoft.com/office/drawing/2014/main" id="{DDACFA9D-A432-48F0-AE15-4CF04DB332A2}"/>
                </a:ext>
              </a:extLst>
            </p:cNvPr>
            <p:cNvSpPr txBox="1"/>
            <p:nvPr/>
          </p:nvSpPr>
          <p:spPr>
            <a:xfrm>
              <a:off x="-1241242" y="2699967"/>
              <a:ext cx="1725522" cy="369332"/>
            </a:xfrm>
            <a:prstGeom prst="rect">
              <a:avLst/>
            </a:prstGeom>
          </p:spPr>
          <p:txBody>
            <a:bodyPr wrap="none" rtlCol="0">
              <a:spAutoFit/>
            </a:bodyPr>
            <a:lstStyle/>
            <a:p>
              <a:pPr marL="474663" marR="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pPr>
              <a:r>
                <a:rPr kumimoji="0" lang="de-DE" b="1" i="0" u="none" strike="noStrike" kern="0" cap="none" spc="0" normalizeH="0" baseline="0" noProof="0" dirty="0">
                  <a:ln>
                    <a:noFill/>
                  </a:ln>
                  <a:effectLst/>
                  <a:uLnTx/>
                  <a:uFillTx/>
                  <a:latin typeface="+mj-lt"/>
                  <a:ea typeface="+mn-ea"/>
                  <a:cs typeface="+mn-cs"/>
                </a:rPr>
                <a:t>Nationale Ebene</a:t>
              </a:r>
            </a:p>
          </p:txBody>
        </p:sp>
      </p:grpSp>
      <p:cxnSp>
        <p:nvCxnSpPr>
          <p:cNvPr id="34" name="Gerader Verbinder 33">
            <a:extLst>
              <a:ext uri="{FF2B5EF4-FFF2-40B4-BE49-F238E27FC236}">
                <a16:creationId xmlns:a16="http://schemas.microsoft.com/office/drawing/2014/main" id="{34979847-A9B6-43CC-8B2A-73F37131C22B}"/>
              </a:ext>
            </a:extLst>
          </p:cNvPr>
          <p:cNvCxnSpPr>
            <a:cxnSpLocks/>
            <a:stCxn id="35" idx="0"/>
          </p:cNvCxnSpPr>
          <p:nvPr/>
        </p:nvCxnSpPr>
        <p:spPr bwMode="auto">
          <a:xfrm flipV="1">
            <a:off x="2481619" y="4187342"/>
            <a:ext cx="0" cy="1071900"/>
          </a:xfrm>
          <a:prstGeom prst="line">
            <a:avLst/>
          </a:prstGeom>
          <a:ln w="19050">
            <a:solidFill>
              <a:schemeClr val="accent2"/>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35" name="Abgerundetes Rechteck 35">
            <a:extLst>
              <a:ext uri="{FF2B5EF4-FFF2-40B4-BE49-F238E27FC236}">
                <a16:creationId xmlns:a16="http://schemas.microsoft.com/office/drawing/2014/main" id="{7E925F04-118C-4BB0-9B0B-04C5E6ACF85C}"/>
              </a:ext>
            </a:extLst>
          </p:cNvPr>
          <p:cNvSpPr/>
          <p:nvPr/>
        </p:nvSpPr>
        <p:spPr bwMode="auto">
          <a:xfrm>
            <a:off x="1483199" y="5259242"/>
            <a:ext cx="1996839" cy="618030"/>
          </a:xfrm>
          <a:prstGeom prst="roundRect">
            <a:avLst/>
          </a:prstGeom>
          <a:ln w="12700">
            <a:solidFill>
              <a:srgbClr val="EB9F15"/>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indent="-474663" algn="ctr">
              <a:spcBef>
                <a:spcPts val="0"/>
              </a:spcBef>
              <a:buClr>
                <a:srgbClr val="004F80"/>
              </a:buClr>
              <a:buSzPct val="80000"/>
            </a:pPr>
            <a:r>
              <a:rPr lang="en-US" sz="1400" b="1" kern="0" dirty="0" err="1">
                <a:solidFill>
                  <a:schemeClr val="tx1"/>
                </a:solidFill>
                <a:latin typeface="+mj-lt"/>
              </a:rPr>
              <a:t>Skizzeneinreichung</a:t>
            </a:r>
            <a:r>
              <a:rPr lang="en-US" sz="1400" b="1" kern="0" dirty="0">
                <a:solidFill>
                  <a:schemeClr val="tx1"/>
                </a:solidFill>
                <a:latin typeface="+mj-lt"/>
              </a:rPr>
              <a:t> und </a:t>
            </a:r>
            <a:r>
              <a:rPr lang="en-US" sz="1400" b="1" kern="0" dirty="0" err="1">
                <a:solidFill>
                  <a:schemeClr val="tx1"/>
                </a:solidFill>
                <a:latin typeface="+mj-lt"/>
              </a:rPr>
              <a:t>Projektauswahl</a:t>
            </a:r>
            <a:endParaRPr lang="en-US" sz="1400" b="1" kern="0" dirty="0">
              <a:solidFill>
                <a:schemeClr val="tx1"/>
              </a:solidFill>
              <a:latin typeface="+mj-lt"/>
            </a:endParaRPr>
          </a:p>
        </p:txBody>
      </p:sp>
      <p:cxnSp>
        <p:nvCxnSpPr>
          <p:cNvPr id="48" name="Gerader Verbinder 47">
            <a:extLst>
              <a:ext uri="{FF2B5EF4-FFF2-40B4-BE49-F238E27FC236}">
                <a16:creationId xmlns:a16="http://schemas.microsoft.com/office/drawing/2014/main" id="{29B0E734-F8CF-410D-8A6A-798ED0CC0562}"/>
              </a:ext>
            </a:extLst>
          </p:cNvPr>
          <p:cNvCxnSpPr/>
          <p:nvPr/>
        </p:nvCxnSpPr>
        <p:spPr bwMode="auto">
          <a:xfrm flipV="1">
            <a:off x="1675077" y="3476577"/>
            <a:ext cx="4761" cy="710765"/>
          </a:xfrm>
          <a:prstGeom prst="line">
            <a:avLst/>
          </a:prstGeom>
          <a:ln w="19050">
            <a:solidFill>
              <a:schemeClr val="accent2"/>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49" name="Abgerundetes Rechteck 53">
            <a:extLst>
              <a:ext uri="{FF2B5EF4-FFF2-40B4-BE49-F238E27FC236}">
                <a16:creationId xmlns:a16="http://schemas.microsoft.com/office/drawing/2014/main" id="{1063648D-8CB3-496F-A7A6-D39D2280AFE4}"/>
              </a:ext>
            </a:extLst>
          </p:cNvPr>
          <p:cNvSpPr/>
          <p:nvPr/>
        </p:nvSpPr>
        <p:spPr bwMode="auto">
          <a:xfrm>
            <a:off x="997578" y="3181034"/>
            <a:ext cx="1394238" cy="680014"/>
          </a:xfrm>
          <a:prstGeom prst="roundRect">
            <a:avLst/>
          </a:prstGeom>
          <a:ln w="12700">
            <a:solidFill>
              <a:srgbClr val="00B05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indent="-474663" algn="ctr">
              <a:spcBef>
                <a:spcPts val="0"/>
              </a:spcBef>
              <a:buClr>
                <a:srgbClr val="004F80"/>
              </a:buClr>
              <a:buSzPct val="80000"/>
            </a:pPr>
            <a:r>
              <a:rPr lang="en-US" sz="1400" b="1" kern="0" dirty="0">
                <a:solidFill>
                  <a:schemeClr val="tx1"/>
                </a:solidFill>
                <a:latin typeface="+mj-lt"/>
              </a:rPr>
              <a:t>EU-</a:t>
            </a:r>
            <a:r>
              <a:rPr lang="en-US" sz="1400" b="1" kern="0" dirty="0" err="1">
                <a:solidFill>
                  <a:schemeClr val="tx1"/>
                </a:solidFill>
                <a:latin typeface="+mj-lt"/>
              </a:rPr>
              <a:t>weites</a:t>
            </a:r>
            <a:endParaRPr lang="en-US" sz="1400" b="1" kern="0" dirty="0">
              <a:solidFill>
                <a:schemeClr val="tx1"/>
              </a:solidFill>
              <a:latin typeface="+mj-lt"/>
            </a:endParaRPr>
          </a:p>
          <a:p>
            <a:pPr indent="-474663" algn="ctr">
              <a:spcBef>
                <a:spcPts val="0"/>
              </a:spcBef>
              <a:buClr>
                <a:srgbClr val="004F80"/>
              </a:buClr>
              <a:buSzPct val="80000"/>
            </a:pPr>
            <a:r>
              <a:rPr lang="en-US" sz="1400" b="1" kern="0" dirty="0">
                <a:solidFill>
                  <a:schemeClr val="tx1"/>
                </a:solidFill>
                <a:latin typeface="+mj-lt"/>
              </a:rPr>
              <a:t>Matchmaking</a:t>
            </a:r>
          </a:p>
        </p:txBody>
      </p:sp>
      <p:grpSp>
        <p:nvGrpSpPr>
          <p:cNvPr id="40" name="Group 594">
            <a:extLst>
              <a:ext uri="{FF2B5EF4-FFF2-40B4-BE49-F238E27FC236}">
                <a16:creationId xmlns:a16="http://schemas.microsoft.com/office/drawing/2014/main" id="{3467B920-EF85-49D5-BB1A-38DAD9A1E9AA}"/>
              </a:ext>
            </a:extLst>
          </p:cNvPr>
          <p:cNvGrpSpPr>
            <a:grpSpLocks noChangeAspect="1"/>
          </p:cNvGrpSpPr>
          <p:nvPr/>
        </p:nvGrpSpPr>
        <p:grpSpPr bwMode="auto">
          <a:xfrm>
            <a:off x="263352" y="3861048"/>
            <a:ext cx="558467" cy="432048"/>
            <a:chOff x="1032" y="2185"/>
            <a:chExt cx="402" cy="311"/>
          </a:xfrm>
          <a:solidFill>
            <a:schemeClr val="tx1"/>
          </a:solidFill>
        </p:grpSpPr>
        <p:sp>
          <p:nvSpPr>
            <p:cNvPr id="41" name="Freeform 595">
              <a:extLst>
                <a:ext uri="{FF2B5EF4-FFF2-40B4-BE49-F238E27FC236}">
                  <a16:creationId xmlns:a16="http://schemas.microsoft.com/office/drawing/2014/main" id="{E8D36C07-02D3-4B87-A8CE-82ABEEA0A164}"/>
                </a:ext>
              </a:extLst>
            </p:cNvPr>
            <p:cNvSpPr>
              <a:spLocks noEditPoints="1"/>
            </p:cNvSpPr>
            <p:nvPr/>
          </p:nvSpPr>
          <p:spPr bwMode="auto">
            <a:xfrm>
              <a:off x="1032" y="2185"/>
              <a:ext cx="402" cy="148"/>
            </a:xfrm>
            <a:custGeom>
              <a:avLst/>
              <a:gdLst>
                <a:gd name="T0" fmla="*/ 475 w 481"/>
                <a:gd name="T1" fmla="*/ 176 h 176"/>
                <a:gd name="T2" fmla="*/ 6 w 481"/>
                <a:gd name="T3" fmla="*/ 176 h 176"/>
                <a:gd name="T4" fmla="*/ 0 w 481"/>
                <a:gd name="T5" fmla="*/ 170 h 176"/>
                <a:gd name="T6" fmla="*/ 0 w 481"/>
                <a:gd name="T7" fmla="*/ 6 h 176"/>
                <a:gd name="T8" fmla="*/ 6 w 481"/>
                <a:gd name="T9" fmla="*/ 0 h 176"/>
                <a:gd name="T10" fmla="*/ 475 w 481"/>
                <a:gd name="T11" fmla="*/ 0 h 176"/>
                <a:gd name="T12" fmla="*/ 481 w 481"/>
                <a:gd name="T13" fmla="*/ 6 h 176"/>
                <a:gd name="T14" fmla="*/ 481 w 481"/>
                <a:gd name="T15" fmla="*/ 170 h 176"/>
                <a:gd name="T16" fmla="*/ 475 w 481"/>
                <a:gd name="T17" fmla="*/ 176 h 176"/>
                <a:gd name="T18" fmla="*/ 12 w 481"/>
                <a:gd name="T19" fmla="*/ 164 h 176"/>
                <a:gd name="T20" fmla="*/ 469 w 481"/>
                <a:gd name="T21" fmla="*/ 164 h 176"/>
                <a:gd name="T22" fmla="*/ 469 w 481"/>
                <a:gd name="T23" fmla="*/ 12 h 176"/>
                <a:gd name="T24" fmla="*/ 12 w 481"/>
                <a:gd name="T25" fmla="*/ 12 h 176"/>
                <a:gd name="T26" fmla="*/ 12 w 481"/>
                <a:gd name="T27" fmla="*/ 16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1" h="176">
                  <a:moveTo>
                    <a:pt x="475" y="176"/>
                  </a:moveTo>
                  <a:cubicBezTo>
                    <a:pt x="6" y="176"/>
                    <a:pt x="6" y="176"/>
                    <a:pt x="6" y="176"/>
                  </a:cubicBezTo>
                  <a:cubicBezTo>
                    <a:pt x="3" y="176"/>
                    <a:pt x="0" y="173"/>
                    <a:pt x="0" y="170"/>
                  </a:cubicBezTo>
                  <a:cubicBezTo>
                    <a:pt x="0" y="6"/>
                    <a:pt x="0" y="6"/>
                    <a:pt x="0" y="6"/>
                  </a:cubicBezTo>
                  <a:cubicBezTo>
                    <a:pt x="0" y="3"/>
                    <a:pt x="3" y="0"/>
                    <a:pt x="6" y="0"/>
                  </a:cubicBezTo>
                  <a:cubicBezTo>
                    <a:pt x="475" y="0"/>
                    <a:pt x="475" y="0"/>
                    <a:pt x="475" y="0"/>
                  </a:cubicBezTo>
                  <a:cubicBezTo>
                    <a:pt x="478" y="0"/>
                    <a:pt x="481" y="3"/>
                    <a:pt x="481" y="6"/>
                  </a:cubicBezTo>
                  <a:cubicBezTo>
                    <a:pt x="481" y="170"/>
                    <a:pt x="481" y="170"/>
                    <a:pt x="481" y="170"/>
                  </a:cubicBezTo>
                  <a:cubicBezTo>
                    <a:pt x="481" y="173"/>
                    <a:pt x="478" y="176"/>
                    <a:pt x="475" y="176"/>
                  </a:cubicBezTo>
                  <a:close/>
                  <a:moveTo>
                    <a:pt x="12" y="164"/>
                  </a:moveTo>
                  <a:cubicBezTo>
                    <a:pt x="469" y="164"/>
                    <a:pt x="469" y="164"/>
                    <a:pt x="469" y="164"/>
                  </a:cubicBezTo>
                  <a:cubicBezTo>
                    <a:pt x="469" y="12"/>
                    <a:pt x="469" y="12"/>
                    <a:pt x="469" y="12"/>
                  </a:cubicBezTo>
                  <a:cubicBezTo>
                    <a:pt x="12" y="12"/>
                    <a:pt x="12" y="12"/>
                    <a:pt x="12" y="12"/>
                  </a:cubicBezTo>
                  <a:lnTo>
                    <a:pt x="12"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596">
              <a:extLst>
                <a:ext uri="{FF2B5EF4-FFF2-40B4-BE49-F238E27FC236}">
                  <a16:creationId xmlns:a16="http://schemas.microsoft.com/office/drawing/2014/main" id="{F31D699B-E87C-43A3-84A7-15EE946D83E0}"/>
                </a:ext>
              </a:extLst>
            </p:cNvPr>
            <p:cNvSpPr>
              <a:spLocks/>
            </p:cNvSpPr>
            <p:nvPr/>
          </p:nvSpPr>
          <p:spPr bwMode="auto">
            <a:xfrm>
              <a:off x="1080" y="2215"/>
              <a:ext cx="49" cy="77"/>
            </a:xfrm>
            <a:custGeom>
              <a:avLst/>
              <a:gdLst>
                <a:gd name="T0" fmla="*/ 51 w 58"/>
                <a:gd name="T1" fmla="*/ 18 h 93"/>
                <a:gd name="T2" fmla="*/ 33 w 58"/>
                <a:gd name="T3" fmla="*/ 14 h 93"/>
                <a:gd name="T4" fmla="*/ 19 w 58"/>
                <a:gd name="T5" fmla="*/ 27 h 93"/>
                <a:gd name="T6" fmla="*/ 58 w 58"/>
                <a:gd name="T7" fmla="*/ 66 h 93"/>
                <a:gd name="T8" fmla="*/ 25 w 58"/>
                <a:gd name="T9" fmla="*/ 93 h 93"/>
                <a:gd name="T10" fmla="*/ 2 w 58"/>
                <a:gd name="T11" fmla="*/ 89 h 93"/>
                <a:gd name="T12" fmla="*/ 3 w 58"/>
                <a:gd name="T13" fmla="*/ 73 h 93"/>
                <a:gd name="T14" fmla="*/ 24 w 58"/>
                <a:gd name="T15" fmla="*/ 79 h 93"/>
                <a:gd name="T16" fmla="*/ 39 w 58"/>
                <a:gd name="T17" fmla="*/ 67 h 93"/>
                <a:gd name="T18" fmla="*/ 0 w 58"/>
                <a:gd name="T19" fmla="*/ 28 h 93"/>
                <a:gd name="T20" fmla="*/ 32 w 58"/>
                <a:gd name="T21" fmla="*/ 0 h 93"/>
                <a:gd name="T22" fmla="*/ 53 w 58"/>
                <a:gd name="T23" fmla="*/ 3 h 93"/>
                <a:gd name="T24" fmla="*/ 51 w 58"/>
                <a:gd name="T25" fmla="*/ 1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93">
                  <a:moveTo>
                    <a:pt x="51" y="18"/>
                  </a:moveTo>
                  <a:cubicBezTo>
                    <a:pt x="46" y="16"/>
                    <a:pt x="39" y="14"/>
                    <a:pt x="33" y="14"/>
                  </a:cubicBezTo>
                  <a:cubicBezTo>
                    <a:pt x="27" y="14"/>
                    <a:pt x="19" y="17"/>
                    <a:pt x="19" y="27"/>
                  </a:cubicBezTo>
                  <a:cubicBezTo>
                    <a:pt x="19" y="42"/>
                    <a:pt x="58" y="36"/>
                    <a:pt x="58" y="66"/>
                  </a:cubicBezTo>
                  <a:cubicBezTo>
                    <a:pt x="58" y="85"/>
                    <a:pt x="43" y="93"/>
                    <a:pt x="25" y="93"/>
                  </a:cubicBezTo>
                  <a:cubicBezTo>
                    <a:pt x="15" y="93"/>
                    <a:pt x="10" y="92"/>
                    <a:pt x="2" y="89"/>
                  </a:cubicBezTo>
                  <a:cubicBezTo>
                    <a:pt x="3" y="73"/>
                    <a:pt x="3" y="73"/>
                    <a:pt x="3" y="73"/>
                  </a:cubicBezTo>
                  <a:cubicBezTo>
                    <a:pt x="9" y="77"/>
                    <a:pt x="17" y="79"/>
                    <a:pt x="24" y="79"/>
                  </a:cubicBezTo>
                  <a:cubicBezTo>
                    <a:pt x="30" y="79"/>
                    <a:pt x="39" y="75"/>
                    <a:pt x="39" y="67"/>
                  </a:cubicBezTo>
                  <a:cubicBezTo>
                    <a:pt x="39" y="50"/>
                    <a:pt x="0" y="57"/>
                    <a:pt x="0" y="28"/>
                  </a:cubicBezTo>
                  <a:cubicBezTo>
                    <a:pt x="0" y="8"/>
                    <a:pt x="16" y="0"/>
                    <a:pt x="32" y="0"/>
                  </a:cubicBezTo>
                  <a:cubicBezTo>
                    <a:pt x="39" y="0"/>
                    <a:pt x="46" y="1"/>
                    <a:pt x="53" y="3"/>
                  </a:cubicBezTo>
                  <a:lnTo>
                    <a:pt x="5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597">
              <a:extLst>
                <a:ext uri="{FF2B5EF4-FFF2-40B4-BE49-F238E27FC236}">
                  <a16:creationId xmlns:a16="http://schemas.microsoft.com/office/drawing/2014/main" id="{4BF9FA60-CA27-4A3F-884B-63897EB13C00}"/>
                </a:ext>
              </a:extLst>
            </p:cNvPr>
            <p:cNvSpPr>
              <a:spLocks/>
            </p:cNvSpPr>
            <p:nvPr/>
          </p:nvSpPr>
          <p:spPr bwMode="auto">
            <a:xfrm>
              <a:off x="1135" y="2216"/>
              <a:ext cx="58" cy="75"/>
            </a:xfrm>
            <a:custGeom>
              <a:avLst/>
              <a:gdLst>
                <a:gd name="T0" fmla="*/ 21 w 58"/>
                <a:gd name="T1" fmla="*/ 12 h 75"/>
                <a:gd name="T2" fmla="*/ 0 w 58"/>
                <a:gd name="T3" fmla="*/ 12 h 75"/>
                <a:gd name="T4" fmla="*/ 0 w 58"/>
                <a:gd name="T5" fmla="*/ 0 h 75"/>
                <a:gd name="T6" fmla="*/ 58 w 58"/>
                <a:gd name="T7" fmla="*/ 0 h 75"/>
                <a:gd name="T8" fmla="*/ 58 w 58"/>
                <a:gd name="T9" fmla="*/ 12 h 75"/>
                <a:gd name="T10" fmla="*/ 37 w 58"/>
                <a:gd name="T11" fmla="*/ 12 h 75"/>
                <a:gd name="T12" fmla="*/ 37 w 58"/>
                <a:gd name="T13" fmla="*/ 75 h 75"/>
                <a:gd name="T14" fmla="*/ 21 w 58"/>
                <a:gd name="T15" fmla="*/ 75 h 75"/>
                <a:gd name="T16" fmla="*/ 21 w 58"/>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75">
                  <a:moveTo>
                    <a:pt x="21" y="12"/>
                  </a:moveTo>
                  <a:lnTo>
                    <a:pt x="0" y="12"/>
                  </a:lnTo>
                  <a:lnTo>
                    <a:pt x="0" y="0"/>
                  </a:lnTo>
                  <a:lnTo>
                    <a:pt x="58" y="0"/>
                  </a:lnTo>
                  <a:lnTo>
                    <a:pt x="58" y="12"/>
                  </a:lnTo>
                  <a:lnTo>
                    <a:pt x="37" y="12"/>
                  </a:lnTo>
                  <a:lnTo>
                    <a:pt x="37" y="75"/>
                  </a:lnTo>
                  <a:lnTo>
                    <a:pt x="21" y="75"/>
                  </a:lnTo>
                  <a:lnTo>
                    <a:pt x="21"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598">
              <a:extLst>
                <a:ext uri="{FF2B5EF4-FFF2-40B4-BE49-F238E27FC236}">
                  <a16:creationId xmlns:a16="http://schemas.microsoft.com/office/drawing/2014/main" id="{3B507C15-CC28-4D0B-BAD5-05040CC68F17}"/>
                </a:ext>
              </a:extLst>
            </p:cNvPr>
            <p:cNvSpPr>
              <a:spLocks noEditPoints="1"/>
            </p:cNvSpPr>
            <p:nvPr/>
          </p:nvSpPr>
          <p:spPr bwMode="auto">
            <a:xfrm>
              <a:off x="1186" y="2216"/>
              <a:ext cx="76" cy="75"/>
            </a:xfrm>
            <a:custGeom>
              <a:avLst/>
              <a:gdLst>
                <a:gd name="T0" fmla="*/ 29 w 76"/>
                <a:gd name="T1" fmla="*/ 0 h 75"/>
                <a:gd name="T2" fmla="*/ 47 w 76"/>
                <a:gd name="T3" fmla="*/ 0 h 75"/>
                <a:gd name="T4" fmla="*/ 76 w 76"/>
                <a:gd name="T5" fmla="*/ 75 h 75"/>
                <a:gd name="T6" fmla="*/ 59 w 76"/>
                <a:gd name="T7" fmla="*/ 75 h 75"/>
                <a:gd name="T8" fmla="*/ 52 w 76"/>
                <a:gd name="T9" fmla="*/ 58 h 75"/>
                <a:gd name="T10" fmla="*/ 22 w 76"/>
                <a:gd name="T11" fmla="*/ 58 h 75"/>
                <a:gd name="T12" fmla="*/ 16 w 76"/>
                <a:gd name="T13" fmla="*/ 75 h 75"/>
                <a:gd name="T14" fmla="*/ 0 w 76"/>
                <a:gd name="T15" fmla="*/ 75 h 75"/>
                <a:gd name="T16" fmla="*/ 29 w 76"/>
                <a:gd name="T17" fmla="*/ 0 h 75"/>
                <a:gd name="T18" fmla="*/ 37 w 76"/>
                <a:gd name="T19" fmla="*/ 15 h 75"/>
                <a:gd name="T20" fmla="*/ 37 w 76"/>
                <a:gd name="T21" fmla="*/ 15 h 75"/>
                <a:gd name="T22" fmla="*/ 27 w 76"/>
                <a:gd name="T23" fmla="*/ 46 h 75"/>
                <a:gd name="T24" fmla="*/ 48 w 76"/>
                <a:gd name="T25" fmla="*/ 46 h 75"/>
                <a:gd name="T26" fmla="*/ 37 w 76"/>
                <a:gd name="T27" fmla="*/ 1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75">
                  <a:moveTo>
                    <a:pt x="29" y="0"/>
                  </a:moveTo>
                  <a:lnTo>
                    <a:pt x="47" y="0"/>
                  </a:lnTo>
                  <a:lnTo>
                    <a:pt x="76" y="75"/>
                  </a:lnTo>
                  <a:lnTo>
                    <a:pt x="59" y="75"/>
                  </a:lnTo>
                  <a:lnTo>
                    <a:pt x="52" y="58"/>
                  </a:lnTo>
                  <a:lnTo>
                    <a:pt x="22" y="58"/>
                  </a:lnTo>
                  <a:lnTo>
                    <a:pt x="16" y="75"/>
                  </a:lnTo>
                  <a:lnTo>
                    <a:pt x="0" y="75"/>
                  </a:lnTo>
                  <a:lnTo>
                    <a:pt x="29" y="0"/>
                  </a:lnTo>
                  <a:close/>
                  <a:moveTo>
                    <a:pt x="37" y="15"/>
                  </a:moveTo>
                  <a:lnTo>
                    <a:pt x="37" y="15"/>
                  </a:lnTo>
                  <a:lnTo>
                    <a:pt x="27" y="46"/>
                  </a:lnTo>
                  <a:lnTo>
                    <a:pt x="48" y="46"/>
                  </a:lnTo>
                  <a:lnTo>
                    <a:pt x="37"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599">
              <a:extLst>
                <a:ext uri="{FF2B5EF4-FFF2-40B4-BE49-F238E27FC236}">
                  <a16:creationId xmlns:a16="http://schemas.microsoft.com/office/drawing/2014/main" id="{B7EAC400-D126-418E-9203-7F76773AEB0A}"/>
                </a:ext>
              </a:extLst>
            </p:cNvPr>
            <p:cNvSpPr>
              <a:spLocks noEditPoints="1"/>
            </p:cNvSpPr>
            <p:nvPr/>
          </p:nvSpPr>
          <p:spPr bwMode="auto">
            <a:xfrm>
              <a:off x="1270" y="2215"/>
              <a:ext cx="56" cy="76"/>
            </a:xfrm>
            <a:custGeom>
              <a:avLst/>
              <a:gdLst>
                <a:gd name="T0" fmla="*/ 0 w 67"/>
                <a:gd name="T1" fmla="*/ 1 h 90"/>
                <a:gd name="T2" fmla="*/ 19 w 67"/>
                <a:gd name="T3" fmla="*/ 1 h 90"/>
                <a:gd name="T4" fmla="*/ 62 w 67"/>
                <a:gd name="T5" fmla="*/ 25 h 90"/>
                <a:gd name="T6" fmla="*/ 43 w 67"/>
                <a:gd name="T7" fmla="*/ 46 h 90"/>
                <a:gd name="T8" fmla="*/ 43 w 67"/>
                <a:gd name="T9" fmla="*/ 46 h 90"/>
                <a:gd name="T10" fmla="*/ 53 w 67"/>
                <a:gd name="T11" fmla="*/ 55 h 90"/>
                <a:gd name="T12" fmla="*/ 67 w 67"/>
                <a:gd name="T13" fmla="*/ 90 h 90"/>
                <a:gd name="T14" fmla="*/ 47 w 67"/>
                <a:gd name="T15" fmla="*/ 90 h 90"/>
                <a:gd name="T16" fmla="*/ 36 w 67"/>
                <a:gd name="T17" fmla="*/ 62 h 90"/>
                <a:gd name="T18" fmla="*/ 24 w 67"/>
                <a:gd name="T19" fmla="*/ 53 h 90"/>
                <a:gd name="T20" fmla="*/ 18 w 67"/>
                <a:gd name="T21" fmla="*/ 53 h 90"/>
                <a:gd name="T22" fmla="*/ 18 w 67"/>
                <a:gd name="T23" fmla="*/ 90 h 90"/>
                <a:gd name="T24" fmla="*/ 0 w 67"/>
                <a:gd name="T25" fmla="*/ 90 h 90"/>
                <a:gd name="T26" fmla="*/ 0 w 67"/>
                <a:gd name="T27" fmla="*/ 1 h 90"/>
                <a:gd name="T28" fmla="*/ 18 w 67"/>
                <a:gd name="T29" fmla="*/ 39 h 90"/>
                <a:gd name="T30" fmla="*/ 24 w 67"/>
                <a:gd name="T31" fmla="*/ 39 h 90"/>
                <a:gd name="T32" fmla="*/ 43 w 67"/>
                <a:gd name="T33" fmla="*/ 27 h 90"/>
                <a:gd name="T34" fmla="*/ 24 w 67"/>
                <a:gd name="T35" fmla="*/ 15 h 90"/>
                <a:gd name="T36" fmla="*/ 18 w 67"/>
                <a:gd name="T37" fmla="*/ 15 h 90"/>
                <a:gd name="T38" fmla="*/ 18 w 67"/>
                <a:gd name="T39"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90">
                  <a:moveTo>
                    <a:pt x="0" y="1"/>
                  </a:moveTo>
                  <a:cubicBezTo>
                    <a:pt x="19" y="1"/>
                    <a:pt x="19" y="1"/>
                    <a:pt x="19" y="1"/>
                  </a:cubicBezTo>
                  <a:cubicBezTo>
                    <a:pt x="39" y="1"/>
                    <a:pt x="62" y="0"/>
                    <a:pt x="62" y="25"/>
                  </a:cubicBezTo>
                  <a:cubicBezTo>
                    <a:pt x="62" y="36"/>
                    <a:pt x="54" y="44"/>
                    <a:pt x="43" y="46"/>
                  </a:cubicBezTo>
                  <a:cubicBezTo>
                    <a:pt x="43" y="46"/>
                    <a:pt x="43" y="46"/>
                    <a:pt x="43" y="46"/>
                  </a:cubicBezTo>
                  <a:cubicBezTo>
                    <a:pt x="48" y="46"/>
                    <a:pt x="51" y="51"/>
                    <a:pt x="53" y="55"/>
                  </a:cubicBezTo>
                  <a:cubicBezTo>
                    <a:pt x="67" y="90"/>
                    <a:pt x="67" y="90"/>
                    <a:pt x="67" y="90"/>
                  </a:cubicBezTo>
                  <a:cubicBezTo>
                    <a:pt x="47" y="90"/>
                    <a:pt x="47" y="90"/>
                    <a:pt x="47" y="90"/>
                  </a:cubicBezTo>
                  <a:cubicBezTo>
                    <a:pt x="36" y="62"/>
                    <a:pt x="36" y="62"/>
                    <a:pt x="36" y="62"/>
                  </a:cubicBezTo>
                  <a:cubicBezTo>
                    <a:pt x="34" y="56"/>
                    <a:pt x="31" y="53"/>
                    <a:pt x="24" y="53"/>
                  </a:cubicBezTo>
                  <a:cubicBezTo>
                    <a:pt x="18" y="53"/>
                    <a:pt x="18" y="53"/>
                    <a:pt x="18" y="53"/>
                  </a:cubicBezTo>
                  <a:cubicBezTo>
                    <a:pt x="18" y="90"/>
                    <a:pt x="18" y="90"/>
                    <a:pt x="18" y="90"/>
                  </a:cubicBezTo>
                  <a:cubicBezTo>
                    <a:pt x="0" y="90"/>
                    <a:pt x="0" y="90"/>
                    <a:pt x="0" y="90"/>
                  </a:cubicBezTo>
                  <a:lnTo>
                    <a:pt x="0" y="1"/>
                  </a:lnTo>
                  <a:close/>
                  <a:moveTo>
                    <a:pt x="18" y="39"/>
                  </a:moveTo>
                  <a:cubicBezTo>
                    <a:pt x="24" y="39"/>
                    <a:pt x="24" y="39"/>
                    <a:pt x="24" y="39"/>
                  </a:cubicBezTo>
                  <a:cubicBezTo>
                    <a:pt x="33" y="39"/>
                    <a:pt x="43" y="38"/>
                    <a:pt x="43" y="27"/>
                  </a:cubicBezTo>
                  <a:cubicBezTo>
                    <a:pt x="43" y="16"/>
                    <a:pt x="33" y="15"/>
                    <a:pt x="24" y="15"/>
                  </a:cubicBezTo>
                  <a:cubicBezTo>
                    <a:pt x="18" y="15"/>
                    <a:pt x="18" y="15"/>
                    <a:pt x="18" y="15"/>
                  </a:cubicBezTo>
                  <a:lnTo>
                    <a:pt x="1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600">
              <a:extLst>
                <a:ext uri="{FF2B5EF4-FFF2-40B4-BE49-F238E27FC236}">
                  <a16:creationId xmlns:a16="http://schemas.microsoft.com/office/drawing/2014/main" id="{2E470D2E-0A1A-4123-B761-7939E7340F22}"/>
                </a:ext>
              </a:extLst>
            </p:cNvPr>
            <p:cNvSpPr>
              <a:spLocks/>
            </p:cNvSpPr>
            <p:nvPr/>
          </p:nvSpPr>
          <p:spPr bwMode="auto">
            <a:xfrm>
              <a:off x="1327" y="2216"/>
              <a:ext cx="59" cy="75"/>
            </a:xfrm>
            <a:custGeom>
              <a:avLst/>
              <a:gdLst>
                <a:gd name="T0" fmla="*/ 22 w 59"/>
                <a:gd name="T1" fmla="*/ 12 h 75"/>
                <a:gd name="T2" fmla="*/ 0 w 59"/>
                <a:gd name="T3" fmla="*/ 12 h 75"/>
                <a:gd name="T4" fmla="*/ 0 w 59"/>
                <a:gd name="T5" fmla="*/ 0 h 75"/>
                <a:gd name="T6" fmla="*/ 59 w 59"/>
                <a:gd name="T7" fmla="*/ 0 h 75"/>
                <a:gd name="T8" fmla="*/ 59 w 59"/>
                <a:gd name="T9" fmla="*/ 12 h 75"/>
                <a:gd name="T10" fmla="*/ 37 w 59"/>
                <a:gd name="T11" fmla="*/ 12 h 75"/>
                <a:gd name="T12" fmla="*/ 37 w 59"/>
                <a:gd name="T13" fmla="*/ 75 h 75"/>
                <a:gd name="T14" fmla="*/ 22 w 59"/>
                <a:gd name="T15" fmla="*/ 75 h 75"/>
                <a:gd name="T16" fmla="*/ 22 w 59"/>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75">
                  <a:moveTo>
                    <a:pt x="22" y="12"/>
                  </a:moveTo>
                  <a:lnTo>
                    <a:pt x="0" y="12"/>
                  </a:lnTo>
                  <a:lnTo>
                    <a:pt x="0" y="0"/>
                  </a:lnTo>
                  <a:lnTo>
                    <a:pt x="59" y="0"/>
                  </a:lnTo>
                  <a:lnTo>
                    <a:pt x="59" y="12"/>
                  </a:lnTo>
                  <a:lnTo>
                    <a:pt x="37" y="12"/>
                  </a:lnTo>
                  <a:lnTo>
                    <a:pt x="37" y="75"/>
                  </a:lnTo>
                  <a:lnTo>
                    <a:pt x="22" y="75"/>
                  </a:lnTo>
                  <a:lnTo>
                    <a:pt x="2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601">
              <a:extLst>
                <a:ext uri="{FF2B5EF4-FFF2-40B4-BE49-F238E27FC236}">
                  <a16:creationId xmlns:a16="http://schemas.microsoft.com/office/drawing/2014/main" id="{0C832A57-B28E-444A-BF97-CCF9CF3ABF7D}"/>
                </a:ext>
              </a:extLst>
            </p:cNvPr>
            <p:cNvSpPr>
              <a:spLocks/>
            </p:cNvSpPr>
            <p:nvPr/>
          </p:nvSpPr>
          <p:spPr bwMode="auto">
            <a:xfrm>
              <a:off x="1032" y="2188"/>
              <a:ext cx="10" cy="308"/>
            </a:xfrm>
            <a:custGeom>
              <a:avLst/>
              <a:gdLst>
                <a:gd name="T0" fmla="*/ 6 w 12"/>
                <a:gd name="T1" fmla="*/ 368 h 368"/>
                <a:gd name="T2" fmla="*/ 0 w 12"/>
                <a:gd name="T3" fmla="*/ 362 h 368"/>
                <a:gd name="T4" fmla="*/ 0 w 12"/>
                <a:gd name="T5" fmla="*/ 6 h 368"/>
                <a:gd name="T6" fmla="*/ 6 w 12"/>
                <a:gd name="T7" fmla="*/ 0 h 368"/>
                <a:gd name="T8" fmla="*/ 12 w 12"/>
                <a:gd name="T9" fmla="*/ 6 h 368"/>
                <a:gd name="T10" fmla="*/ 12 w 12"/>
                <a:gd name="T11" fmla="*/ 362 h 368"/>
                <a:gd name="T12" fmla="*/ 6 w 12"/>
                <a:gd name="T13" fmla="*/ 368 h 368"/>
              </a:gdLst>
              <a:ahLst/>
              <a:cxnLst>
                <a:cxn ang="0">
                  <a:pos x="T0" y="T1"/>
                </a:cxn>
                <a:cxn ang="0">
                  <a:pos x="T2" y="T3"/>
                </a:cxn>
                <a:cxn ang="0">
                  <a:pos x="T4" y="T5"/>
                </a:cxn>
                <a:cxn ang="0">
                  <a:pos x="T6" y="T7"/>
                </a:cxn>
                <a:cxn ang="0">
                  <a:pos x="T8" y="T9"/>
                </a:cxn>
                <a:cxn ang="0">
                  <a:pos x="T10" y="T11"/>
                </a:cxn>
                <a:cxn ang="0">
                  <a:pos x="T12" y="T13"/>
                </a:cxn>
              </a:cxnLst>
              <a:rect l="0" t="0" r="r" b="b"/>
              <a:pathLst>
                <a:path w="12" h="368">
                  <a:moveTo>
                    <a:pt x="6" y="368"/>
                  </a:moveTo>
                  <a:cubicBezTo>
                    <a:pt x="3" y="368"/>
                    <a:pt x="0" y="366"/>
                    <a:pt x="0" y="362"/>
                  </a:cubicBezTo>
                  <a:cubicBezTo>
                    <a:pt x="0" y="6"/>
                    <a:pt x="0" y="6"/>
                    <a:pt x="0" y="6"/>
                  </a:cubicBezTo>
                  <a:cubicBezTo>
                    <a:pt x="0" y="2"/>
                    <a:pt x="3" y="0"/>
                    <a:pt x="6" y="0"/>
                  </a:cubicBezTo>
                  <a:cubicBezTo>
                    <a:pt x="9" y="0"/>
                    <a:pt x="12" y="2"/>
                    <a:pt x="12" y="6"/>
                  </a:cubicBezTo>
                  <a:cubicBezTo>
                    <a:pt x="12" y="362"/>
                    <a:pt x="12" y="362"/>
                    <a:pt x="12" y="362"/>
                  </a:cubicBezTo>
                  <a:cubicBezTo>
                    <a:pt x="12" y="366"/>
                    <a:pt x="9" y="368"/>
                    <a:pt x="6"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602">
              <a:extLst>
                <a:ext uri="{FF2B5EF4-FFF2-40B4-BE49-F238E27FC236}">
                  <a16:creationId xmlns:a16="http://schemas.microsoft.com/office/drawing/2014/main" id="{A19CD1AC-B629-43B9-8A1C-4507D646993B}"/>
                </a:ext>
              </a:extLst>
            </p:cNvPr>
            <p:cNvSpPr>
              <a:spLocks/>
            </p:cNvSpPr>
            <p:nvPr/>
          </p:nvSpPr>
          <p:spPr bwMode="auto">
            <a:xfrm>
              <a:off x="1424" y="2188"/>
              <a:ext cx="10" cy="308"/>
            </a:xfrm>
            <a:custGeom>
              <a:avLst/>
              <a:gdLst>
                <a:gd name="T0" fmla="*/ 6 w 12"/>
                <a:gd name="T1" fmla="*/ 368 h 368"/>
                <a:gd name="T2" fmla="*/ 0 w 12"/>
                <a:gd name="T3" fmla="*/ 362 h 368"/>
                <a:gd name="T4" fmla="*/ 0 w 12"/>
                <a:gd name="T5" fmla="*/ 6 h 368"/>
                <a:gd name="T6" fmla="*/ 6 w 12"/>
                <a:gd name="T7" fmla="*/ 0 h 368"/>
                <a:gd name="T8" fmla="*/ 12 w 12"/>
                <a:gd name="T9" fmla="*/ 6 h 368"/>
                <a:gd name="T10" fmla="*/ 12 w 12"/>
                <a:gd name="T11" fmla="*/ 362 h 368"/>
                <a:gd name="T12" fmla="*/ 6 w 12"/>
                <a:gd name="T13" fmla="*/ 368 h 368"/>
              </a:gdLst>
              <a:ahLst/>
              <a:cxnLst>
                <a:cxn ang="0">
                  <a:pos x="T0" y="T1"/>
                </a:cxn>
                <a:cxn ang="0">
                  <a:pos x="T2" y="T3"/>
                </a:cxn>
                <a:cxn ang="0">
                  <a:pos x="T4" y="T5"/>
                </a:cxn>
                <a:cxn ang="0">
                  <a:pos x="T6" y="T7"/>
                </a:cxn>
                <a:cxn ang="0">
                  <a:pos x="T8" y="T9"/>
                </a:cxn>
                <a:cxn ang="0">
                  <a:pos x="T10" y="T11"/>
                </a:cxn>
                <a:cxn ang="0">
                  <a:pos x="T12" y="T13"/>
                </a:cxn>
              </a:cxnLst>
              <a:rect l="0" t="0" r="r" b="b"/>
              <a:pathLst>
                <a:path w="12" h="368">
                  <a:moveTo>
                    <a:pt x="6" y="368"/>
                  </a:moveTo>
                  <a:cubicBezTo>
                    <a:pt x="2" y="368"/>
                    <a:pt x="0" y="366"/>
                    <a:pt x="0" y="362"/>
                  </a:cubicBezTo>
                  <a:cubicBezTo>
                    <a:pt x="0" y="6"/>
                    <a:pt x="0" y="6"/>
                    <a:pt x="0" y="6"/>
                  </a:cubicBezTo>
                  <a:cubicBezTo>
                    <a:pt x="0" y="2"/>
                    <a:pt x="2" y="0"/>
                    <a:pt x="6" y="0"/>
                  </a:cubicBezTo>
                  <a:cubicBezTo>
                    <a:pt x="9" y="0"/>
                    <a:pt x="12" y="2"/>
                    <a:pt x="12" y="6"/>
                  </a:cubicBezTo>
                  <a:cubicBezTo>
                    <a:pt x="12" y="362"/>
                    <a:pt x="12" y="362"/>
                    <a:pt x="12" y="362"/>
                  </a:cubicBezTo>
                  <a:cubicBezTo>
                    <a:pt x="12" y="366"/>
                    <a:pt x="9" y="368"/>
                    <a:pt x="6"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61" name="Group 132">
            <a:extLst>
              <a:ext uri="{FF2B5EF4-FFF2-40B4-BE49-F238E27FC236}">
                <a16:creationId xmlns:a16="http://schemas.microsoft.com/office/drawing/2014/main" id="{2D21505B-13FA-4EBE-90D8-4F21D2D3B5FB}"/>
              </a:ext>
            </a:extLst>
          </p:cNvPr>
          <p:cNvGrpSpPr>
            <a:grpSpLocks noChangeAspect="1"/>
          </p:cNvGrpSpPr>
          <p:nvPr/>
        </p:nvGrpSpPr>
        <p:grpSpPr bwMode="auto">
          <a:xfrm>
            <a:off x="2978612" y="1556792"/>
            <a:ext cx="525100" cy="560874"/>
            <a:chOff x="2582" y="2110"/>
            <a:chExt cx="411" cy="439"/>
          </a:xfrm>
          <a:solidFill>
            <a:schemeClr val="accent1"/>
          </a:solidFill>
        </p:grpSpPr>
        <p:sp>
          <p:nvSpPr>
            <p:cNvPr id="62" name="Freeform 133">
              <a:extLst>
                <a:ext uri="{FF2B5EF4-FFF2-40B4-BE49-F238E27FC236}">
                  <a16:creationId xmlns:a16="http://schemas.microsoft.com/office/drawing/2014/main" id="{E5423ECD-97C1-4278-8485-F3F246340E29}"/>
                </a:ext>
              </a:extLst>
            </p:cNvPr>
            <p:cNvSpPr>
              <a:spLocks/>
            </p:cNvSpPr>
            <p:nvPr/>
          </p:nvSpPr>
          <p:spPr bwMode="auto">
            <a:xfrm>
              <a:off x="2601" y="2145"/>
              <a:ext cx="0" cy="398"/>
            </a:xfrm>
            <a:custGeom>
              <a:avLst/>
              <a:gdLst>
                <a:gd name="T0" fmla="*/ 398 h 398"/>
                <a:gd name="T1" fmla="*/ 0 h 398"/>
                <a:gd name="T2" fmla="*/ 398 h 398"/>
              </a:gdLst>
              <a:ahLst/>
              <a:cxnLst>
                <a:cxn ang="0">
                  <a:pos x="0" y="T0"/>
                </a:cxn>
                <a:cxn ang="0">
                  <a:pos x="0" y="T1"/>
                </a:cxn>
                <a:cxn ang="0">
                  <a:pos x="0" y="T2"/>
                </a:cxn>
              </a:cxnLst>
              <a:rect l="0" t="0" r="r" b="b"/>
              <a:pathLst>
                <a:path h="398">
                  <a:moveTo>
                    <a:pt x="0" y="398"/>
                  </a:moveTo>
                  <a:lnTo>
                    <a:pt x="0" y="0"/>
                  </a:lnTo>
                  <a:lnTo>
                    <a:pt x="0" y="3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Line 134">
              <a:extLst>
                <a:ext uri="{FF2B5EF4-FFF2-40B4-BE49-F238E27FC236}">
                  <a16:creationId xmlns:a16="http://schemas.microsoft.com/office/drawing/2014/main" id="{8BFF6741-5B32-48A5-B7D9-38413847AF22}"/>
                </a:ext>
              </a:extLst>
            </p:cNvPr>
            <p:cNvSpPr>
              <a:spLocks noChangeShapeType="1"/>
            </p:cNvSpPr>
            <p:nvPr/>
          </p:nvSpPr>
          <p:spPr bwMode="auto">
            <a:xfrm flipV="1">
              <a:off x="2601" y="2145"/>
              <a:ext cx="0" cy="398"/>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4" name="Freeform 135">
              <a:extLst>
                <a:ext uri="{FF2B5EF4-FFF2-40B4-BE49-F238E27FC236}">
                  <a16:creationId xmlns:a16="http://schemas.microsoft.com/office/drawing/2014/main" id="{CCDA9D3F-1288-4409-9628-13F5F1ECC40C}"/>
                </a:ext>
              </a:extLst>
            </p:cNvPr>
            <p:cNvSpPr>
              <a:spLocks/>
            </p:cNvSpPr>
            <p:nvPr/>
          </p:nvSpPr>
          <p:spPr bwMode="auto">
            <a:xfrm>
              <a:off x="2594" y="2138"/>
              <a:ext cx="13" cy="411"/>
            </a:xfrm>
            <a:custGeom>
              <a:avLst/>
              <a:gdLst>
                <a:gd name="T0" fmla="*/ 6 w 12"/>
                <a:gd name="T1" fmla="*/ 392 h 392"/>
                <a:gd name="T2" fmla="*/ 0 w 12"/>
                <a:gd name="T3" fmla="*/ 386 h 392"/>
                <a:gd name="T4" fmla="*/ 0 w 12"/>
                <a:gd name="T5" fmla="*/ 6 h 392"/>
                <a:gd name="T6" fmla="*/ 6 w 12"/>
                <a:gd name="T7" fmla="*/ 0 h 392"/>
                <a:gd name="T8" fmla="*/ 12 w 12"/>
                <a:gd name="T9" fmla="*/ 6 h 392"/>
                <a:gd name="T10" fmla="*/ 12 w 12"/>
                <a:gd name="T11" fmla="*/ 386 h 392"/>
                <a:gd name="T12" fmla="*/ 6 w 12"/>
                <a:gd name="T13" fmla="*/ 392 h 392"/>
              </a:gdLst>
              <a:ahLst/>
              <a:cxnLst>
                <a:cxn ang="0">
                  <a:pos x="T0" y="T1"/>
                </a:cxn>
                <a:cxn ang="0">
                  <a:pos x="T2" y="T3"/>
                </a:cxn>
                <a:cxn ang="0">
                  <a:pos x="T4" y="T5"/>
                </a:cxn>
                <a:cxn ang="0">
                  <a:pos x="T6" y="T7"/>
                </a:cxn>
                <a:cxn ang="0">
                  <a:pos x="T8" y="T9"/>
                </a:cxn>
                <a:cxn ang="0">
                  <a:pos x="T10" y="T11"/>
                </a:cxn>
                <a:cxn ang="0">
                  <a:pos x="T12" y="T13"/>
                </a:cxn>
              </a:cxnLst>
              <a:rect l="0" t="0" r="r" b="b"/>
              <a:pathLst>
                <a:path w="12" h="392">
                  <a:moveTo>
                    <a:pt x="6" y="392"/>
                  </a:moveTo>
                  <a:cubicBezTo>
                    <a:pt x="3" y="392"/>
                    <a:pt x="0" y="390"/>
                    <a:pt x="0" y="386"/>
                  </a:cubicBezTo>
                  <a:cubicBezTo>
                    <a:pt x="0" y="6"/>
                    <a:pt x="0" y="6"/>
                    <a:pt x="0" y="6"/>
                  </a:cubicBezTo>
                  <a:cubicBezTo>
                    <a:pt x="0" y="3"/>
                    <a:pt x="3" y="0"/>
                    <a:pt x="6" y="0"/>
                  </a:cubicBezTo>
                  <a:cubicBezTo>
                    <a:pt x="10" y="0"/>
                    <a:pt x="12" y="3"/>
                    <a:pt x="12" y="6"/>
                  </a:cubicBezTo>
                  <a:cubicBezTo>
                    <a:pt x="12" y="386"/>
                    <a:pt x="12" y="386"/>
                    <a:pt x="12" y="386"/>
                  </a:cubicBezTo>
                  <a:cubicBezTo>
                    <a:pt x="12" y="390"/>
                    <a:pt x="10" y="392"/>
                    <a:pt x="6" y="3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5" name="Oval 136">
              <a:extLst>
                <a:ext uri="{FF2B5EF4-FFF2-40B4-BE49-F238E27FC236}">
                  <a16:creationId xmlns:a16="http://schemas.microsoft.com/office/drawing/2014/main" id="{C023019D-7E5E-4EE5-AE4B-CB4A8ACEA708}"/>
                </a:ext>
              </a:extLst>
            </p:cNvPr>
            <p:cNvSpPr>
              <a:spLocks noChangeArrowheads="1"/>
            </p:cNvSpPr>
            <p:nvPr/>
          </p:nvSpPr>
          <p:spPr bwMode="auto">
            <a:xfrm>
              <a:off x="2582" y="2110"/>
              <a:ext cx="39" cy="3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6" name="Freeform 137">
              <a:extLst>
                <a:ext uri="{FF2B5EF4-FFF2-40B4-BE49-F238E27FC236}">
                  <a16:creationId xmlns:a16="http://schemas.microsoft.com/office/drawing/2014/main" id="{EA2F1481-AD57-4016-92ED-91545B835E0F}"/>
                </a:ext>
              </a:extLst>
            </p:cNvPr>
            <p:cNvSpPr>
              <a:spLocks noEditPoints="1"/>
            </p:cNvSpPr>
            <p:nvPr/>
          </p:nvSpPr>
          <p:spPr bwMode="auto">
            <a:xfrm>
              <a:off x="2614" y="2124"/>
              <a:ext cx="379" cy="290"/>
            </a:xfrm>
            <a:custGeom>
              <a:avLst/>
              <a:gdLst>
                <a:gd name="T0" fmla="*/ 6 w 362"/>
                <a:gd name="T1" fmla="*/ 270 h 277"/>
                <a:gd name="T2" fmla="*/ 4 w 362"/>
                <a:gd name="T3" fmla="*/ 269 h 277"/>
                <a:gd name="T4" fmla="*/ 0 w 362"/>
                <a:gd name="T5" fmla="*/ 264 h 277"/>
                <a:gd name="T6" fmla="*/ 0 w 362"/>
                <a:gd name="T7" fmla="*/ 63 h 277"/>
                <a:gd name="T8" fmla="*/ 1 w 362"/>
                <a:gd name="T9" fmla="*/ 59 h 277"/>
                <a:gd name="T10" fmla="*/ 208 w 362"/>
                <a:gd name="T11" fmla="*/ 28 h 277"/>
                <a:gd name="T12" fmla="*/ 355 w 362"/>
                <a:gd name="T13" fmla="*/ 30 h 277"/>
                <a:gd name="T14" fmla="*/ 360 w 362"/>
                <a:gd name="T15" fmla="*/ 31 h 277"/>
                <a:gd name="T16" fmla="*/ 362 w 362"/>
                <a:gd name="T17" fmla="*/ 36 h 277"/>
                <a:gd name="T18" fmla="*/ 362 w 362"/>
                <a:gd name="T19" fmla="*/ 246 h 277"/>
                <a:gd name="T20" fmla="*/ 359 w 362"/>
                <a:gd name="T21" fmla="*/ 252 h 277"/>
                <a:gd name="T22" fmla="*/ 185 w 362"/>
                <a:gd name="T23" fmla="*/ 226 h 277"/>
                <a:gd name="T24" fmla="*/ 11 w 362"/>
                <a:gd name="T25" fmla="*/ 268 h 277"/>
                <a:gd name="T26" fmla="*/ 6 w 362"/>
                <a:gd name="T27" fmla="*/ 270 h 277"/>
                <a:gd name="T28" fmla="*/ 128 w 362"/>
                <a:gd name="T29" fmla="*/ 202 h 277"/>
                <a:gd name="T30" fmla="*/ 190 w 362"/>
                <a:gd name="T31" fmla="*/ 215 h 277"/>
                <a:gd name="T32" fmla="*/ 350 w 362"/>
                <a:gd name="T33" fmla="*/ 242 h 277"/>
                <a:gd name="T34" fmla="*/ 350 w 362"/>
                <a:gd name="T35" fmla="*/ 43 h 277"/>
                <a:gd name="T36" fmla="*/ 202 w 362"/>
                <a:gd name="T37" fmla="*/ 38 h 277"/>
                <a:gd name="T38" fmla="*/ 12 w 362"/>
                <a:gd name="T39" fmla="*/ 65 h 277"/>
                <a:gd name="T40" fmla="*/ 12 w 362"/>
                <a:gd name="T41" fmla="*/ 250 h 277"/>
                <a:gd name="T42" fmla="*/ 128 w 362"/>
                <a:gd name="T43"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2" h="277">
                  <a:moveTo>
                    <a:pt x="6" y="270"/>
                  </a:moveTo>
                  <a:cubicBezTo>
                    <a:pt x="5" y="270"/>
                    <a:pt x="5" y="270"/>
                    <a:pt x="4" y="269"/>
                  </a:cubicBezTo>
                  <a:cubicBezTo>
                    <a:pt x="2" y="269"/>
                    <a:pt x="0" y="266"/>
                    <a:pt x="0" y="264"/>
                  </a:cubicBezTo>
                  <a:cubicBezTo>
                    <a:pt x="0" y="63"/>
                    <a:pt x="0" y="63"/>
                    <a:pt x="0" y="63"/>
                  </a:cubicBezTo>
                  <a:cubicBezTo>
                    <a:pt x="0" y="61"/>
                    <a:pt x="1" y="60"/>
                    <a:pt x="1" y="59"/>
                  </a:cubicBezTo>
                  <a:cubicBezTo>
                    <a:pt x="42" y="4"/>
                    <a:pt x="157" y="0"/>
                    <a:pt x="208" y="28"/>
                  </a:cubicBezTo>
                  <a:cubicBezTo>
                    <a:pt x="255" y="53"/>
                    <a:pt x="354" y="30"/>
                    <a:pt x="355" y="30"/>
                  </a:cubicBezTo>
                  <a:cubicBezTo>
                    <a:pt x="357" y="29"/>
                    <a:pt x="359" y="30"/>
                    <a:pt x="360" y="31"/>
                  </a:cubicBezTo>
                  <a:cubicBezTo>
                    <a:pt x="362" y="32"/>
                    <a:pt x="362" y="34"/>
                    <a:pt x="362" y="36"/>
                  </a:cubicBezTo>
                  <a:cubicBezTo>
                    <a:pt x="362" y="246"/>
                    <a:pt x="362" y="246"/>
                    <a:pt x="362" y="246"/>
                  </a:cubicBezTo>
                  <a:cubicBezTo>
                    <a:pt x="362" y="249"/>
                    <a:pt x="361" y="251"/>
                    <a:pt x="359" y="252"/>
                  </a:cubicBezTo>
                  <a:cubicBezTo>
                    <a:pt x="300" y="277"/>
                    <a:pt x="289" y="272"/>
                    <a:pt x="185" y="226"/>
                  </a:cubicBezTo>
                  <a:cubicBezTo>
                    <a:pt x="87" y="183"/>
                    <a:pt x="11" y="267"/>
                    <a:pt x="11" y="268"/>
                  </a:cubicBezTo>
                  <a:cubicBezTo>
                    <a:pt x="9" y="269"/>
                    <a:pt x="8" y="270"/>
                    <a:pt x="6" y="270"/>
                  </a:cubicBezTo>
                  <a:close/>
                  <a:moveTo>
                    <a:pt x="128" y="202"/>
                  </a:moveTo>
                  <a:cubicBezTo>
                    <a:pt x="147" y="202"/>
                    <a:pt x="168" y="206"/>
                    <a:pt x="190" y="215"/>
                  </a:cubicBezTo>
                  <a:cubicBezTo>
                    <a:pt x="289" y="259"/>
                    <a:pt x="300" y="264"/>
                    <a:pt x="350" y="242"/>
                  </a:cubicBezTo>
                  <a:cubicBezTo>
                    <a:pt x="350" y="43"/>
                    <a:pt x="350" y="43"/>
                    <a:pt x="350" y="43"/>
                  </a:cubicBezTo>
                  <a:cubicBezTo>
                    <a:pt x="326" y="48"/>
                    <a:pt x="246" y="62"/>
                    <a:pt x="202" y="38"/>
                  </a:cubicBezTo>
                  <a:cubicBezTo>
                    <a:pt x="156" y="14"/>
                    <a:pt x="50" y="16"/>
                    <a:pt x="12" y="65"/>
                  </a:cubicBezTo>
                  <a:cubicBezTo>
                    <a:pt x="12" y="250"/>
                    <a:pt x="12" y="250"/>
                    <a:pt x="12" y="250"/>
                  </a:cubicBezTo>
                  <a:cubicBezTo>
                    <a:pt x="31" y="233"/>
                    <a:pt x="73" y="202"/>
                    <a:pt x="128"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7" name="Oval 138">
              <a:extLst>
                <a:ext uri="{FF2B5EF4-FFF2-40B4-BE49-F238E27FC236}">
                  <a16:creationId xmlns:a16="http://schemas.microsoft.com/office/drawing/2014/main" id="{80071FF8-BF76-478E-B70D-0F662C445D57}"/>
                </a:ext>
              </a:extLst>
            </p:cNvPr>
            <p:cNvSpPr>
              <a:spLocks noChangeArrowheads="1"/>
            </p:cNvSpPr>
            <p:nvPr/>
          </p:nvSpPr>
          <p:spPr bwMode="auto">
            <a:xfrm>
              <a:off x="2784" y="2183"/>
              <a:ext cx="14" cy="1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8" name="Freeform 139">
              <a:extLst>
                <a:ext uri="{FF2B5EF4-FFF2-40B4-BE49-F238E27FC236}">
                  <a16:creationId xmlns:a16="http://schemas.microsoft.com/office/drawing/2014/main" id="{6DC8D73A-930D-412A-8B0B-23EEC72E86F0}"/>
                </a:ext>
              </a:extLst>
            </p:cNvPr>
            <p:cNvSpPr>
              <a:spLocks noEditPoints="1"/>
            </p:cNvSpPr>
            <p:nvPr/>
          </p:nvSpPr>
          <p:spPr bwMode="auto">
            <a:xfrm>
              <a:off x="2778" y="2177"/>
              <a:ext cx="27" cy="27"/>
            </a:xfrm>
            <a:custGeom>
              <a:avLst/>
              <a:gdLst>
                <a:gd name="T0" fmla="*/ 13 w 26"/>
                <a:gd name="T1" fmla="*/ 26 h 26"/>
                <a:gd name="T2" fmla="*/ 0 w 26"/>
                <a:gd name="T3" fmla="*/ 13 h 26"/>
                <a:gd name="T4" fmla="*/ 13 w 26"/>
                <a:gd name="T5" fmla="*/ 0 h 26"/>
                <a:gd name="T6" fmla="*/ 26 w 26"/>
                <a:gd name="T7" fmla="*/ 13 h 26"/>
                <a:gd name="T8" fmla="*/ 13 w 26"/>
                <a:gd name="T9" fmla="*/ 26 h 26"/>
                <a:gd name="T10" fmla="*/ 13 w 26"/>
                <a:gd name="T11" fmla="*/ 12 h 26"/>
                <a:gd name="T12" fmla="*/ 12 w 26"/>
                <a:gd name="T13" fmla="*/ 13 h 26"/>
                <a:gd name="T14" fmla="*/ 14 w 26"/>
                <a:gd name="T15" fmla="*/ 13 h 26"/>
                <a:gd name="T16" fmla="*/ 13 w 26"/>
                <a:gd name="T1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6">
                  <a:moveTo>
                    <a:pt x="13" y="26"/>
                  </a:moveTo>
                  <a:cubicBezTo>
                    <a:pt x="6" y="26"/>
                    <a:pt x="0" y="20"/>
                    <a:pt x="0" y="13"/>
                  </a:cubicBezTo>
                  <a:cubicBezTo>
                    <a:pt x="0" y="6"/>
                    <a:pt x="6" y="0"/>
                    <a:pt x="13" y="0"/>
                  </a:cubicBezTo>
                  <a:cubicBezTo>
                    <a:pt x="20" y="0"/>
                    <a:pt x="26" y="6"/>
                    <a:pt x="26" y="13"/>
                  </a:cubicBezTo>
                  <a:cubicBezTo>
                    <a:pt x="26" y="20"/>
                    <a:pt x="20" y="26"/>
                    <a:pt x="13" y="26"/>
                  </a:cubicBezTo>
                  <a:close/>
                  <a:moveTo>
                    <a:pt x="13" y="12"/>
                  </a:moveTo>
                  <a:cubicBezTo>
                    <a:pt x="12" y="12"/>
                    <a:pt x="12" y="13"/>
                    <a:pt x="12" y="13"/>
                  </a:cubicBezTo>
                  <a:cubicBezTo>
                    <a:pt x="12" y="14"/>
                    <a:pt x="14" y="14"/>
                    <a:pt x="14" y="13"/>
                  </a:cubicBezTo>
                  <a:cubicBezTo>
                    <a:pt x="14" y="13"/>
                    <a:pt x="13" y="12"/>
                    <a:pt x="1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9" name="Freeform 140">
              <a:extLst>
                <a:ext uri="{FF2B5EF4-FFF2-40B4-BE49-F238E27FC236}">
                  <a16:creationId xmlns:a16="http://schemas.microsoft.com/office/drawing/2014/main" id="{12E57B9F-F666-44A3-BBA7-DCB149B78DC5}"/>
                </a:ext>
              </a:extLst>
            </p:cNvPr>
            <p:cNvSpPr>
              <a:spLocks/>
            </p:cNvSpPr>
            <p:nvPr/>
          </p:nvSpPr>
          <p:spPr bwMode="auto">
            <a:xfrm>
              <a:off x="2813" y="2192"/>
              <a:ext cx="17" cy="15"/>
            </a:xfrm>
            <a:custGeom>
              <a:avLst/>
              <a:gdLst>
                <a:gd name="T0" fmla="*/ 14 w 16"/>
                <a:gd name="T1" fmla="*/ 11 h 15"/>
                <a:gd name="T2" fmla="*/ 4 w 16"/>
                <a:gd name="T3" fmla="*/ 13 h 15"/>
                <a:gd name="T4" fmla="*/ 2 w 16"/>
                <a:gd name="T5" fmla="*/ 4 h 15"/>
                <a:gd name="T6" fmla="*/ 12 w 16"/>
                <a:gd name="T7" fmla="*/ 2 h 15"/>
                <a:gd name="T8" fmla="*/ 14 w 16"/>
                <a:gd name="T9" fmla="*/ 11 h 15"/>
              </a:gdLst>
              <a:ahLst/>
              <a:cxnLst>
                <a:cxn ang="0">
                  <a:pos x="T0" y="T1"/>
                </a:cxn>
                <a:cxn ang="0">
                  <a:pos x="T2" y="T3"/>
                </a:cxn>
                <a:cxn ang="0">
                  <a:pos x="T4" y="T5"/>
                </a:cxn>
                <a:cxn ang="0">
                  <a:pos x="T6" y="T7"/>
                </a:cxn>
                <a:cxn ang="0">
                  <a:pos x="T8" y="T9"/>
                </a:cxn>
              </a:cxnLst>
              <a:rect l="0" t="0" r="r" b="b"/>
              <a:pathLst>
                <a:path w="16" h="15">
                  <a:moveTo>
                    <a:pt x="14" y="11"/>
                  </a:moveTo>
                  <a:cubicBezTo>
                    <a:pt x="12" y="14"/>
                    <a:pt x="7" y="15"/>
                    <a:pt x="4" y="13"/>
                  </a:cubicBezTo>
                  <a:cubicBezTo>
                    <a:pt x="1" y="11"/>
                    <a:pt x="0" y="7"/>
                    <a:pt x="2" y="4"/>
                  </a:cubicBezTo>
                  <a:cubicBezTo>
                    <a:pt x="4" y="1"/>
                    <a:pt x="9" y="0"/>
                    <a:pt x="12" y="2"/>
                  </a:cubicBezTo>
                  <a:cubicBezTo>
                    <a:pt x="15" y="4"/>
                    <a:pt x="16" y="8"/>
                    <a:pt x="1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0" name="Freeform 141">
              <a:extLst>
                <a:ext uri="{FF2B5EF4-FFF2-40B4-BE49-F238E27FC236}">
                  <a16:creationId xmlns:a16="http://schemas.microsoft.com/office/drawing/2014/main" id="{8E1D501B-3E8B-485B-B26C-ADA786F80AA9}"/>
                </a:ext>
              </a:extLst>
            </p:cNvPr>
            <p:cNvSpPr>
              <a:spLocks noEditPoints="1"/>
            </p:cNvSpPr>
            <p:nvPr/>
          </p:nvSpPr>
          <p:spPr bwMode="auto">
            <a:xfrm>
              <a:off x="2807" y="2185"/>
              <a:ext cx="28" cy="28"/>
            </a:xfrm>
            <a:custGeom>
              <a:avLst/>
              <a:gdLst>
                <a:gd name="T0" fmla="*/ 14 w 27"/>
                <a:gd name="T1" fmla="*/ 26 h 26"/>
                <a:gd name="T2" fmla="*/ 7 w 27"/>
                <a:gd name="T3" fmla="*/ 24 h 26"/>
                <a:gd name="T4" fmla="*/ 3 w 27"/>
                <a:gd name="T5" fmla="*/ 7 h 26"/>
                <a:gd name="T6" fmla="*/ 11 w 27"/>
                <a:gd name="T7" fmla="*/ 1 h 26"/>
                <a:gd name="T8" fmla="*/ 21 w 27"/>
                <a:gd name="T9" fmla="*/ 3 h 26"/>
                <a:gd name="T10" fmla="*/ 27 w 27"/>
                <a:gd name="T11" fmla="*/ 11 h 26"/>
                <a:gd name="T12" fmla="*/ 25 w 27"/>
                <a:gd name="T13" fmla="*/ 21 h 26"/>
                <a:gd name="T14" fmla="*/ 25 w 27"/>
                <a:gd name="T15" fmla="*/ 21 h 26"/>
                <a:gd name="T16" fmla="*/ 14 w 27"/>
                <a:gd name="T17" fmla="*/ 26 h 26"/>
                <a:gd name="T18" fmla="*/ 14 w 27"/>
                <a:gd name="T19" fmla="*/ 13 h 26"/>
                <a:gd name="T20" fmla="*/ 13 w 27"/>
                <a:gd name="T21" fmla="*/ 13 h 26"/>
                <a:gd name="T22" fmla="*/ 14 w 27"/>
                <a:gd name="T23" fmla="*/ 14 h 26"/>
                <a:gd name="T24" fmla="*/ 15 w 27"/>
                <a:gd name="T25" fmla="*/ 14 h 26"/>
                <a:gd name="T26" fmla="*/ 14 w 27"/>
                <a:gd name="T27" fmla="*/ 13 h 26"/>
                <a:gd name="T28" fmla="*/ 14 w 27"/>
                <a:gd name="T2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6">
                  <a:moveTo>
                    <a:pt x="14" y="26"/>
                  </a:moveTo>
                  <a:cubicBezTo>
                    <a:pt x="12" y="26"/>
                    <a:pt x="9" y="26"/>
                    <a:pt x="7" y="24"/>
                  </a:cubicBezTo>
                  <a:cubicBezTo>
                    <a:pt x="1" y="20"/>
                    <a:pt x="0" y="13"/>
                    <a:pt x="3" y="7"/>
                  </a:cubicBezTo>
                  <a:cubicBezTo>
                    <a:pt x="5" y="4"/>
                    <a:pt x="8" y="2"/>
                    <a:pt x="11" y="1"/>
                  </a:cubicBezTo>
                  <a:cubicBezTo>
                    <a:pt x="15" y="0"/>
                    <a:pt x="18" y="1"/>
                    <a:pt x="21" y="3"/>
                  </a:cubicBezTo>
                  <a:cubicBezTo>
                    <a:pt x="24" y="5"/>
                    <a:pt x="26" y="8"/>
                    <a:pt x="27" y="11"/>
                  </a:cubicBezTo>
                  <a:cubicBezTo>
                    <a:pt x="27" y="14"/>
                    <a:pt x="27" y="18"/>
                    <a:pt x="25" y="21"/>
                  </a:cubicBezTo>
                  <a:cubicBezTo>
                    <a:pt x="25" y="21"/>
                    <a:pt x="25" y="21"/>
                    <a:pt x="25" y="21"/>
                  </a:cubicBezTo>
                  <a:cubicBezTo>
                    <a:pt x="22" y="24"/>
                    <a:pt x="18" y="26"/>
                    <a:pt x="14" y="26"/>
                  </a:cubicBezTo>
                  <a:close/>
                  <a:moveTo>
                    <a:pt x="14" y="13"/>
                  </a:moveTo>
                  <a:cubicBezTo>
                    <a:pt x="14" y="13"/>
                    <a:pt x="14" y="13"/>
                    <a:pt x="13" y="13"/>
                  </a:cubicBezTo>
                  <a:cubicBezTo>
                    <a:pt x="13" y="14"/>
                    <a:pt x="13" y="14"/>
                    <a:pt x="14" y="14"/>
                  </a:cubicBezTo>
                  <a:cubicBezTo>
                    <a:pt x="14" y="15"/>
                    <a:pt x="14" y="14"/>
                    <a:pt x="15" y="14"/>
                  </a:cubicBezTo>
                  <a:cubicBezTo>
                    <a:pt x="15" y="14"/>
                    <a:pt x="15" y="13"/>
                    <a:pt x="14" y="13"/>
                  </a:cubicBezTo>
                  <a:cubicBezTo>
                    <a:pt x="14" y="13"/>
                    <a:pt x="14" y="13"/>
                    <a:pt x="14"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1" name="Freeform 142">
              <a:extLst>
                <a:ext uri="{FF2B5EF4-FFF2-40B4-BE49-F238E27FC236}">
                  <a16:creationId xmlns:a16="http://schemas.microsoft.com/office/drawing/2014/main" id="{EC625FF5-3395-43DD-A1A1-383A3566EB54}"/>
                </a:ext>
              </a:extLst>
            </p:cNvPr>
            <p:cNvSpPr>
              <a:spLocks/>
            </p:cNvSpPr>
            <p:nvPr/>
          </p:nvSpPr>
          <p:spPr bwMode="auto">
            <a:xfrm>
              <a:off x="2751" y="2192"/>
              <a:ext cx="16" cy="15"/>
            </a:xfrm>
            <a:custGeom>
              <a:avLst/>
              <a:gdLst>
                <a:gd name="T0" fmla="*/ 13 w 15"/>
                <a:gd name="T1" fmla="*/ 11 h 15"/>
                <a:gd name="T2" fmla="*/ 4 w 15"/>
                <a:gd name="T3" fmla="*/ 13 h 15"/>
                <a:gd name="T4" fmla="*/ 2 w 15"/>
                <a:gd name="T5" fmla="*/ 4 h 15"/>
                <a:gd name="T6" fmla="*/ 11 w 15"/>
                <a:gd name="T7" fmla="*/ 2 h 15"/>
                <a:gd name="T8" fmla="*/ 13 w 15"/>
                <a:gd name="T9" fmla="*/ 11 h 15"/>
              </a:gdLst>
              <a:ahLst/>
              <a:cxnLst>
                <a:cxn ang="0">
                  <a:pos x="T0" y="T1"/>
                </a:cxn>
                <a:cxn ang="0">
                  <a:pos x="T2" y="T3"/>
                </a:cxn>
                <a:cxn ang="0">
                  <a:pos x="T4" y="T5"/>
                </a:cxn>
                <a:cxn ang="0">
                  <a:pos x="T6" y="T7"/>
                </a:cxn>
                <a:cxn ang="0">
                  <a:pos x="T8" y="T9"/>
                </a:cxn>
              </a:cxnLst>
              <a:rect l="0" t="0" r="r" b="b"/>
              <a:pathLst>
                <a:path w="15" h="15">
                  <a:moveTo>
                    <a:pt x="13" y="11"/>
                  </a:moveTo>
                  <a:cubicBezTo>
                    <a:pt x="11" y="14"/>
                    <a:pt x="7" y="15"/>
                    <a:pt x="4" y="13"/>
                  </a:cubicBezTo>
                  <a:cubicBezTo>
                    <a:pt x="1" y="11"/>
                    <a:pt x="0" y="7"/>
                    <a:pt x="2" y="4"/>
                  </a:cubicBezTo>
                  <a:cubicBezTo>
                    <a:pt x="4" y="1"/>
                    <a:pt x="8" y="0"/>
                    <a:pt x="11" y="2"/>
                  </a:cubicBezTo>
                  <a:cubicBezTo>
                    <a:pt x="14" y="4"/>
                    <a:pt x="15" y="8"/>
                    <a:pt x="1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2" name="Freeform 143">
              <a:extLst>
                <a:ext uri="{FF2B5EF4-FFF2-40B4-BE49-F238E27FC236}">
                  <a16:creationId xmlns:a16="http://schemas.microsoft.com/office/drawing/2014/main" id="{DE92F429-794F-4E69-A798-962B5A2CFA8D}"/>
                </a:ext>
              </a:extLst>
            </p:cNvPr>
            <p:cNvSpPr>
              <a:spLocks noEditPoints="1"/>
            </p:cNvSpPr>
            <p:nvPr/>
          </p:nvSpPr>
          <p:spPr bwMode="auto">
            <a:xfrm>
              <a:off x="2744" y="2184"/>
              <a:ext cx="29" cy="29"/>
            </a:xfrm>
            <a:custGeom>
              <a:avLst/>
              <a:gdLst>
                <a:gd name="T0" fmla="*/ 14 w 28"/>
                <a:gd name="T1" fmla="*/ 27 h 27"/>
                <a:gd name="T2" fmla="*/ 7 w 28"/>
                <a:gd name="T3" fmla="*/ 25 h 27"/>
                <a:gd name="T4" fmla="*/ 4 w 28"/>
                <a:gd name="T5" fmla="*/ 8 h 27"/>
                <a:gd name="T6" fmla="*/ 21 w 28"/>
                <a:gd name="T7" fmla="*/ 4 h 27"/>
                <a:gd name="T8" fmla="*/ 27 w 28"/>
                <a:gd name="T9" fmla="*/ 12 h 27"/>
                <a:gd name="T10" fmla="*/ 25 w 28"/>
                <a:gd name="T11" fmla="*/ 22 h 27"/>
                <a:gd name="T12" fmla="*/ 17 w 28"/>
                <a:gd name="T13" fmla="*/ 27 h 27"/>
                <a:gd name="T14" fmla="*/ 14 w 28"/>
                <a:gd name="T15" fmla="*/ 27 h 27"/>
                <a:gd name="T16" fmla="*/ 14 w 28"/>
                <a:gd name="T17" fmla="*/ 14 h 27"/>
                <a:gd name="T18" fmla="*/ 14 w 28"/>
                <a:gd name="T19" fmla="*/ 14 h 27"/>
                <a:gd name="T20" fmla="*/ 14 w 28"/>
                <a:gd name="T21" fmla="*/ 15 h 27"/>
                <a:gd name="T22" fmla="*/ 15 w 28"/>
                <a:gd name="T23" fmla="*/ 15 h 27"/>
                <a:gd name="T24" fmla="*/ 15 w 28"/>
                <a:gd name="T25" fmla="*/ 14 h 27"/>
                <a:gd name="T26" fmla="*/ 14 w 28"/>
                <a:gd name="T27"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7">
                  <a:moveTo>
                    <a:pt x="14" y="27"/>
                  </a:moveTo>
                  <a:cubicBezTo>
                    <a:pt x="12" y="27"/>
                    <a:pt x="10" y="27"/>
                    <a:pt x="7" y="25"/>
                  </a:cubicBezTo>
                  <a:cubicBezTo>
                    <a:pt x="2" y="21"/>
                    <a:pt x="0" y="14"/>
                    <a:pt x="4" y="8"/>
                  </a:cubicBezTo>
                  <a:cubicBezTo>
                    <a:pt x="8" y="2"/>
                    <a:pt x="16" y="0"/>
                    <a:pt x="21" y="4"/>
                  </a:cubicBezTo>
                  <a:cubicBezTo>
                    <a:pt x="24" y="6"/>
                    <a:pt x="26" y="9"/>
                    <a:pt x="27" y="12"/>
                  </a:cubicBezTo>
                  <a:cubicBezTo>
                    <a:pt x="28" y="15"/>
                    <a:pt x="27" y="19"/>
                    <a:pt x="25" y="22"/>
                  </a:cubicBezTo>
                  <a:cubicBezTo>
                    <a:pt x="23" y="24"/>
                    <a:pt x="20" y="26"/>
                    <a:pt x="17" y="27"/>
                  </a:cubicBezTo>
                  <a:cubicBezTo>
                    <a:pt x="16" y="27"/>
                    <a:pt x="15" y="27"/>
                    <a:pt x="14" y="27"/>
                  </a:cubicBezTo>
                  <a:close/>
                  <a:moveTo>
                    <a:pt x="14" y="14"/>
                  </a:moveTo>
                  <a:cubicBezTo>
                    <a:pt x="14" y="14"/>
                    <a:pt x="14" y="14"/>
                    <a:pt x="14" y="14"/>
                  </a:cubicBezTo>
                  <a:cubicBezTo>
                    <a:pt x="14" y="15"/>
                    <a:pt x="14" y="15"/>
                    <a:pt x="14" y="15"/>
                  </a:cubicBezTo>
                  <a:cubicBezTo>
                    <a:pt x="14" y="15"/>
                    <a:pt x="15" y="15"/>
                    <a:pt x="15" y="15"/>
                  </a:cubicBezTo>
                  <a:cubicBezTo>
                    <a:pt x="15" y="15"/>
                    <a:pt x="15" y="14"/>
                    <a:pt x="15" y="14"/>
                  </a:cubicBezTo>
                  <a:cubicBezTo>
                    <a:pt x="15" y="14"/>
                    <a:pt x="15" y="14"/>
                    <a:pt x="14"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3" name="Freeform 144">
              <a:extLst>
                <a:ext uri="{FF2B5EF4-FFF2-40B4-BE49-F238E27FC236}">
                  <a16:creationId xmlns:a16="http://schemas.microsoft.com/office/drawing/2014/main" id="{90A1AAA2-3FD1-440D-A43F-5FF93C42BA4C}"/>
                </a:ext>
              </a:extLst>
            </p:cNvPr>
            <p:cNvSpPr>
              <a:spLocks/>
            </p:cNvSpPr>
            <p:nvPr/>
          </p:nvSpPr>
          <p:spPr bwMode="auto">
            <a:xfrm>
              <a:off x="2836" y="2218"/>
              <a:ext cx="16" cy="16"/>
            </a:xfrm>
            <a:custGeom>
              <a:avLst/>
              <a:gdLst>
                <a:gd name="T0" fmla="*/ 13 w 15"/>
                <a:gd name="T1" fmla="*/ 11 h 15"/>
                <a:gd name="T2" fmla="*/ 4 w 15"/>
                <a:gd name="T3" fmla="*/ 13 h 15"/>
                <a:gd name="T4" fmla="*/ 2 w 15"/>
                <a:gd name="T5" fmla="*/ 4 h 15"/>
                <a:gd name="T6" fmla="*/ 11 w 15"/>
                <a:gd name="T7" fmla="*/ 2 h 15"/>
                <a:gd name="T8" fmla="*/ 13 w 15"/>
                <a:gd name="T9" fmla="*/ 11 h 15"/>
              </a:gdLst>
              <a:ahLst/>
              <a:cxnLst>
                <a:cxn ang="0">
                  <a:pos x="T0" y="T1"/>
                </a:cxn>
                <a:cxn ang="0">
                  <a:pos x="T2" y="T3"/>
                </a:cxn>
                <a:cxn ang="0">
                  <a:pos x="T4" y="T5"/>
                </a:cxn>
                <a:cxn ang="0">
                  <a:pos x="T6" y="T7"/>
                </a:cxn>
                <a:cxn ang="0">
                  <a:pos x="T8" y="T9"/>
                </a:cxn>
              </a:cxnLst>
              <a:rect l="0" t="0" r="r" b="b"/>
              <a:pathLst>
                <a:path w="15" h="15">
                  <a:moveTo>
                    <a:pt x="13" y="11"/>
                  </a:moveTo>
                  <a:cubicBezTo>
                    <a:pt x="11" y="14"/>
                    <a:pt x="7" y="15"/>
                    <a:pt x="4" y="13"/>
                  </a:cubicBezTo>
                  <a:cubicBezTo>
                    <a:pt x="0" y="11"/>
                    <a:pt x="0" y="7"/>
                    <a:pt x="2" y="4"/>
                  </a:cubicBezTo>
                  <a:cubicBezTo>
                    <a:pt x="4" y="1"/>
                    <a:pt x="8" y="0"/>
                    <a:pt x="11" y="2"/>
                  </a:cubicBezTo>
                  <a:cubicBezTo>
                    <a:pt x="14" y="4"/>
                    <a:pt x="15" y="8"/>
                    <a:pt x="1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4" name="Freeform 145">
              <a:extLst>
                <a:ext uri="{FF2B5EF4-FFF2-40B4-BE49-F238E27FC236}">
                  <a16:creationId xmlns:a16="http://schemas.microsoft.com/office/drawing/2014/main" id="{1C01062E-1A80-418B-9ABC-0313C991420B}"/>
                </a:ext>
              </a:extLst>
            </p:cNvPr>
            <p:cNvSpPr>
              <a:spLocks noEditPoints="1"/>
            </p:cNvSpPr>
            <p:nvPr/>
          </p:nvSpPr>
          <p:spPr bwMode="auto">
            <a:xfrm>
              <a:off x="2829" y="2211"/>
              <a:ext cx="30" cy="28"/>
            </a:xfrm>
            <a:custGeom>
              <a:avLst/>
              <a:gdLst>
                <a:gd name="T0" fmla="*/ 14 w 29"/>
                <a:gd name="T1" fmla="*/ 27 h 27"/>
                <a:gd name="T2" fmla="*/ 7 w 29"/>
                <a:gd name="T3" fmla="*/ 25 h 27"/>
                <a:gd name="T4" fmla="*/ 4 w 29"/>
                <a:gd name="T5" fmla="*/ 7 h 27"/>
                <a:gd name="T6" fmla="*/ 21 w 29"/>
                <a:gd name="T7" fmla="*/ 4 h 27"/>
                <a:gd name="T8" fmla="*/ 25 w 29"/>
                <a:gd name="T9" fmla="*/ 21 h 27"/>
                <a:gd name="T10" fmla="*/ 25 w 29"/>
                <a:gd name="T11" fmla="*/ 21 h 27"/>
                <a:gd name="T12" fmla="*/ 14 w 29"/>
                <a:gd name="T13" fmla="*/ 27 h 27"/>
                <a:gd name="T14" fmla="*/ 14 w 29"/>
                <a:gd name="T15" fmla="*/ 14 h 27"/>
                <a:gd name="T16" fmla="*/ 14 w 29"/>
                <a:gd name="T17" fmla="*/ 14 h 27"/>
                <a:gd name="T18" fmla="*/ 14 w 29"/>
                <a:gd name="T19" fmla="*/ 15 h 27"/>
                <a:gd name="T20" fmla="*/ 15 w 29"/>
                <a:gd name="T21" fmla="*/ 15 h 27"/>
                <a:gd name="T22" fmla="*/ 15 w 29"/>
                <a:gd name="T23" fmla="*/ 14 h 27"/>
                <a:gd name="T24" fmla="*/ 14 w 29"/>
                <a:gd name="T25"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27">
                  <a:moveTo>
                    <a:pt x="14" y="27"/>
                  </a:moveTo>
                  <a:cubicBezTo>
                    <a:pt x="12" y="27"/>
                    <a:pt x="9" y="26"/>
                    <a:pt x="7" y="25"/>
                  </a:cubicBezTo>
                  <a:cubicBezTo>
                    <a:pt x="1" y="21"/>
                    <a:pt x="0" y="13"/>
                    <a:pt x="4" y="7"/>
                  </a:cubicBezTo>
                  <a:cubicBezTo>
                    <a:pt x="7" y="2"/>
                    <a:pt x="15" y="0"/>
                    <a:pt x="21" y="4"/>
                  </a:cubicBezTo>
                  <a:cubicBezTo>
                    <a:pt x="27" y="8"/>
                    <a:pt x="29" y="15"/>
                    <a:pt x="25" y="21"/>
                  </a:cubicBezTo>
                  <a:cubicBezTo>
                    <a:pt x="25" y="21"/>
                    <a:pt x="25" y="21"/>
                    <a:pt x="25" y="21"/>
                  </a:cubicBezTo>
                  <a:cubicBezTo>
                    <a:pt x="23" y="25"/>
                    <a:pt x="18" y="27"/>
                    <a:pt x="14" y="27"/>
                  </a:cubicBezTo>
                  <a:close/>
                  <a:moveTo>
                    <a:pt x="14" y="14"/>
                  </a:moveTo>
                  <a:cubicBezTo>
                    <a:pt x="14" y="14"/>
                    <a:pt x="14" y="14"/>
                    <a:pt x="14" y="14"/>
                  </a:cubicBezTo>
                  <a:cubicBezTo>
                    <a:pt x="13" y="14"/>
                    <a:pt x="13" y="15"/>
                    <a:pt x="14" y="15"/>
                  </a:cubicBezTo>
                  <a:cubicBezTo>
                    <a:pt x="14" y="15"/>
                    <a:pt x="15" y="15"/>
                    <a:pt x="15" y="15"/>
                  </a:cubicBezTo>
                  <a:cubicBezTo>
                    <a:pt x="15" y="14"/>
                    <a:pt x="15" y="14"/>
                    <a:pt x="15" y="14"/>
                  </a:cubicBezTo>
                  <a:cubicBezTo>
                    <a:pt x="15" y="14"/>
                    <a:pt x="14" y="14"/>
                    <a:pt x="14"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5" name="Freeform 146">
              <a:extLst>
                <a:ext uri="{FF2B5EF4-FFF2-40B4-BE49-F238E27FC236}">
                  <a16:creationId xmlns:a16="http://schemas.microsoft.com/office/drawing/2014/main" id="{A0E270E3-6583-4DE8-9AEE-05A0D0D868D3}"/>
                </a:ext>
              </a:extLst>
            </p:cNvPr>
            <p:cNvSpPr>
              <a:spLocks/>
            </p:cNvSpPr>
            <p:nvPr/>
          </p:nvSpPr>
          <p:spPr bwMode="auto">
            <a:xfrm>
              <a:off x="2730" y="2218"/>
              <a:ext cx="17" cy="16"/>
            </a:xfrm>
            <a:custGeom>
              <a:avLst/>
              <a:gdLst>
                <a:gd name="T0" fmla="*/ 14 w 16"/>
                <a:gd name="T1" fmla="*/ 11 h 15"/>
                <a:gd name="T2" fmla="*/ 4 w 16"/>
                <a:gd name="T3" fmla="*/ 13 h 15"/>
                <a:gd name="T4" fmla="*/ 2 w 16"/>
                <a:gd name="T5" fmla="*/ 4 h 15"/>
                <a:gd name="T6" fmla="*/ 12 w 16"/>
                <a:gd name="T7" fmla="*/ 2 h 15"/>
                <a:gd name="T8" fmla="*/ 14 w 16"/>
                <a:gd name="T9" fmla="*/ 11 h 15"/>
              </a:gdLst>
              <a:ahLst/>
              <a:cxnLst>
                <a:cxn ang="0">
                  <a:pos x="T0" y="T1"/>
                </a:cxn>
                <a:cxn ang="0">
                  <a:pos x="T2" y="T3"/>
                </a:cxn>
                <a:cxn ang="0">
                  <a:pos x="T4" y="T5"/>
                </a:cxn>
                <a:cxn ang="0">
                  <a:pos x="T6" y="T7"/>
                </a:cxn>
                <a:cxn ang="0">
                  <a:pos x="T8" y="T9"/>
                </a:cxn>
              </a:cxnLst>
              <a:rect l="0" t="0" r="r" b="b"/>
              <a:pathLst>
                <a:path w="16" h="15">
                  <a:moveTo>
                    <a:pt x="14" y="11"/>
                  </a:moveTo>
                  <a:cubicBezTo>
                    <a:pt x="12" y="14"/>
                    <a:pt x="7" y="15"/>
                    <a:pt x="4" y="13"/>
                  </a:cubicBezTo>
                  <a:cubicBezTo>
                    <a:pt x="1" y="11"/>
                    <a:pt x="0" y="7"/>
                    <a:pt x="2" y="4"/>
                  </a:cubicBezTo>
                  <a:cubicBezTo>
                    <a:pt x="4" y="1"/>
                    <a:pt x="9" y="0"/>
                    <a:pt x="12" y="2"/>
                  </a:cubicBezTo>
                  <a:cubicBezTo>
                    <a:pt x="15" y="4"/>
                    <a:pt x="16" y="8"/>
                    <a:pt x="1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147">
              <a:extLst>
                <a:ext uri="{FF2B5EF4-FFF2-40B4-BE49-F238E27FC236}">
                  <a16:creationId xmlns:a16="http://schemas.microsoft.com/office/drawing/2014/main" id="{F3EA0D5C-E48E-43CA-9232-2DBD38655569}"/>
                </a:ext>
              </a:extLst>
            </p:cNvPr>
            <p:cNvSpPr>
              <a:spLocks noEditPoints="1"/>
            </p:cNvSpPr>
            <p:nvPr/>
          </p:nvSpPr>
          <p:spPr bwMode="auto">
            <a:xfrm>
              <a:off x="2723" y="2211"/>
              <a:ext cx="32" cy="28"/>
            </a:xfrm>
            <a:custGeom>
              <a:avLst/>
              <a:gdLst>
                <a:gd name="T0" fmla="*/ 15 w 30"/>
                <a:gd name="T1" fmla="*/ 27 h 27"/>
                <a:gd name="T2" fmla="*/ 8 w 30"/>
                <a:gd name="T3" fmla="*/ 25 h 27"/>
                <a:gd name="T4" fmla="*/ 4 w 30"/>
                <a:gd name="T5" fmla="*/ 7 h 27"/>
                <a:gd name="T6" fmla="*/ 22 w 30"/>
                <a:gd name="T7" fmla="*/ 4 h 27"/>
                <a:gd name="T8" fmla="*/ 26 w 30"/>
                <a:gd name="T9" fmla="*/ 21 h 27"/>
                <a:gd name="T10" fmla="*/ 26 w 30"/>
                <a:gd name="T11" fmla="*/ 21 h 27"/>
                <a:gd name="T12" fmla="*/ 15 w 30"/>
                <a:gd name="T13" fmla="*/ 27 h 27"/>
                <a:gd name="T14" fmla="*/ 15 w 30"/>
                <a:gd name="T15" fmla="*/ 14 h 27"/>
                <a:gd name="T16" fmla="*/ 14 w 30"/>
                <a:gd name="T17" fmla="*/ 14 h 27"/>
                <a:gd name="T18" fmla="*/ 15 w 30"/>
                <a:gd name="T19" fmla="*/ 15 h 27"/>
                <a:gd name="T20" fmla="*/ 16 w 30"/>
                <a:gd name="T21" fmla="*/ 15 h 27"/>
                <a:gd name="T22" fmla="*/ 15 w 30"/>
                <a:gd name="T23" fmla="*/ 14 h 27"/>
                <a:gd name="T24" fmla="*/ 15 w 30"/>
                <a:gd name="T25"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27">
                  <a:moveTo>
                    <a:pt x="15" y="27"/>
                  </a:moveTo>
                  <a:cubicBezTo>
                    <a:pt x="13" y="27"/>
                    <a:pt x="10" y="26"/>
                    <a:pt x="8" y="25"/>
                  </a:cubicBezTo>
                  <a:cubicBezTo>
                    <a:pt x="2" y="21"/>
                    <a:pt x="0" y="13"/>
                    <a:pt x="4" y="7"/>
                  </a:cubicBezTo>
                  <a:cubicBezTo>
                    <a:pt x="8" y="2"/>
                    <a:pt x="16" y="0"/>
                    <a:pt x="22" y="4"/>
                  </a:cubicBezTo>
                  <a:cubicBezTo>
                    <a:pt x="28" y="8"/>
                    <a:pt x="30" y="15"/>
                    <a:pt x="26" y="21"/>
                  </a:cubicBezTo>
                  <a:cubicBezTo>
                    <a:pt x="26" y="21"/>
                    <a:pt x="26" y="21"/>
                    <a:pt x="26" y="21"/>
                  </a:cubicBezTo>
                  <a:cubicBezTo>
                    <a:pt x="23" y="25"/>
                    <a:pt x="19" y="27"/>
                    <a:pt x="15" y="27"/>
                  </a:cubicBezTo>
                  <a:close/>
                  <a:moveTo>
                    <a:pt x="15" y="14"/>
                  </a:moveTo>
                  <a:cubicBezTo>
                    <a:pt x="15" y="14"/>
                    <a:pt x="15" y="14"/>
                    <a:pt x="14" y="14"/>
                  </a:cubicBezTo>
                  <a:cubicBezTo>
                    <a:pt x="14" y="14"/>
                    <a:pt x="14" y="15"/>
                    <a:pt x="15" y="15"/>
                  </a:cubicBezTo>
                  <a:cubicBezTo>
                    <a:pt x="15" y="15"/>
                    <a:pt x="15" y="15"/>
                    <a:pt x="16" y="15"/>
                  </a:cubicBezTo>
                  <a:cubicBezTo>
                    <a:pt x="16" y="14"/>
                    <a:pt x="16" y="14"/>
                    <a:pt x="15" y="14"/>
                  </a:cubicBezTo>
                  <a:cubicBezTo>
                    <a:pt x="15" y="14"/>
                    <a:pt x="15" y="14"/>
                    <a:pt x="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7" name="Freeform 148">
              <a:extLst>
                <a:ext uri="{FF2B5EF4-FFF2-40B4-BE49-F238E27FC236}">
                  <a16:creationId xmlns:a16="http://schemas.microsoft.com/office/drawing/2014/main" id="{2D7A8A0D-BEE0-49A4-A8A5-2434C0643722}"/>
                </a:ext>
              </a:extLst>
            </p:cNvPr>
            <p:cNvSpPr>
              <a:spLocks/>
            </p:cNvSpPr>
            <p:nvPr/>
          </p:nvSpPr>
          <p:spPr bwMode="auto">
            <a:xfrm>
              <a:off x="2840" y="2249"/>
              <a:ext cx="17" cy="16"/>
            </a:xfrm>
            <a:custGeom>
              <a:avLst/>
              <a:gdLst>
                <a:gd name="T0" fmla="*/ 14 w 16"/>
                <a:gd name="T1" fmla="*/ 11 h 15"/>
                <a:gd name="T2" fmla="*/ 4 w 16"/>
                <a:gd name="T3" fmla="*/ 13 h 15"/>
                <a:gd name="T4" fmla="*/ 2 w 16"/>
                <a:gd name="T5" fmla="*/ 4 h 15"/>
                <a:gd name="T6" fmla="*/ 12 w 16"/>
                <a:gd name="T7" fmla="*/ 2 h 15"/>
                <a:gd name="T8" fmla="*/ 14 w 16"/>
                <a:gd name="T9" fmla="*/ 11 h 15"/>
              </a:gdLst>
              <a:ahLst/>
              <a:cxnLst>
                <a:cxn ang="0">
                  <a:pos x="T0" y="T1"/>
                </a:cxn>
                <a:cxn ang="0">
                  <a:pos x="T2" y="T3"/>
                </a:cxn>
                <a:cxn ang="0">
                  <a:pos x="T4" y="T5"/>
                </a:cxn>
                <a:cxn ang="0">
                  <a:pos x="T6" y="T7"/>
                </a:cxn>
                <a:cxn ang="0">
                  <a:pos x="T8" y="T9"/>
                </a:cxn>
              </a:cxnLst>
              <a:rect l="0" t="0" r="r" b="b"/>
              <a:pathLst>
                <a:path w="16" h="15">
                  <a:moveTo>
                    <a:pt x="14" y="11"/>
                  </a:moveTo>
                  <a:cubicBezTo>
                    <a:pt x="11" y="15"/>
                    <a:pt x="7" y="15"/>
                    <a:pt x="4" y="13"/>
                  </a:cubicBezTo>
                  <a:cubicBezTo>
                    <a:pt x="1" y="11"/>
                    <a:pt x="0" y="7"/>
                    <a:pt x="2" y="4"/>
                  </a:cubicBezTo>
                  <a:cubicBezTo>
                    <a:pt x="4" y="1"/>
                    <a:pt x="8" y="0"/>
                    <a:pt x="12" y="2"/>
                  </a:cubicBezTo>
                  <a:cubicBezTo>
                    <a:pt x="15" y="4"/>
                    <a:pt x="16" y="8"/>
                    <a:pt x="1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Freeform 149">
              <a:extLst>
                <a:ext uri="{FF2B5EF4-FFF2-40B4-BE49-F238E27FC236}">
                  <a16:creationId xmlns:a16="http://schemas.microsoft.com/office/drawing/2014/main" id="{3B46CCF1-E263-401B-8870-5B3C6BC522D7}"/>
                </a:ext>
              </a:extLst>
            </p:cNvPr>
            <p:cNvSpPr>
              <a:spLocks noEditPoints="1"/>
            </p:cNvSpPr>
            <p:nvPr/>
          </p:nvSpPr>
          <p:spPr bwMode="auto">
            <a:xfrm>
              <a:off x="2833" y="2244"/>
              <a:ext cx="29" cy="27"/>
            </a:xfrm>
            <a:custGeom>
              <a:avLst/>
              <a:gdLst>
                <a:gd name="T0" fmla="*/ 15 w 28"/>
                <a:gd name="T1" fmla="*/ 26 h 26"/>
                <a:gd name="T2" fmla="*/ 8 w 28"/>
                <a:gd name="T3" fmla="*/ 23 h 26"/>
                <a:gd name="T4" fmla="*/ 4 w 28"/>
                <a:gd name="T5" fmla="*/ 6 h 26"/>
                <a:gd name="T6" fmla="*/ 12 w 28"/>
                <a:gd name="T7" fmla="*/ 0 h 26"/>
                <a:gd name="T8" fmla="*/ 22 w 28"/>
                <a:gd name="T9" fmla="*/ 2 h 26"/>
                <a:gd name="T10" fmla="*/ 27 w 28"/>
                <a:gd name="T11" fmla="*/ 10 h 26"/>
                <a:gd name="T12" fmla="*/ 26 w 28"/>
                <a:gd name="T13" fmla="*/ 20 h 26"/>
                <a:gd name="T14" fmla="*/ 26 w 28"/>
                <a:gd name="T15" fmla="*/ 20 h 26"/>
                <a:gd name="T16" fmla="*/ 15 w 28"/>
                <a:gd name="T17" fmla="*/ 26 h 26"/>
                <a:gd name="T18" fmla="*/ 15 w 28"/>
                <a:gd name="T19" fmla="*/ 12 h 26"/>
                <a:gd name="T20" fmla="*/ 14 w 28"/>
                <a:gd name="T21" fmla="*/ 12 h 26"/>
                <a:gd name="T22" fmla="*/ 14 w 28"/>
                <a:gd name="T23" fmla="*/ 13 h 26"/>
                <a:gd name="T24" fmla="*/ 15 w 28"/>
                <a:gd name="T25" fmla="*/ 13 h 26"/>
                <a:gd name="T26" fmla="*/ 15 w 28"/>
                <a:gd name="T27" fmla="*/ 13 h 26"/>
                <a:gd name="T28" fmla="*/ 16 w 28"/>
                <a:gd name="T29" fmla="*/ 13 h 26"/>
                <a:gd name="T30" fmla="*/ 15 w 28"/>
                <a:gd name="T31" fmla="*/ 12 h 26"/>
                <a:gd name="T32" fmla="*/ 15 w 28"/>
                <a:gd name="T3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6">
                  <a:moveTo>
                    <a:pt x="15" y="26"/>
                  </a:moveTo>
                  <a:cubicBezTo>
                    <a:pt x="12" y="26"/>
                    <a:pt x="10" y="25"/>
                    <a:pt x="8" y="23"/>
                  </a:cubicBezTo>
                  <a:cubicBezTo>
                    <a:pt x="2" y="20"/>
                    <a:pt x="0" y="12"/>
                    <a:pt x="4" y="6"/>
                  </a:cubicBezTo>
                  <a:cubicBezTo>
                    <a:pt x="6" y="3"/>
                    <a:pt x="9" y="1"/>
                    <a:pt x="12" y="0"/>
                  </a:cubicBezTo>
                  <a:cubicBezTo>
                    <a:pt x="16" y="0"/>
                    <a:pt x="19" y="0"/>
                    <a:pt x="22" y="2"/>
                  </a:cubicBezTo>
                  <a:cubicBezTo>
                    <a:pt x="25" y="4"/>
                    <a:pt x="27" y="7"/>
                    <a:pt x="27" y="10"/>
                  </a:cubicBezTo>
                  <a:cubicBezTo>
                    <a:pt x="28" y="13"/>
                    <a:pt x="27" y="17"/>
                    <a:pt x="26" y="20"/>
                  </a:cubicBezTo>
                  <a:cubicBezTo>
                    <a:pt x="26" y="20"/>
                    <a:pt x="26" y="20"/>
                    <a:pt x="26" y="20"/>
                  </a:cubicBezTo>
                  <a:cubicBezTo>
                    <a:pt x="23" y="24"/>
                    <a:pt x="19" y="26"/>
                    <a:pt x="15" y="26"/>
                  </a:cubicBezTo>
                  <a:close/>
                  <a:moveTo>
                    <a:pt x="15" y="12"/>
                  </a:moveTo>
                  <a:cubicBezTo>
                    <a:pt x="15" y="12"/>
                    <a:pt x="14" y="12"/>
                    <a:pt x="14" y="12"/>
                  </a:cubicBezTo>
                  <a:cubicBezTo>
                    <a:pt x="14" y="13"/>
                    <a:pt x="14" y="13"/>
                    <a:pt x="14" y="13"/>
                  </a:cubicBezTo>
                  <a:cubicBezTo>
                    <a:pt x="15" y="14"/>
                    <a:pt x="15" y="14"/>
                    <a:pt x="15" y="13"/>
                  </a:cubicBezTo>
                  <a:cubicBezTo>
                    <a:pt x="15" y="13"/>
                    <a:pt x="15" y="13"/>
                    <a:pt x="15" y="13"/>
                  </a:cubicBezTo>
                  <a:cubicBezTo>
                    <a:pt x="16" y="13"/>
                    <a:pt x="16" y="13"/>
                    <a:pt x="16" y="13"/>
                  </a:cubicBezTo>
                  <a:cubicBezTo>
                    <a:pt x="16" y="12"/>
                    <a:pt x="15" y="12"/>
                    <a:pt x="15" y="12"/>
                  </a:cubicBezTo>
                  <a:cubicBezTo>
                    <a:pt x="15" y="12"/>
                    <a:pt x="15" y="12"/>
                    <a:pt x="1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9" name="Freeform 150">
              <a:extLst>
                <a:ext uri="{FF2B5EF4-FFF2-40B4-BE49-F238E27FC236}">
                  <a16:creationId xmlns:a16="http://schemas.microsoft.com/office/drawing/2014/main" id="{117A6896-E7B4-4D88-A993-B2D9BBE53424}"/>
                </a:ext>
              </a:extLst>
            </p:cNvPr>
            <p:cNvSpPr>
              <a:spLocks/>
            </p:cNvSpPr>
            <p:nvPr/>
          </p:nvSpPr>
          <p:spPr bwMode="auto">
            <a:xfrm>
              <a:off x="2724" y="2249"/>
              <a:ext cx="17" cy="16"/>
            </a:xfrm>
            <a:custGeom>
              <a:avLst/>
              <a:gdLst>
                <a:gd name="T0" fmla="*/ 13 w 16"/>
                <a:gd name="T1" fmla="*/ 11 h 15"/>
                <a:gd name="T2" fmla="*/ 4 w 16"/>
                <a:gd name="T3" fmla="*/ 13 h 15"/>
                <a:gd name="T4" fmla="*/ 2 w 16"/>
                <a:gd name="T5" fmla="*/ 4 h 15"/>
                <a:gd name="T6" fmla="*/ 11 w 16"/>
                <a:gd name="T7" fmla="*/ 2 h 15"/>
                <a:gd name="T8" fmla="*/ 13 w 16"/>
                <a:gd name="T9" fmla="*/ 11 h 15"/>
              </a:gdLst>
              <a:ahLst/>
              <a:cxnLst>
                <a:cxn ang="0">
                  <a:pos x="T0" y="T1"/>
                </a:cxn>
                <a:cxn ang="0">
                  <a:pos x="T2" y="T3"/>
                </a:cxn>
                <a:cxn ang="0">
                  <a:pos x="T4" y="T5"/>
                </a:cxn>
                <a:cxn ang="0">
                  <a:pos x="T6" y="T7"/>
                </a:cxn>
                <a:cxn ang="0">
                  <a:pos x="T8" y="T9"/>
                </a:cxn>
              </a:cxnLst>
              <a:rect l="0" t="0" r="r" b="b"/>
              <a:pathLst>
                <a:path w="16" h="15">
                  <a:moveTo>
                    <a:pt x="13" y="11"/>
                  </a:moveTo>
                  <a:cubicBezTo>
                    <a:pt x="11" y="15"/>
                    <a:pt x="7" y="15"/>
                    <a:pt x="4" y="13"/>
                  </a:cubicBezTo>
                  <a:cubicBezTo>
                    <a:pt x="1" y="11"/>
                    <a:pt x="0" y="7"/>
                    <a:pt x="2" y="4"/>
                  </a:cubicBezTo>
                  <a:cubicBezTo>
                    <a:pt x="4" y="1"/>
                    <a:pt x="8" y="0"/>
                    <a:pt x="11" y="2"/>
                  </a:cubicBezTo>
                  <a:cubicBezTo>
                    <a:pt x="15" y="4"/>
                    <a:pt x="16" y="8"/>
                    <a:pt x="1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0" name="Freeform 151">
              <a:extLst>
                <a:ext uri="{FF2B5EF4-FFF2-40B4-BE49-F238E27FC236}">
                  <a16:creationId xmlns:a16="http://schemas.microsoft.com/office/drawing/2014/main" id="{61C849DE-59C1-4265-8FB8-4399FD416F67}"/>
                </a:ext>
              </a:extLst>
            </p:cNvPr>
            <p:cNvSpPr>
              <a:spLocks noEditPoints="1"/>
            </p:cNvSpPr>
            <p:nvPr/>
          </p:nvSpPr>
          <p:spPr bwMode="auto">
            <a:xfrm>
              <a:off x="2717" y="2244"/>
              <a:ext cx="29" cy="27"/>
            </a:xfrm>
            <a:custGeom>
              <a:avLst/>
              <a:gdLst>
                <a:gd name="T0" fmla="*/ 15 w 28"/>
                <a:gd name="T1" fmla="*/ 26 h 26"/>
                <a:gd name="T2" fmla="*/ 8 w 28"/>
                <a:gd name="T3" fmla="*/ 23 h 26"/>
                <a:gd name="T4" fmla="*/ 4 w 28"/>
                <a:gd name="T5" fmla="*/ 6 h 26"/>
                <a:gd name="T6" fmla="*/ 12 w 28"/>
                <a:gd name="T7" fmla="*/ 0 h 26"/>
                <a:gd name="T8" fmla="*/ 22 w 28"/>
                <a:gd name="T9" fmla="*/ 2 h 26"/>
                <a:gd name="T10" fmla="*/ 27 w 28"/>
                <a:gd name="T11" fmla="*/ 10 h 26"/>
                <a:gd name="T12" fmla="*/ 25 w 28"/>
                <a:gd name="T13" fmla="*/ 20 h 26"/>
                <a:gd name="T14" fmla="*/ 15 w 28"/>
                <a:gd name="T15" fmla="*/ 26 h 26"/>
                <a:gd name="T16" fmla="*/ 15 w 28"/>
                <a:gd name="T17" fmla="*/ 12 h 26"/>
                <a:gd name="T18" fmla="*/ 14 w 28"/>
                <a:gd name="T19" fmla="*/ 12 h 26"/>
                <a:gd name="T20" fmla="*/ 14 w 28"/>
                <a:gd name="T21" fmla="*/ 13 h 26"/>
                <a:gd name="T22" fmla="*/ 15 w 28"/>
                <a:gd name="T23" fmla="*/ 13 h 26"/>
                <a:gd name="T24" fmla="*/ 15 w 28"/>
                <a:gd name="T25" fmla="*/ 13 h 26"/>
                <a:gd name="T26" fmla="*/ 15 w 28"/>
                <a:gd name="T27" fmla="*/ 12 h 26"/>
                <a:gd name="T28" fmla="*/ 15 w 28"/>
                <a:gd name="T29"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6">
                  <a:moveTo>
                    <a:pt x="15" y="26"/>
                  </a:moveTo>
                  <a:cubicBezTo>
                    <a:pt x="12" y="26"/>
                    <a:pt x="10" y="25"/>
                    <a:pt x="8" y="23"/>
                  </a:cubicBezTo>
                  <a:cubicBezTo>
                    <a:pt x="2" y="20"/>
                    <a:pt x="0" y="12"/>
                    <a:pt x="4" y="6"/>
                  </a:cubicBezTo>
                  <a:cubicBezTo>
                    <a:pt x="6" y="3"/>
                    <a:pt x="9" y="1"/>
                    <a:pt x="12" y="0"/>
                  </a:cubicBezTo>
                  <a:cubicBezTo>
                    <a:pt x="16" y="0"/>
                    <a:pt x="19" y="0"/>
                    <a:pt x="22" y="2"/>
                  </a:cubicBezTo>
                  <a:cubicBezTo>
                    <a:pt x="25" y="4"/>
                    <a:pt x="27" y="7"/>
                    <a:pt x="27" y="10"/>
                  </a:cubicBezTo>
                  <a:cubicBezTo>
                    <a:pt x="28" y="13"/>
                    <a:pt x="27" y="17"/>
                    <a:pt x="25" y="20"/>
                  </a:cubicBezTo>
                  <a:cubicBezTo>
                    <a:pt x="23" y="24"/>
                    <a:pt x="19" y="26"/>
                    <a:pt x="15" y="26"/>
                  </a:cubicBezTo>
                  <a:close/>
                  <a:moveTo>
                    <a:pt x="15" y="12"/>
                  </a:moveTo>
                  <a:cubicBezTo>
                    <a:pt x="15" y="12"/>
                    <a:pt x="14" y="12"/>
                    <a:pt x="14" y="12"/>
                  </a:cubicBezTo>
                  <a:cubicBezTo>
                    <a:pt x="14" y="13"/>
                    <a:pt x="14" y="13"/>
                    <a:pt x="14" y="13"/>
                  </a:cubicBezTo>
                  <a:cubicBezTo>
                    <a:pt x="15" y="14"/>
                    <a:pt x="15" y="14"/>
                    <a:pt x="15" y="13"/>
                  </a:cubicBezTo>
                  <a:cubicBezTo>
                    <a:pt x="15" y="13"/>
                    <a:pt x="15" y="13"/>
                    <a:pt x="15" y="13"/>
                  </a:cubicBezTo>
                  <a:cubicBezTo>
                    <a:pt x="16" y="13"/>
                    <a:pt x="16" y="12"/>
                    <a:pt x="15" y="12"/>
                  </a:cubicBezTo>
                  <a:cubicBezTo>
                    <a:pt x="15" y="12"/>
                    <a:pt x="15" y="12"/>
                    <a:pt x="1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 name="Freeform 152">
              <a:extLst>
                <a:ext uri="{FF2B5EF4-FFF2-40B4-BE49-F238E27FC236}">
                  <a16:creationId xmlns:a16="http://schemas.microsoft.com/office/drawing/2014/main" id="{60B5E591-4D07-4CDD-83DD-D8040FBA267C}"/>
                </a:ext>
              </a:extLst>
            </p:cNvPr>
            <p:cNvSpPr>
              <a:spLocks/>
            </p:cNvSpPr>
            <p:nvPr/>
          </p:nvSpPr>
          <p:spPr bwMode="auto">
            <a:xfrm>
              <a:off x="2826" y="2278"/>
              <a:ext cx="15" cy="16"/>
            </a:xfrm>
            <a:custGeom>
              <a:avLst/>
              <a:gdLst>
                <a:gd name="T0" fmla="*/ 13 w 15"/>
                <a:gd name="T1" fmla="*/ 12 h 16"/>
                <a:gd name="T2" fmla="*/ 4 w 15"/>
                <a:gd name="T3" fmla="*/ 14 h 16"/>
                <a:gd name="T4" fmla="*/ 2 w 15"/>
                <a:gd name="T5" fmla="*/ 4 h 16"/>
                <a:gd name="T6" fmla="*/ 11 w 15"/>
                <a:gd name="T7" fmla="*/ 2 h 16"/>
                <a:gd name="T8" fmla="*/ 13 w 15"/>
                <a:gd name="T9" fmla="*/ 12 h 16"/>
              </a:gdLst>
              <a:ahLst/>
              <a:cxnLst>
                <a:cxn ang="0">
                  <a:pos x="T0" y="T1"/>
                </a:cxn>
                <a:cxn ang="0">
                  <a:pos x="T2" y="T3"/>
                </a:cxn>
                <a:cxn ang="0">
                  <a:pos x="T4" y="T5"/>
                </a:cxn>
                <a:cxn ang="0">
                  <a:pos x="T6" y="T7"/>
                </a:cxn>
                <a:cxn ang="0">
                  <a:pos x="T8" y="T9"/>
                </a:cxn>
              </a:cxnLst>
              <a:rect l="0" t="0" r="r" b="b"/>
              <a:pathLst>
                <a:path w="15" h="16">
                  <a:moveTo>
                    <a:pt x="13" y="12"/>
                  </a:moveTo>
                  <a:cubicBezTo>
                    <a:pt x="11" y="15"/>
                    <a:pt x="7" y="16"/>
                    <a:pt x="4" y="14"/>
                  </a:cubicBezTo>
                  <a:cubicBezTo>
                    <a:pt x="1" y="12"/>
                    <a:pt x="0" y="7"/>
                    <a:pt x="2" y="4"/>
                  </a:cubicBezTo>
                  <a:cubicBezTo>
                    <a:pt x="4" y="1"/>
                    <a:pt x="8" y="0"/>
                    <a:pt x="11" y="2"/>
                  </a:cubicBezTo>
                  <a:cubicBezTo>
                    <a:pt x="15" y="4"/>
                    <a:pt x="15" y="9"/>
                    <a:pt x="1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 name="Freeform 153">
              <a:extLst>
                <a:ext uri="{FF2B5EF4-FFF2-40B4-BE49-F238E27FC236}">
                  <a16:creationId xmlns:a16="http://schemas.microsoft.com/office/drawing/2014/main" id="{7039756D-276B-4DDD-999D-291759D5D2FE}"/>
                </a:ext>
              </a:extLst>
            </p:cNvPr>
            <p:cNvSpPr>
              <a:spLocks noEditPoints="1"/>
            </p:cNvSpPr>
            <p:nvPr/>
          </p:nvSpPr>
          <p:spPr bwMode="auto">
            <a:xfrm>
              <a:off x="2820" y="2272"/>
              <a:ext cx="28" cy="28"/>
            </a:xfrm>
            <a:custGeom>
              <a:avLst/>
              <a:gdLst>
                <a:gd name="T0" fmla="*/ 13 w 26"/>
                <a:gd name="T1" fmla="*/ 26 h 26"/>
                <a:gd name="T2" fmla="*/ 6 w 26"/>
                <a:gd name="T3" fmla="*/ 24 h 26"/>
                <a:gd name="T4" fmla="*/ 0 w 26"/>
                <a:gd name="T5" fmla="*/ 16 h 26"/>
                <a:gd name="T6" fmla="*/ 2 w 26"/>
                <a:gd name="T7" fmla="*/ 6 h 26"/>
                <a:gd name="T8" fmla="*/ 10 w 26"/>
                <a:gd name="T9" fmla="*/ 0 h 26"/>
                <a:gd name="T10" fmla="*/ 20 w 26"/>
                <a:gd name="T11" fmla="*/ 2 h 26"/>
                <a:gd name="T12" fmla="*/ 25 w 26"/>
                <a:gd name="T13" fmla="*/ 10 h 26"/>
                <a:gd name="T14" fmla="*/ 23 w 26"/>
                <a:gd name="T15" fmla="*/ 20 h 26"/>
                <a:gd name="T16" fmla="*/ 23 w 26"/>
                <a:gd name="T17" fmla="*/ 20 h 26"/>
                <a:gd name="T18" fmla="*/ 23 w 26"/>
                <a:gd name="T19" fmla="*/ 20 h 26"/>
                <a:gd name="T20" fmla="*/ 15 w 26"/>
                <a:gd name="T21" fmla="*/ 25 h 26"/>
                <a:gd name="T22" fmla="*/ 13 w 26"/>
                <a:gd name="T23" fmla="*/ 26 h 26"/>
                <a:gd name="T24" fmla="*/ 13 w 26"/>
                <a:gd name="T25" fmla="*/ 12 h 26"/>
                <a:gd name="T26" fmla="*/ 12 w 26"/>
                <a:gd name="T27" fmla="*/ 13 h 26"/>
                <a:gd name="T28" fmla="*/ 12 w 26"/>
                <a:gd name="T29" fmla="*/ 14 h 26"/>
                <a:gd name="T30" fmla="*/ 13 w 26"/>
                <a:gd name="T31" fmla="*/ 13 h 26"/>
                <a:gd name="T32" fmla="*/ 13 w 26"/>
                <a:gd name="T33" fmla="*/ 13 h 26"/>
                <a:gd name="T34" fmla="*/ 13 w 26"/>
                <a:gd name="T35" fmla="*/ 13 h 26"/>
                <a:gd name="T36" fmla="*/ 13 w 26"/>
                <a:gd name="T37" fmla="*/ 12 h 26"/>
                <a:gd name="T38" fmla="*/ 13 w 26"/>
                <a:gd name="T39"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26">
                  <a:moveTo>
                    <a:pt x="13" y="26"/>
                  </a:moveTo>
                  <a:cubicBezTo>
                    <a:pt x="10" y="26"/>
                    <a:pt x="8" y="25"/>
                    <a:pt x="6" y="24"/>
                  </a:cubicBezTo>
                  <a:cubicBezTo>
                    <a:pt x="3" y="22"/>
                    <a:pt x="1" y="19"/>
                    <a:pt x="0" y="16"/>
                  </a:cubicBezTo>
                  <a:cubicBezTo>
                    <a:pt x="0" y="12"/>
                    <a:pt x="0" y="9"/>
                    <a:pt x="2" y="6"/>
                  </a:cubicBezTo>
                  <a:cubicBezTo>
                    <a:pt x="4" y="3"/>
                    <a:pt x="7" y="1"/>
                    <a:pt x="10" y="0"/>
                  </a:cubicBezTo>
                  <a:cubicBezTo>
                    <a:pt x="13" y="0"/>
                    <a:pt x="17" y="0"/>
                    <a:pt x="20" y="2"/>
                  </a:cubicBezTo>
                  <a:cubicBezTo>
                    <a:pt x="23" y="4"/>
                    <a:pt x="25" y="7"/>
                    <a:pt x="25" y="10"/>
                  </a:cubicBezTo>
                  <a:cubicBezTo>
                    <a:pt x="26" y="14"/>
                    <a:pt x="25" y="17"/>
                    <a:pt x="23" y="20"/>
                  </a:cubicBezTo>
                  <a:cubicBezTo>
                    <a:pt x="23" y="20"/>
                    <a:pt x="23" y="20"/>
                    <a:pt x="23" y="20"/>
                  </a:cubicBezTo>
                  <a:cubicBezTo>
                    <a:pt x="23" y="20"/>
                    <a:pt x="23" y="20"/>
                    <a:pt x="23" y="20"/>
                  </a:cubicBezTo>
                  <a:cubicBezTo>
                    <a:pt x="22" y="23"/>
                    <a:pt x="19" y="25"/>
                    <a:pt x="15" y="25"/>
                  </a:cubicBezTo>
                  <a:cubicBezTo>
                    <a:pt x="14" y="26"/>
                    <a:pt x="14" y="26"/>
                    <a:pt x="13" y="26"/>
                  </a:cubicBezTo>
                  <a:close/>
                  <a:moveTo>
                    <a:pt x="13" y="12"/>
                  </a:moveTo>
                  <a:cubicBezTo>
                    <a:pt x="12" y="12"/>
                    <a:pt x="12" y="12"/>
                    <a:pt x="12" y="13"/>
                  </a:cubicBezTo>
                  <a:cubicBezTo>
                    <a:pt x="12" y="13"/>
                    <a:pt x="12" y="13"/>
                    <a:pt x="12" y="14"/>
                  </a:cubicBezTo>
                  <a:cubicBezTo>
                    <a:pt x="13" y="14"/>
                    <a:pt x="13" y="14"/>
                    <a:pt x="13" y="13"/>
                  </a:cubicBezTo>
                  <a:cubicBezTo>
                    <a:pt x="13" y="13"/>
                    <a:pt x="13" y="13"/>
                    <a:pt x="13" y="13"/>
                  </a:cubicBezTo>
                  <a:cubicBezTo>
                    <a:pt x="13" y="13"/>
                    <a:pt x="14" y="13"/>
                    <a:pt x="13" y="13"/>
                  </a:cubicBezTo>
                  <a:cubicBezTo>
                    <a:pt x="13" y="13"/>
                    <a:pt x="13" y="12"/>
                    <a:pt x="13" y="12"/>
                  </a:cubicBezTo>
                  <a:cubicBezTo>
                    <a:pt x="13" y="12"/>
                    <a:pt x="13" y="12"/>
                    <a:pt x="1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3" name="Freeform 154">
              <a:extLst>
                <a:ext uri="{FF2B5EF4-FFF2-40B4-BE49-F238E27FC236}">
                  <a16:creationId xmlns:a16="http://schemas.microsoft.com/office/drawing/2014/main" id="{5FB2DB89-5ACD-44C4-A2D7-1CCA5DD2D581}"/>
                </a:ext>
              </a:extLst>
            </p:cNvPr>
            <p:cNvSpPr>
              <a:spLocks/>
            </p:cNvSpPr>
            <p:nvPr/>
          </p:nvSpPr>
          <p:spPr bwMode="auto">
            <a:xfrm>
              <a:off x="2799" y="2295"/>
              <a:ext cx="17" cy="16"/>
            </a:xfrm>
            <a:custGeom>
              <a:avLst/>
              <a:gdLst>
                <a:gd name="T0" fmla="*/ 14 w 16"/>
                <a:gd name="T1" fmla="*/ 11 h 15"/>
                <a:gd name="T2" fmla="*/ 4 w 16"/>
                <a:gd name="T3" fmla="*/ 13 h 15"/>
                <a:gd name="T4" fmla="*/ 3 w 16"/>
                <a:gd name="T5" fmla="*/ 4 h 15"/>
                <a:gd name="T6" fmla="*/ 12 w 16"/>
                <a:gd name="T7" fmla="*/ 2 h 15"/>
                <a:gd name="T8" fmla="*/ 14 w 16"/>
                <a:gd name="T9" fmla="*/ 11 h 15"/>
              </a:gdLst>
              <a:ahLst/>
              <a:cxnLst>
                <a:cxn ang="0">
                  <a:pos x="T0" y="T1"/>
                </a:cxn>
                <a:cxn ang="0">
                  <a:pos x="T2" y="T3"/>
                </a:cxn>
                <a:cxn ang="0">
                  <a:pos x="T4" y="T5"/>
                </a:cxn>
                <a:cxn ang="0">
                  <a:pos x="T6" y="T7"/>
                </a:cxn>
                <a:cxn ang="0">
                  <a:pos x="T8" y="T9"/>
                </a:cxn>
              </a:cxnLst>
              <a:rect l="0" t="0" r="r" b="b"/>
              <a:pathLst>
                <a:path w="16" h="15">
                  <a:moveTo>
                    <a:pt x="14" y="11"/>
                  </a:moveTo>
                  <a:cubicBezTo>
                    <a:pt x="12" y="15"/>
                    <a:pt x="8" y="15"/>
                    <a:pt x="4" y="13"/>
                  </a:cubicBezTo>
                  <a:cubicBezTo>
                    <a:pt x="1" y="11"/>
                    <a:pt x="0" y="7"/>
                    <a:pt x="3" y="4"/>
                  </a:cubicBezTo>
                  <a:cubicBezTo>
                    <a:pt x="5" y="1"/>
                    <a:pt x="9" y="0"/>
                    <a:pt x="12" y="2"/>
                  </a:cubicBezTo>
                  <a:cubicBezTo>
                    <a:pt x="15" y="4"/>
                    <a:pt x="16" y="8"/>
                    <a:pt x="1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4" name="Freeform 155">
              <a:extLst>
                <a:ext uri="{FF2B5EF4-FFF2-40B4-BE49-F238E27FC236}">
                  <a16:creationId xmlns:a16="http://schemas.microsoft.com/office/drawing/2014/main" id="{5D65F023-2BBE-4393-AE22-8078FD57F811}"/>
                </a:ext>
              </a:extLst>
            </p:cNvPr>
            <p:cNvSpPr>
              <a:spLocks noEditPoints="1"/>
            </p:cNvSpPr>
            <p:nvPr/>
          </p:nvSpPr>
          <p:spPr bwMode="auto">
            <a:xfrm>
              <a:off x="2793" y="2289"/>
              <a:ext cx="31" cy="27"/>
            </a:xfrm>
            <a:custGeom>
              <a:avLst/>
              <a:gdLst>
                <a:gd name="T0" fmla="*/ 14 w 29"/>
                <a:gd name="T1" fmla="*/ 26 h 26"/>
                <a:gd name="T2" fmla="*/ 7 w 29"/>
                <a:gd name="T3" fmla="*/ 24 h 26"/>
                <a:gd name="T4" fmla="*/ 4 w 29"/>
                <a:gd name="T5" fmla="*/ 7 h 26"/>
                <a:gd name="T6" fmla="*/ 12 w 29"/>
                <a:gd name="T7" fmla="*/ 1 h 26"/>
                <a:gd name="T8" fmla="*/ 21 w 29"/>
                <a:gd name="T9" fmla="*/ 3 h 26"/>
                <a:gd name="T10" fmla="*/ 25 w 29"/>
                <a:gd name="T11" fmla="*/ 21 h 26"/>
                <a:gd name="T12" fmla="*/ 25 w 29"/>
                <a:gd name="T13" fmla="*/ 21 h 26"/>
                <a:gd name="T14" fmla="*/ 14 w 29"/>
                <a:gd name="T15" fmla="*/ 26 h 26"/>
                <a:gd name="T16" fmla="*/ 14 w 29"/>
                <a:gd name="T17" fmla="*/ 13 h 26"/>
                <a:gd name="T18" fmla="*/ 14 w 29"/>
                <a:gd name="T19" fmla="*/ 13 h 26"/>
                <a:gd name="T20" fmla="*/ 14 w 29"/>
                <a:gd name="T21" fmla="*/ 14 h 26"/>
                <a:gd name="T22" fmla="*/ 15 w 29"/>
                <a:gd name="T23" fmla="*/ 14 h 26"/>
                <a:gd name="T24" fmla="*/ 15 w 29"/>
                <a:gd name="T25" fmla="*/ 13 h 26"/>
                <a:gd name="T26" fmla="*/ 14 w 29"/>
                <a:gd name="T27"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6">
                  <a:moveTo>
                    <a:pt x="14" y="26"/>
                  </a:moveTo>
                  <a:cubicBezTo>
                    <a:pt x="12" y="26"/>
                    <a:pt x="9" y="26"/>
                    <a:pt x="7" y="24"/>
                  </a:cubicBezTo>
                  <a:cubicBezTo>
                    <a:pt x="1" y="21"/>
                    <a:pt x="0" y="13"/>
                    <a:pt x="4" y="7"/>
                  </a:cubicBezTo>
                  <a:cubicBezTo>
                    <a:pt x="5" y="4"/>
                    <a:pt x="8" y="2"/>
                    <a:pt x="12" y="1"/>
                  </a:cubicBezTo>
                  <a:cubicBezTo>
                    <a:pt x="15" y="0"/>
                    <a:pt x="18" y="1"/>
                    <a:pt x="21" y="3"/>
                  </a:cubicBezTo>
                  <a:cubicBezTo>
                    <a:pt x="27" y="7"/>
                    <a:pt x="29" y="15"/>
                    <a:pt x="25" y="21"/>
                  </a:cubicBezTo>
                  <a:cubicBezTo>
                    <a:pt x="25" y="21"/>
                    <a:pt x="25" y="21"/>
                    <a:pt x="25" y="21"/>
                  </a:cubicBezTo>
                  <a:cubicBezTo>
                    <a:pt x="22" y="24"/>
                    <a:pt x="18" y="26"/>
                    <a:pt x="14" y="26"/>
                  </a:cubicBezTo>
                  <a:close/>
                  <a:moveTo>
                    <a:pt x="14" y="13"/>
                  </a:moveTo>
                  <a:cubicBezTo>
                    <a:pt x="14" y="13"/>
                    <a:pt x="14" y="13"/>
                    <a:pt x="14" y="13"/>
                  </a:cubicBezTo>
                  <a:cubicBezTo>
                    <a:pt x="13" y="14"/>
                    <a:pt x="13" y="14"/>
                    <a:pt x="14" y="14"/>
                  </a:cubicBezTo>
                  <a:cubicBezTo>
                    <a:pt x="14" y="15"/>
                    <a:pt x="15" y="14"/>
                    <a:pt x="15" y="14"/>
                  </a:cubicBezTo>
                  <a:cubicBezTo>
                    <a:pt x="15" y="14"/>
                    <a:pt x="15" y="13"/>
                    <a:pt x="15" y="13"/>
                  </a:cubicBezTo>
                  <a:cubicBezTo>
                    <a:pt x="15" y="13"/>
                    <a:pt x="14" y="13"/>
                    <a:pt x="14"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5" name="Freeform 156">
              <a:extLst>
                <a:ext uri="{FF2B5EF4-FFF2-40B4-BE49-F238E27FC236}">
                  <a16:creationId xmlns:a16="http://schemas.microsoft.com/office/drawing/2014/main" id="{1CB4A825-6595-417A-AFE5-725A9EA32AAF}"/>
                </a:ext>
              </a:extLst>
            </p:cNvPr>
            <p:cNvSpPr>
              <a:spLocks/>
            </p:cNvSpPr>
            <p:nvPr/>
          </p:nvSpPr>
          <p:spPr bwMode="auto">
            <a:xfrm>
              <a:off x="2767" y="2288"/>
              <a:ext cx="16" cy="16"/>
            </a:xfrm>
            <a:custGeom>
              <a:avLst/>
              <a:gdLst>
                <a:gd name="T0" fmla="*/ 13 w 15"/>
                <a:gd name="T1" fmla="*/ 11 h 15"/>
                <a:gd name="T2" fmla="*/ 4 w 15"/>
                <a:gd name="T3" fmla="*/ 13 h 15"/>
                <a:gd name="T4" fmla="*/ 2 w 15"/>
                <a:gd name="T5" fmla="*/ 4 h 15"/>
                <a:gd name="T6" fmla="*/ 11 w 15"/>
                <a:gd name="T7" fmla="*/ 2 h 15"/>
                <a:gd name="T8" fmla="*/ 13 w 15"/>
                <a:gd name="T9" fmla="*/ 11 h 15"/>
              </a:gdLst>
              <a:ahLst/>
              <a:cxnLst>
                <a:cxn ang="0">
                  <a:pos x="T0" y="T1"/>
                </a:cxn>
                <a:cxn ang="0">
                  <a:pos x="T2" y="T3"/>
                </a:cxn>
                <a:cxn ang="0">
                  <a:pos x="T4" y="T5"/>
                </a:cxn>
                <a:cxn ang="0">
                  <a:pos x="T6" y="T7"/>
                </a:cxn>
                <a:cxn ang="0">
                  <a:pos x="T8" y="T9"/>
                </a:cxn>
              </a:cxnLst>
              <a:rect l="0" t="0" r="r" b="b"/>
              <a:pathLst>
                <a:path w="15" h="15">
                  <a:moveTo>
                    <a:pt x="13" y="11"/>
                  </a:moveTo>
                  <a:cubicBezTo>
                    <a:pt x="11" y="15"/>
                    <a:pt x="7" y="15"/>
                    <a:pt x="4" y="13"/>
                  </a:cubicBezTo>
                  <a:cubicBezTo>
                    <a:pt x="1" y="11"/>
                    <a:pt x="0" y="7"/>
                    <a:pt x="2" y="4"/>
                  </a:cubicBezTo>
                  <a:cubicBezTo>
                    <a:pt x="4" y="1"/>
                    <a:pt x="8" y="0"/>
                    <a:pt x="11" y="2"/>
                  </a:cubicBezTo>
                  <a:cubicBezTo>
                    <a:pt x="15" y="4"/>
                    <a:pt x="15" y="8"/>
                    <a:pt x="1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6" name="Freeform 157">
              <a:extLst>
                <a:ext uri="{FF2B5EF4-FFF2-40B4-BE49-F238E27FC236}">
                  <a16:creationId xmlns:a16="http://schemas.microsoft.com/office/drawing/2014/main" id="{8B198FF6-DB3C-41EF-8586-4BAA510B7C5E}"/>
                </a:ext>
              </a:extLst>
            </p:cNvPr>
            <p:cNvSpPr>
              <a:spLocks noEditPoints="1"/>
            </p:cNvSpPr>
            <p:nvPr/>
          </p:nvSpPr>
          <p:spPr bwMode="auto">
            <a:xfrm>
              <a:off x="2762" y="2281"/>
              <a:ext cx="28" cy="29"/>
            </a:xfrm>
            <a:custGeom>
              <a:avLst/>
              <a:gdLst>
                <a:gd name="T0" fmla="*/ 13 w 27"/>
                <a:gd name="T1" fmla="*/ 28 h 28"/>
                <a:gd name="T2" fmla="*/ 6 w 27"/>
                <a:gd name="T3" fmla="*/ 25 h 28"/>
                <a:gd name="T4" fmla="*/ 0 w 27"/>
                <a:gd name="T5" fmla="*/ 17 h 28"/>
                <a:gd name="T6" fmla="*/ 2 w 27"/>
                <a:gd name="T7" fmla="*/ 8 h 28"/>
                <a:gd name="T8" fmla="*/ 20 w 27"/>
                <a:gd name="T9" fmla="*/ 4 h 28"/>
                <a:gd name="T10" fmla="*/ 23 w 27"/>
                <a:gd name="T11" fmla="*/ 22 h 28"/>
                <a:gd name="T12" fmla="*/ 15 w 27"/>
                <a:gd name="T13" fmla="*/ 27 h 28"/>
                <a:gd name="T14" fmla="*/ 13 w 27"/>
                <a:gd name="T15" fmla="*/ 28 h 28"/>
                <a:gd name="T16" fmla="*/ 13 w 27"/>
                <a:gd name="T17" fmla="*/ 14 h 28"/>
                <a:gd name="T18" fmla="*/ 12 w 27"/>
                <a:gd name="T19" fmla="*/ 14 h 28"/>
                <a:gd name="T20" fmla="*/ 12 w 27"/>
                <a:gd name="T21" fmla="*/ 15 h 28"/>
                <a:gd name="T22" fmla="*/ 13 w 27"/>
                <a:gd name="T23" fmla="*/ 15 h 28"/>
                <a:gd name="T24" fmla="*/ 13 w 27"/>
                <a:gd name="T25" fmla="*/ 14 h 28"/>
                <a:gd name="T26" fmla="*/ 13 w 27"/>
                <a:gd name="T27"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8">
                  <a:moveTo>
                    <a:pt x="13" y="28"/>
                  </a:moveTo>
                  <a:cubicBezTo>
                    <a:pt x="10" y="28"/>
                    <a:pt x="8" y="27"/>
                    <a:pt x="6" y="25"/>
                  </a:cubicBezTo>
                  <a:cubicBezTo>
                    <a:pt x="3" y="24"/>
                    <a:pt x="1" y="21"/>
                    <a:pt x="0" y="17"/>
                  </a:cubicBezTo>
                  <a:cubicBezTo>
                    <a:pt x="0" y="14"/>
                    <a:pt x="0" y="11"/>
                    <a:pt x="2" y="8"/>
                  </a:cubicBezTo>
                  <a:cubicBezTo>
                    <a:pt x="6" y="2"/>
                    <a:pt x="14" y="0"/>
                    <a:pt x="20" y="4"/>
                  </a:cubicBezTo>
                  <a:cubicBezTo>
                    <a:pt x="26" y="8"/>
                    <a:pt x="27" y="16"/>
                    <a:pt x="23" y="22"/>
                  </a:cubicBezTo>
                  <a:cubicBezTo>
                    <a:pt x="22" y="25"/>
                    <a:pt x="19" y="27"/>
                    <a:pt x="15" y="27"/>
                  </a:cubicBezTo>
                  <a:cubicBezTo>
                    <a:pt x="14" y="27"/>
                    <a:pt x="14" y="28"/>
                    <a:pt x="13" y="28"/>
                  </a:cubicBezTo>
                  <a:close/>
                  <a:moveTo>
                    <a:pt x="13" y="14"/>
                  </a:moveTo>
                  <a:cubicBezTo>
                    <a:pt x="13" y="14"/>
                    <a:pt x="12" y="14"/>
                    <a:pt x="12" y="14"/>
                  </a:cubicBezTo>
                  <a:cubicBezTo>
                    <a:pt x="12" y="15"/>
                    <a:pt x="12" y="15"/>
                    <a:pt x="12" y="15"/>
                  </a:cubicBezTo>
                  <a:cubicBezTo>
                    <a:pt x="13" y="16"/>
                    <a:pt x="13" y="15"/>
                    <a:pt x="13" y="15"/>
                  </a:cubicBezTo>
                  <a:cubicBezTo>
                    <a:pt x="14" y="15"/>
                    <a:pt x="14" y="14"/>
                    <a:pt x="13" y="14"/>
                  </a:cubicBezTo>
                  <a:cubicBezTo>
                    <a:pt x="13" y="14"/>
                    <a:pt x="13" y="14"/>
                    <a:pt x="13"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7" name="Freeform 158">
              <a:extLst>
                <a:ext uri="{FF2B5EF4-FFF2-40B4-BE49-F238E27FC236}">
                  <a16:creationId xmlns:a16="http://schemas.microsoft.com/office/drawing/2014/main" id="{EE279449-3C2F-4B99-BA4C-28CA7912E924}"/>
                </a:ext>
              </a:extLst>
            </p:cNvPr>
            <p:cNvSpPr>
              <a:spLocks/>
            </p:cNvSpPr>
            <p:nvPr/>
          </p:nvSpPr>
          <p:spPr bwMode="auto">
            <a:xfrm>
              <a:off x="2738" y="2278"/>
              <a:ext cx="17" cy="16"/>
            </a:xfrm>
            <a:custGeom>
              <a:avLst/>
              <a:gdLst>
                <a:gd name="T0" fmla="*/ 14 w 16"/>
                <a:gd name="T1" fmla="*/ 12 h 16"/>
                <a:gd name="T2" fmla="*/ 4 w 16"/>
                <a:gd name="T3" fmla="*/ 14 h 16"/>
                <a:gd name="T4" fmla="*/ 2 w 16"/>
                <a:gd name="T5" fmla="*/ 4 h 16"/>
                <a:gd name="T6" fmla="*/ 12 w 16"/>
                <a:gd name="T7" fmla="*/ 2 h 16"/>
                <a:gd name="T8" fmla="*/ 14 w 16"/>
                <a:gd name="T9" fmla="*/ 12 h 16"/>
              </a:gdLst>
              <a:ahLst/>
              <a:cxnLst>
                <a:cxn ang="0">
                  <a:pos x="T0" y="T1"/>
                </a:cxn>
                <a:cxn ang="0">
                  <a:pos x="T2" y="T3"/>
                </a:cxn>
                <a:cxn ang="0">
                  <a:pos x="T4" y="T5"/>
                </a:cxn>
                <a:cxn ang="0">
                  <a:pos x="T6" y="T7"/>
                </a:cxn>
                <a:cxn ang="0">
                  <a:pos x="T8" y="T9"/>
                </a:cxn>
              </a:cxnLst>
              <a:rect l="0" t="0" r="r" b="b"/>
              <a:pathLst>
                <a:path w="16" h="16">
                  <a:moveTo>
                    <a:pt x="14" y="12"/>
                  </a:moveTo>
                  <a:cubicBezTo>
                    <a:pt x="11" y="15"/>
                    <a:pt x="7" y="16"/>
                    <a:pt x="4" y="14"/>
                  </a:cubicBezTo>
                  <a:cubicBezTo>
                    <a:pt x="1" y="12"/>
                    <a:pt x="0" y="7"/>
                    <a:pt x="2" y="4"/>
                  </a:cubicBezTo>
                  <a:cubicBezTo>
                    <a:pt x="4" y="1"/>
                    <a:pt x="8" y="0"/>
                    <a:pt x="12" y="2"/>
                  </a:cubicBezTo>
                  <a:cubicBezTo>
                    <a:pt x="15" y="4"/>
                    <a:pt x="16" y="9"/>
                    <a:pt x="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8" name="Freeform 159">
              <a:extLst>
                <a:ext uri="{FF2B5EF4-FFF2-40B4-BE49-F238E27FC236}">
                  <a16:creationId xmlns:a16="http://schemas.microsoft.com/office/drawing/2014/main" id="{22F83DDB-4459-4B34-A462-D24F44798ACB}"/>
                </a:ext>
              </a:extLst>
            </p:cNvPr>
            <p:cNvSpPr>
              <a:spLocks noEditPoints="1"/>
            </p:cNvSpPr>
            <p:nvPr/>
          </p:nvSpPr>
          <p:spPr bwMode="auto">
            <a:xfrm>
              <a:off x="2733" y="2272"/>
              <a:ext cx="27" cy="28"/>
            </a:xfrm>
            <a:custGeom>
              <a:avLst/>
              <a:gdLst>
                <a:gd name="T0" fmla="*/ 13 w 26"/>
                <a:gd name="T1" fmla="*/ 26 h 26"/>
                <a:gd name="T2" fmla="*/ 6 w 26"/>
                <a:gd name="T3" fmla="*/ 24 h 26"/>
                <a:gd name="T4" fmla="*/ 0 w 26"/>
                <a:gd name="T5" fmla="*/ 16 h 26"/>
                <a:gd name="T6" fmla="*/ 2 w 26"/>
                <a:gd name="T7" fmla="*/ 6 h 26"/>
                <a:gd name="T8" fmla="*/ 10 w 26"/>
                <a:gd name="T9" fmla="*/ 0 h 26"/>
                <a:gd name="T10" fmla="*/ 20 w 26"/>
                <a:gd name="T11" fmla="*/ 2 h 26"/>
                <a:gd name="T12" fmla="*/ 25 w 26"/>
                <a:gd name="T13" fmla="*/ 10 h 26"/>
                <a:gd name="T14" fmla="*/ 24 w 26"/>
                <a:gd name="T15" fmla="*/ 20 h 26"/>
                <a:gd name="T16" fmla="*/ 15 w 26"/>
                <a:gd name="T17" fmla="*/ 25 h 26"/>
                <a:gd name="T18" fmla="*/ 13 w 26"/>
                <a:gd name="T19" fmla="*/ 26 h 26"/>
                <a:gd name="T20" fmla="*/ 13 w 26"/>
                <a:gd name="T21" fmla="*/ 12 h 26"/>
                <a:gd name="T22" fmla="*/ 12 w 26"/>
                <a:gd name="T23" fmla="*/ 13 h 26"/>
                <a:gd name="T24" fmla="*/ 12 w 26"/>
                <a:gd name="T25" fmla="*/ 14 h 26"/>
                <a:gd name="T26" fmla="*/ 13 w 26"/>
                <a:gd name="T27" fmla="*/ 13 h 26"/>
                <a:gd name="T28" fmla="*/ 13 w 26"/>
                <a:gd name="T29" fmla="*/ 13 h 26"/>
                <a:gd name="T30" fmla="*/ 13 w 26"/>
                <a:gd name="T31" fmla="*/ 12 h 26"/>
                <a:gd name="T32" fmla="*/ 13 w 26"/>
                <a:gd name="T3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6">
                  <a:moveTo>
                    <a:pt x="13" y="26"/>
                  </a:moveTo>
                  <a:cubicBezTo>
                    <a:pt x="10" y="26"/>
                    <a:pt x="8" y="25"/>
                    <a:pt x="6" y="24"/>
                  </a:cubicBezTo>
                  <a:cubicBezTo>
                    <a:pt x="3" y="22"/>
                    <a:pt x="1" y="19"/>
                    <a:pt x="0" y="16"/>
                  </a:cubicBezTo>
                  <a:cubicBezTo>
                    <a:pt x="0" y="12"/>
                    <a:pt x="0" y="9"/>
                    <a:pt x="2" y="6"/>
                  </a:cubicBezTo>
                  <a:cubicBezTo>
                    <a:pt x="4" y="3"/>
                    <a:pt x="7" y="1"/>
                    <a:pt x="10" y="0"/>
                  </a:cubicBezTo>
                  <a:cubicBezTo>
                    <a:pt x="14" y="0"/>
                    <a:pt x="17" y="0"/>
                    <a:pt x="20" y="2"/>
                  </a:cubicBezTo>
                  <a:cubicBezTo>
                    <a:pt x="23" y="4"/>
                    <a:pt x="25" y="7"/>
                    <a:pt x="25" y="10"/>
                  </a:cubicBezTo>
                  <a:cubicBezTo>
                    <a:pt x="26" y="14"/>
                    <a:pt x="25" y="17"/>
                    <a:pt x="24" y="20"/>
                  </a:cubicBezTo>
                  <a:cubicBezTo>
                    <a:pt x="22" y="23"/>
                    <a:pt x="19" y="25"/>
                    <a:pt x="15" y="25"/>
                  </a:cubicBezTo>
                  <a:cubicBezTo>
                    <a:pt x="15" y="26"/>
                    <a:pt x="14" y="26"/>
                    <a:pt x="13" y="26"/>
                  </a:cubicBezTo>
                  <a:close/>
                  <a:moveTo>
                    <a:pt x="13" y="12"/>
                  </a:moveTo>
                  <a:cubicBezTo>
                    <a:pt x="13" y="12"/>
                    <a:pt x="12" y="12"/>
                    <a:pt x="12" y="13"/>
                  </a:cubicBezTo>
                  <a:cubicBezTo>
                    <a:pt x="12" y="13"/>
                    <a:pt x="12" y="13"/>
                    <a:pt x="12" y="14"/>
                  </a:cubicBezTo>
                  <a:cubicBezTo>
                    <a:pt x="13" y="14"/>
                    <a:pt x="13" y="14"/>
                    <a:pt x="13" y="13"/>
                  </a:cubicBezTo>
                  <a:cubicBezTo>
                    <a:pt x="13" y="13"/>
                    <a:pt x="13" y="13"/>
                    <a:pt x="13" y="13"/>
                  </a:cubicBezTo>
                  <a:cubicBezTo>
                    <a:pt x="14" y="13"/>
                    <a:pt x="14" y="13"/>
                    <a:pt x="13" y="12"/>
                  </a:cubicBezTo>
                  <a:cubicBezTo>
                    <a:pt x="13" y="12"/>
                    <a:pt x="13" y="12"/>
                    <a:pt x="1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89" name="Freeform 378">
            <a:extLst>
              <a:ext uri="{FF2B5EF4-FFF2-40B4-BE49-F238E27FC236}">
                <a16:creationId xmlns:a16="http://schemas.microsoft.com/office/drawing/2014/main" id="{AE1AC716-D3F1-4B80-AC81-921B48947F75}"/>
              </a:ext>
            </a:extLst>
          </p:cNvPr>
          <p:cNvSpPr>
            <a:spLocks/>
          </p:cNvSpPr>
          <p:nvPr/>
        </p:nvSpPr>
        <p:spPr bwMode="auto">
          <a:xfrm>
            <a:off x="2567608" y="4297288"/>
            <a:ext cx="480374" cy="603791"/>
          </a:xfrm>
          <a:custGeom>
            <a:avLst/>
            <a:gdLst>
              <a:gd name="T0" fmla="*/ 4112 w 4428"/>
              <a:gd name="T1" fmla="*/ 1292 h 5535"/>
              <a:gd name="T2" fmla="*/ 4220 w 4428"/>
              <a:gd name="T3" fmla="*/ 1921 h 5535"/>
              <a:gd name="T4" fmla="*/ 4397 w 4428"/>
              <a:gd name="T5" fmla="*/ 2566 h 5535"/>
              <a:gd name="T6" fmla="*/ 4185 w 4428"/>
              <a:gd name="T7" fmla="*/ 2835 h 5535"/>
              <a:gd name="T8" fmla="*/ 4041 w 4428"/>
              <a:gd name="T9" fmla="*/ 2934 h 5535"/>
              <a:gd name="T10" fmla="*/ 3693 w 4428"/>
              <a:gd name="T11" fmla="*/ 3096 h 5535"/>
              <a:gd name="T12" fmla="*/ 3303 w 4428"/>
              <a:gd name="T13" fmla="*/ 3279 h 5535"/>
              <a:gd name="T14" fmla="*/ 3080 w 4428"/>
              <a:gd name="T15" fmla="*/ 3391 h 5535"/>
              <a:gd name="T16" fmla="*/ 3197 w 4428"/>
              <a:gd name="T17" fmla="*/ 3589 h 5535"/>
              <a:gd name="T18" fmla="*/ 3280 w 4428"/>
              <a:gd name="T19" fmla="*/ 3958 h 5535"/>
              <a:gd name="T20" fmla="*/ 3638 w 4428"/>
              <a:gd name="T21" fmla="*/ 4250 h 5535"/>
              <a:gd name="T22" fmla="*/ 3837 w 4428"/>
              <a:gd name="T23" fmla="*/ 4482 h 5535"/>
              <a:gd name="T24" fmla="*/ 3658 w 4428"/>
              <a:gd name="T25" fmla="*/ 4690 h 5535"/>
              <a:gd name="T26" fmla="*/ 3414 w 4428"/>
              <a:gd name="T27" fmla="*/ 5050 h 5535"/>
              <a:gd name="T28" fmla="*/ 3375 w 4428"/>
              <a:gd name="T29" fmla="*/ 5337 h 5535"/>
              <a:gd name="T30" fmla="*/ 3085 w 4428"/>
              <a:gd name="T31" fmla="*/ 5241 h 5535"/>
              <a:gd name="T32" fmla="*/ 2754 w 4428"/>
              <a:gd name="T33" fmla="*/ 5359 h 5535"/>
              <a:gd name="T34" fmla="*/ 2472 w 4428"/>
              <a:gd name="T35" fmla="*/ 5442 h 5535"/>
              <a:gd name="T36" fmla="*/ 2211 w 4428"/>
              <a:gd name="T37" fmla="*/ 5354 h 5535"/>
              <a:gd name="T38" fmla="*/ 2048 w 4428"/>
              <a:gd name="T39" fmla="*/ 5415 h 5535"/>
              <a:gd name="T40" fmla="*/ 1496 w 4428"/>
              <a:gd name="T41" fmla="*/ 5255 h 5535"/>
              <a:gd name="T42" fmla="*/ 1353 w 4428"/>
              <a:gd name="T43" fmla="*/ 5235 h 5535"/>
              <a:gd name="T44" fmla="*/ 1279 w 4428"/>
              <a:gd name="T45" fmla="*/ 5176 h 5535"/>
              <a:gd name="T46" fmla="*/ 1301 w 4428"/>
              <a:gd name="T47" fmla="*/ 5290 h 5535"/>
              <a:gd name="T48" fmla="*/ 1002 w 4428"/>
              <a:gd name="T49" fmla="*/ 5328 h 5535"/>
              <a:gd name="T50" fmla="*/ 820 w 4428"/>
              <a:gd name="T51" fmla="*/ 5272 h 5535"/>
              <a:gd name="T52" fmla="*/ 936 w 4428"/>
              <a:gd name="T53" fmla="*/ 4646 h 5535"/>
              <a:gd name="T54" fmla="*/ 908 w 4428"/>
              <a:gd name="T55" fmla="*/ 4259 h 5535"/>
              <a:gd name="T56" fmla="*/ 570 w 4428"/>
              <a:gd name="T57" fmla="*/ 4183 h 5535"/>
              <a:gd name="T58" fmla="*/ 347 w 4428"/>
              <a:gd name="T59" fmla="*/ 4010 h 5535"/>
              <a:gd name="T60" fmla="*/ 171 w 4428"/>
              <a:gd name="T61" fmla="*/ 3631 h 5535"/>
              <a:gd name="T62" fmla="*/ 251 w 4428"/>
              <a:gd name="T63" fmla="*/ 3247 h 5535"/>
              <a:gd name="T64" fmla="*/ 99 w 4428"/>
              <a:gd name="T65" fmla="*/ 2947 h 5535"/>
              <a:gd name="T66" fmla="*/ 112 w 4428"/>
              <a:gd name="T67" fmla="*/ 2719 h 5535"/>
              <a:gd name="T68" fmla="*/ 37 w 4428"/>
              <a:gd name="T69" fmla="*/ 2238 h 5535"/>
              <a:gd name="T70" fmla="*/ 451 w 4428"/>
              <a:gd name="T71" fmla="*/ 2150 h 5535"/>
              <a:gd name="T72" fmla="*/ 433 w 4428"/>
              <a:gd name="T73" fmla="*/ 1786 h 5535"/>
              <a:gd name="T74" fmla="*/ 642 w 4428"/>
              <a:gd name="T75" fmla="*/ 1277 h 5535"/>
              <a:gd name="T76" fmla="*/ 601 w 4428"/>
              <a:gd name="T77" fmla="*/ 1013 h 5535"/>
              <a:gd name="T78" fmla="*/ 1079 w 4428"/>
              <a:gd name="T79" fmla="*/ 936 h 5535"/>
              <a:gd name="T80" fmla="*/ 1230 w 4428"/>
              <a:gd name="T81" fmla="*/ 980 h 5535"/>
              <a:gd name="T82" fmla="*/ 1357 w 4428"/>
              <a:gd name="T83" fmla="*/ 748 h 5535"/>
              <a:gd name="T84" fmla="*/ 1821 w 4428"/>
              <a:gd name="T85" fmla="*/ 960 h 5535"/>
              <a:gd name="T86" fmla="*/ 1492 w 4428"/>
              <a:gd name="T87" fmla="*/ 602 h 5535"/>
              <a:gd name="T88" fmla="*/ 1336 w 4428"/>
              <a:gd name="T89" fmla="*/ 422 h 5535"/>
              <a:gd name="T90" fmla="*/ 1422 w 4428"/>
              <a:gd name="T91" fmla="*/ 308 h 5535"/>
              <a:gd name="T92" fmla="*/ 1345 w 4428"/>
              <a:gd name="T93" fmla="*/ 8 h 5535"/>
              <a:gd name="T94" fmla="*/ 1803 w 4428"/>
              <a:gd name="T95" fmla="*/ 38 h 5535"/>
              <a:gd name="T96" fmla="*/ 1880 w 4428"/>
              <a:gd name="T97" fmla="*/ 266 h 5535"/>
              <a:gd name="T98" fmla="*/ 1984 w 4428"/>
              <a:gd name="T99" fmla="*/ 296 h 5535"/>
              <a:gd name="T100" fmla="*/ 2138 w 4428"/>
              <a:gd name="T101" fmla="*/ 365 h 5535"/>
              <a:gd name="T102" fmla="*/ 2522 w 4428"/>
              <a:gd name="T103" fmla="*/ 468 h 5535"/>
              <a:gd name="T104" fmla="*/ 2426 w 4428"/>
              <a:gd name="T105" fmla="*/ 730 h 5535"/>
              <a:gd name="T106" fmla="*/ 2700 w 4428"/>
              <a:gd name="T107" fmla="*/ 744 h 5535"/>
              <a:gd name="T108" fmla="*/ 3004 w 4428"/>
              <a:gd name="T109" fmla="*/ 595 h 5535"/>
              <a:gd name="T110" fmla="*/ 3416 w 4428"/>
              <a:gd name="T111" fmla="*/ 348 h 5535"/>
              <a:gd name="T112" fmla="*/ 3155 w 4428"/>
              <a:gd name="T113" fmla="*/ 424 h 5535"/>
              <a:gd name="T114" fmla="*/ 3291 w 4428"/>
              <a:gd name="T115" fmla="*/ 380 h 5535"/>
              <a:gd name="T116" fmla="*/ 3483 w 4428"/>
              <a:gd name="T117" fmla="*/ 415 h 5535"/>
              <a:gd name="T118" fmla="*/ 3629 w 4428"/>
              <a:gd name="T119" fmla="*/ 569 h 5535"/>
              <a:gd name="T120" fmla="*/ 3879 w 4428"/>
              <a:gd name="T121" fmla="*/ 721 h 5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28" h="5535">
                <a:moveTo>
                  <a:pt x="4061" y="896"/>
                </a:moveTo>
                <a:cubicBezTo>
                  <a:pt x="4063" y="909"/>
                  <a:pt x="4063" y="909"/>
                  <a:pt x="4063" y="909"/>
                </a:cubicBezTo>
                <a:cubicBezTo>
                  <a:pt x="4059" y="914"/>
                  <a:pt x="4059" y="914"/>
                  <a:pt x="4059" y="914"/>
                </a:cubicBezTo>
                <a:cubicBezTo>
                  <a:pt x="4065" y="921"/>
                  <a:pt x="4065" y="921"/>
                  <a:pt x="4065" y="921"/>
                </a:cubicBezTo>
                <a:cubicBezTo>
                  <a:pt x="4064" y="934"/>
                  <a:pt x="4064" y="934"/>
                  <a:pt x="4064" y="934"/>
                </a:cubicBezTo>
                <a:cubicBezTo>
                  <a:pt x="4076" y="951"/>
                  <a:pt x="4076" y="951"/>
                  <a:pt x="4076" y="951"/>
                </a:cubicBezTo>
                <a:cubicBezTo>
                  <a:pt x="4079" y="987"/>
                  <a:pt x="4079" y="987"/>
                  <a:pt x="4079" y="987"/>
                </a:cubicBezTo>
                <a:cubicBezTo>
                  <a:pt x="4075" y="999"/>
                  <a:pt x="4075" y="999"/>
                  <a:pt x="4075" y="999"/>
                </a:cubicBezTo>
                <a:cubicBezTo>
                  <a:pt x="4080" y="1007"/>
                  <a:pt x="4080" y="1007"/>
                  <a:pt x="4080" y="1007"/>
                </a:cubicBezTo>
                <a:cubicBezTo>
                  <a:pt x="4082" y="1024"/>
                  <a:pt x="4082" y="1024"/>
                  <a:pt x="4082" y="1024"/>
                </a:cubicBezTo>
                <a:cubicBezTo>
                  <a:pt x="4093" y="1036"/>
                  <a:pt x="4093" y="1036"/>
                  <a:pt x="4093" y="1036"/>
                </a:cubicBezTo>
                <a:cubicBezTo>
                  <a:pt x="4095" y="1054"/>
                  <a:pt x="4095" y="1054"/>
                  <a:pt x="4095" y="1054"/>
                </a:cubicBezTo>
                <a:cubicBezTo>
                  <a:pt x="4104" y="1067"/>
                  <a:pt x="4104" y="1067"/>
                  <a:pt x="4104" y="1067"/>
                </a:cubicBezTo>
                <a:cubicBezTo>
                  <a:pt x="4102" y="1091"/>
                  <a:pt x="4102" y="1091"/>
                  <a:pt x="4102" y="1091"/>
                </a:cubicBezTo>
                <a:cubicBezTo>
                  <a:pt x="4118" y="1122"/>
                  <a:pt x="4118" y="1122"/>
                  <a:pt x="4118" y="1122"/>
                </a:cubicBezTo>
                <a:cubicBezTo>
                  <a:pt x="4117" y="1140"/>
                  <a:pt x="4117" y="1140"/>
                  <a:pt x="4117" y="1140"/>
                </a:cubicBezTo>
                <a:cubicBezTo>
                  <a:pt x="4124" y="1154"/>
                  <a:pt x="4124" y="1154"/>
                  <a:pt x="4124" y="1154"/>
                </a:cubicBezTo>
                <a:cubicBezTo>
                  <a:pt x="4122" y="1168"/>
                  <a:pt x="4122" y="1168"/>
                  <a:pt x="4122" y="1168"/>
                </a:cubicBezTo>
                <a:cubicBezTo>
                  <a:pt x="4130" y="1194"/>
                  <a:pt x="4130" y="1194"/>
                  <a:pt x="4130" y="1194"/>
                </a:cubicBezTo>
                <a:cubicBezTo>
                  <a:pt x="4141" y="1196"/>
                  <a:pt x="4141" y="1196"/>
                  <a:pt x="4141" y="1196"/>
                </a:cubicBezTo>
                <a:cubicBezTo>
                  <a:pt x="4145" y="1206"/>
                  <a:pt x="4145" y="1206"/>
                  <a:pt x="4145" y="1206"/>
                </a:cubicBezTo>
                <a:cubicBezTo>
                  <a:pt x="4116" y="1232"/>
                  <a:pt x="4116" y="1232"/>
                  <a:pt x="4116" y="1232"/>
                </a:cubicBezTo>
                <a:cubicBezTo>
                  <a:pt x="4116" y="1242"/>
                  <a:pt x="4116" y="1242"/>
                  <a:pt x="4116" y="1242"/>
                </a:cubicBezTo>
                <a:cubicBezTo>
                  <a:pt x="4104" y="1250"/>
                  <a:pt x="4104" y="1250"/>
                  <a:pt x="4104" y="1250"/>
                </a:cubicBezTo>
                <a:cubicBezTo>
                  <a:pt x="4102" y="1272"/>
                  <a:pt x="4102" y="1272"/>
                  <a:pt x="4102" y="1272"/>
                </a:cubicBezTo>
                <a:cubicBezTo>
                  <a:pt x="4112" y="1292"/>
                  <a:pt x="4112" y="1292"/>
                  <a:pt x="4112" y="1292"/>
                </a:cubicBezTo>
                <a:cubicBezTo>
                  <a:pt x="4112" y="1312"/>
                  <a:pt x="4108" y="1326"/>
                  <a:pt x="4104" y="1334"/>
                </a:cubicBezTo>
                <a:cubicBezTo>
                  <a:pt x="4093" y="1361"/>
                  <a:pt x="4067" y="1388"/>
                  <a:pt x="4035" y="1400"/>
                </a:cubicBezTo>
                <a:cubicBezTo>
                  <a:pt x="4017" y="1407"/>
                  <a:pt x="4004" y="1407"/>
                  <a:pt x="3998" y="1419"/>
                </a:cubicBezTo>
                <a:cubicBezTo>
                  <a:pt x="3995" y="1427"/>
                  <a:pt x="3997" y="1436"/>
                  <a:pt x="3999" y="1449"/>
                </a:cubicBezTo>
                <a:cubicBezTo>
                  <a:pt x="4003" y="1469"/>
                  <a:pt x="4008" y="1471"/>
                  <a:pt x="4006" y="1480"/>
                </a:cubicBezTo>
                <a:cubicBezTo>
                  <a:pt x="4002" y="1493"/>
                  <a:pt x="3987" y="1493"/>
                  <a:pt x="3986" y="1505"/>
                </a:cubicBezTo>
                <a:cubicBezTo>
                  <a:pt x="3985" y="1512"/>
                  <a:pt x="3989" y="1519"/>
                  <a:pt x="3994" y="1523"/>
                </a:cubicBezTo>
                <a:cubicBezTo>
                  <a:pt x="4005" y="1531"/>
                  <a:pt x="4016" y="1519"/>
                  <a:pt x="4031" y="1525"/>
                </a:cubicBezTo>
                <a:cubicBezTo>
                  <a:pt x="4045" y="1530"/>
                  <a:pt x="4041" y="1544"/>
                  <a:pt x="4058" y="1558"/>
                </a:cubicBezTo>
                <a:cubicBezTo>
                  <a:pt x="4072" y="1569"/>
                  <a:pt x="4079" y="1564"/>
                  <a:pt x="4095" y="1574"/>
                </a:cubicBezTo>
                <a:cubicBezTo>
                  <a:pt x="4111" y="1583"/>
                  <a:pt x="4109" y="1589"/>
                  <a:pt x="4131" y="1614"/>
                </a:cubicBezTo>
                <a:cubicBezTo>
                  <a:pt x="4157" y="1642"/>
                  <a:pt x="4169" y="1656"/>
                  <a:pt x="4189" y="1662"/>
                </a:cubicBezTo>
                <a:cubicBezTo>
                  <a:pt x="4199" y="1666"/>
                  <a:pt x="4215" y="1668"/>
                  <a:pt x="4219" y="1680"/>
                </a:cubicBezTo>
                <a:cubicBezTo>
                  <a:pt x="4221" y="1684"/>
                  <a:pt x="4220" y="1688"/>
                  <a:pt x="4223" y="1694"/>
                </a:cubicBezTo>
                <a:cubicBezTo>
                  <a:pt x="4228" y="1703"/>
                  <a:pt x="4234" y="1702"/>
                  <a:pt x="4235" y="1707"/>
                </a:cubicBezTo>
                <a:cubicBezTo>
                  <a:pt x="4237" y="1715"/>
                  <a:pt x="4223" y="1719"/>
                  <a:pt x="4220" y="1731"/>
                </a:cubicBezTo>
                <a:cubicBezTo>
                  <a:pt x="4218" y="1740"/>
                  <a:pt x="4224" y="1743"/>
                  <a:pt x="4226" y="1755"/>
                </a:cubicBezTo>
                <a:cubicBezTo>
                  <a:pt x="4230" y="1776"/>
                  <a:pt x="4218" y="1800"/>
                  <a:pt x="4205" y="1803"/>
                </a:cubicBezTo>
                <a:cubicBezTo>
                  <a:pt x="4199" y="1804"/>
                  <a:pt x="4195" y="1801"/>
                  <a:pt x="4192" y="1804"/>
                </a:cubicBezTo>
                <a:cubicBezTo>
                  <a:pt x="4189" y="1807"/>
                  <a:pt x="4192" y="1811"/>
                  <a:pt x="4189" y="1819"/>
                </a:cubicBezTo>
                <a:cubicBezTo>
                  <a:pt x="4187" y="1826"/>
                  <a:pt x="4183" y="1826"/>
                  <a:pt x="4182" y="1831"/>
                </a:cubicBezTo>
                <a:cubicBezTo>
                  <a:pt x="4182" y="1836"/>
                  <a:pt x="4188" y="1838"/>
                  <a:pt x="4192" y="1845"/>
                </a:cubicBezTo>
                <a:cubicBezTo>
                  <a:pt x="4201" y="1858"/>
                  <a:pt x="4190" y="1869"/>
                  <a:pt x="4198" y="1881"/>
                </a:cubicBezTo>
                <a:cubicBezTo>
                  <a:pt x="4202" y="1888"/>
                  <a:pt x="4208" y="1889"/>
                  <a:pt x="4208" y="1894"/>
                </a:cubicBezTo>
                <a:cubicBezTo>
                  <a:pt x="4209" y="1900"/>
                  <a:pt x="4202" y="1903"/>
                  <a:pt x="4202" y="1908"/>
                </a:cubicBezTo>
                <a:cubicBezTo>
                  <a:pt x="4203" y="1914"/>
                  <a:pt x="4213" y="1918"/>
                  <a:pt x="4220" y="1921"/>
                </a:cubicBezTo>
                <a:cubicBezTo>
                  <a:pt x="4238" y="1927"/>
                  <a:pt x="4243" y="1922"/>
                  <a:pt x="4254" y="1928"/>
                </a:cubicBezTo>
                <a:cubicBezTo>
                  <a:pt x="4263" y="1933"/>
                  <a:pt x="4272" y="1944"/>
                  <a:pt x="4271" y="1954"/>
                </a:cubicBezTo>
                <a:cubicBezTo>
                  <a:pt x="4269" y="1965"/>
                  <a:pt x="4253" y="1967"/>
                  <a:pt x="4254" y="1976"/>
                </a:cubicBezTo>
                <a:cubicBezTo>
                  <a:pt x="4254" y="1984"/>
                  <a:pt x="4267" y="1986"/>
                  <a:pt x="4267" y="1994"/>
                </a:cubicBezTo>
                <a:cubicBezTo>
                  <a:pt x="4267" y="1999"/>
                  <a:pt x="4262" y="2000"/>
                  <a:pt x="4258" y="2005"/>
                </a:cubicBezTo>
                <a:cubicBezTo>
                  <a:pt x="4251" y="2015"/>
                  <a:pt x="4249" y="2032"/>
                  <a:pt x="4256" y="2040"/>
                </a:cubicBezTo>
                <a:cubicBezTo>
                  <a:pt x="4262" y="2048"/>
                  <a:pt x="4270" y="2042"/>
                  <a:pt x="4280" y="2050"/>
                </a:cubicBezTo>
                <a:cubicBezTo>
                  <a:pt x="4292" y="2060"/>
                  <a:pt x="4296" y="2083"/>
                  <a:pt x="4288" y="2095"/>
                </a:cubicBezTo>
                <a:cubicBezTo>
                  <a:pt x="4282" y="2102"/>
                  <a:pt x="4274" y="2101"/>
                  <a:pt x="4272" y="2108"/>
                </a:cubicBezTo>
                <a:cubicBezTo>
                  <a:pt x="4271" y="2114"/>
                  <a:pt x="4278" y="2117"/>
                  <a:pt x="4278" y="2124"/>
                </a:cubicBezTo>
                <a:cubicBezTo>
                  <a:pt x="4277" y="2132"/>
                  <a:pt x="4269" y="2133"/>
                  <a:pt x="4264" y="2142"/>
                </a:cubicBezTo>
                <a:cubicBezTo>
                  <a:pt x="4257" y="2155"/>
                  <a:pt x="4270" y="2164"/>
                  <a:pt x="4265" y="2180"/>
                </a:cubicBezTo>
                <a:cubicBezTo>
                  <a:pt x="4263" y="2190"/>
                  <a:pt x="4254" y="2197"/>
                  <a:pt x="4237" y="2212"/>
                </a:cubicBezTo>
                <a:cubicBezTo>
                  <a:pt x="4219" y="2227"/>
                  <a:pt x="4211" y="2229"/>
                  <a:pt x="4209" y="2239"/>
                </a:cubicBezTo>
                <a:cubicBezTo>
                  <a:pt x="4208" y="2247"/>
                  <a:pt x="4211" y="2256"/>
                  <a:pt x="4217" y="2261"/>
                </a:cubicBezTo>
                <a:cubicBezTo>
                  <a:pt x="4225" y="2267"/>
                  <a:pt x="4233" y="2262"/>
                  <a:pt x="4239" y="2268"/>
                </a:cubicBezTo>
                <a:cubicBezTo>
                  <a:pt x="4247" y="2275"/>
                  <a:pt x="4238" y="2288"/>
                  <a:pt x="4241" y="2304"/>
                </a:cubicBezTo>
                <a:cubicBezTo>
                  <a:pt x="4245" y="2321"/>
                  <a:pt x="4257" y="2321"/>
                  <a:pt x="4275" y="2343"/>
                </a:cubicBezTo>
                <a:cubicBezTo>
                  <a:pt x="4282" y="2352"/>
                  <a:pt x="4304" y="2381"/>
                  <a:pt x="4296" y="2403"/>
                </a:cubicBezTo>
                <a:cubicBezTo>
                  <a:pt x="4290" y="2416"/>
                  <a:pt x="4277" y="2415"/>
                  <a:pt x="4271" y="2431"/>
                </a:cubicBezTo>
                <a:cubicBezTo>
                  <a:pt x="4268" y="2440"/>
                  <a:pt x="4268" y="2453"/>
                  <a:pt x="4275" y="2462"/>
                </a:cubicBezTo>
                <a:cubicBezTo>
                  <a:pt x="4282" y="2469"/>
                  <a:pt x="4289" y="2465"/>
                  <a:pt x="4308" y="2471"/>
                </a:cubicBezTo>
                <a:cubicBezTo>
                  <a:pt x="4326" y="2477"/>
                  <a:pt x="4324" y="2482"/>
                  <a:pt x="4343" y="2489"/>
                </a:cubicBezTo>
                <a:cubicBezTo>
                  <a:pt x="4365" y="2497"/>
                  <a:pt x="4372" y="2492"/>
                  <a:pt x="4380" y="2500"/>
                </a:cubicBezTo>
                <a:cubicBezTo>
                  <a:pt x="4384" y="2504"/>
                  <a:pt x="4382" y="2505"/>
                  <a:pt x="4391" y="2536"/>
                </a:cubicBezTo>
                <a:cubicBezTo>
                  <a:pt x="4396" y="2553"/>
                  <a:pt x="4397" y="2558"/>
                  <a:pt x="4397" y="2566"/>
                </a:cubicBezTo>
                <a:cubicBezTo>
                  <a:pt x="4397" y="2578"/>
                  <a:pt x="4393" y="2579"/>
                  <a:pt x="4394" y="2588"/>
                </a:cubicBezTo>
                <a:cubicBezTo>
                  <a:pt x="4395" y="2602"/>
                  <a:pt x="4405" y="2607"/>
                  <a:pt x="4414" y="2623"/>
                </a:cubicBezTo>
                <a:cubicBezTo>
                  <a:pt x="4415" y="2624"/>
                  <a:pt x="4428" y="2645"/>
                  <a:pt x="4428" y="2667"/>
                </a:cubicBezTo>
                <a:cubicBezTo>
                  <a:pt x="4428" y="2691"/>
                  <a:pt x="4414" y="2690"/>
                  <a:pt x="4408" y="2722"/>
                </a:cubicBezTo>
                <a:cubicBezTo>
                  <a:pt x="4402" y="2748"/>
                  <a:pt x="4410" y="2760"/>
                  <a:pt x="4398" y="2780"/>
                </a:cubicBezTo>
                <a:cubicBezTo>
                  <a:pt x="4393" y="2790"/>
                  <a:pt x="4390" y="2788"/>
                  <a:pt x="4385" y="2799"/>
                </a:cubicBezTo>
                <a:cubicBezTo>
                  <a:pt x="4375" y="2817"/>
                  <a:pt x="4382" y="2826"/>
                  <a:pt x="4376" y="2847"/>
                </a:cubicBezTo>
                <a:cubicBezTo>
                  <a:pt x="4375" y="2853"/>
                  <a:pt x="4368" y="2879"/>
                  <a:pt x="4347" y="2897"/>
                </a:cubicBezTo>
                <a:cubicBezTo>
                  <a:pt x="4336" y="2906"/>
                  <a:pt x="4324" y="2911"/>
                  <a:pt x="4323" y="2922"/>
                </a:cubicBezTo>
                <a:cubicBezTo>
                  <a:pt x="4322" y="2929"/>
                  <a:pt x="4326" y="2932"/>
                  <a:pt x="4324" y="2938"/>
                </a:cubicBezTo>
                <a:cubicBezTo>
                  <a:pt x="4322" y="2946"/>
                  <a:pt x="4316" y="2946"/>
                  <a:pt x="4312" y="2954"/>
                </a:cubicBezTo>
                <a:cubicBezTo>
                  <a:pt x="4309" y="2958"/>
                  <a:pt x="4307" y="2964"/>
                  <a:pt x="4308" y="2973"/>
                </a:cubicBezTo>
                <a:cubicBezTo>
                  <a:pt x="4288" y="2964"/>
                  <a:pt x="4288" y="2964"/>
                  <a:pt x="4288" y="2964"/>
                </a:cubicBezTo>
                <a:cubicBezTo>
                  <a:pt x="4271" y="2966"/>
                  <a:pt x="4271" y="2966"/>
                  <a:pt x="4271" y="2966"/>
                </a:cubicBezTo>
                <a:cubicBezTo>
                  <a:pt x="4262" y="2958"/>
                  <a:pt x="4262" y="2958"/>
                  <a:pt x="4262" y="2958"/>
                </a:cubicBezTo>
                <a:cubicBezTo>
                  <a:pt x="4241" y="2950"/>
                  <a:pt x="4241" y="2950"/>
                  <a:pt x="4241" y="2950"/>
                </a:cubicBezTo>
                <a:cubicBezTo>
                  <a:pt x="4227" y="2941"/>
                  <a:pt x="4227" y="2941"/>
                  <a:pt x="4227" y="2941"/>
                </a:cubicBezTo>
                <a:cubicBezTo>
                  <a:pt x="4239" y="2908"/>
                  <a:pt x="4239" y="2908"/>
                  <a:pt x="4239" y="2908"/>
                </a:cubicBezTo>
                <a:cubicBezTo>
                  <a:pt x="4241" y="2894"/>
                  <a:pt x="4241" y="2894"/>
                  <a:pt x="4241" y="2894"/>
                </a:cubicBezTo>
                <a:cubicBezTo>
                  <a:pt x="4237" y="2886"/>
                  <a:pt x="4237" y="2886"/>
                  <a:pt x="4237" y="2886"/>
                </a:cubicBezTo>
                <a:cubicBezTo>
                  <a:pt x="4237" y="2886"/>
                  <a:pt x="4206" y="2902"/>
                  <a:pt x="4205" y="2902"/>
                </a:cubicBezTo>
                <a:cubicBezTo>
                  <a:pt x="4204" y="2902"/>
                  <a:pt x="4199" y="2892"/>
                  <a:pt x="4199" y="2892"/>
                </a:cubicBezTo>
                <a:cubicBezTo>
                  <a:pt x="4213" y="2866"/>
                  <a:pt x="4213" y="2866"/>
                  <a:pt x="4213" y="2866"/>
                </a:cubicBezTo>
                <a:cubicBezTo>
                  <a:pt x="4215" y="2852"/>
                  <a:pt x="4215" y="2852"/>
                  <a:pt x="4215" y="2852"/>
                </a:cubicBezTo>
                <a:cubicBezTo>
                  <a:pt x="4199" y="2835"/>
                  <a:pt x="4199" y="2835"/>
                  <a:pt x="4199" y="2835"/>
                </a:cubicBezTo>
                <a:cubicBezTo>
                  <a:pt x="4185" y="2835"/>
                  <a:pt x="4185" y="2835"/>
                  <a:pt x="4185" y="2835"/>
                </a:cubicBezTo>
                <a:cubicBezTo>
                  <a:pt x="4171" y="2828"/>
                  <a:pt x="4171" y="2828"/>
                  <a:pt x="4171" y="2828"/>
                </a:cubicBezTo>
                <a:cubicBezTo>
                  <a:pt x="4177" y="2810"/>
                  <a:pt x="4177" y="2810"/>
                  <a:pt x="4177" y="2810"/>
                </a:cubicBezTo>
                <a:cubicBezTo>
                  <a:pt x="4164" y="2805"/>
                  <a:pt x="4164" y="2805"/>
                  <a:pt x="4164" y="2805"/>
                </a:cubicBezTo>
                <a:cubicBezTo>
                  <a:pt x="4156" y="2825"/>
                  <a:pt x="4156" y="2825"/>
                  <a:pt x="4156" y="2825"/>
                </a:cubicBezTo>
                <a:cubicBezTo>
                  <a:pt x="4145" y="2813"/>
                  <a:pt x="4145" y="2813"/>
                  <a:pt x="4145" y="2813"/>
                </a:cubicBezTo>
                <a:cubicBezTo>
                  <a:pt x="4132" y="2825"/>
                  <a:pt x="4132" y="2825"/>
                  <a:pt x="4132" y="2825"/>
                </a:cubicBezTo>
                <a:cubicBezTo>
                  <a:pt x="4118" y="2826"/>
                  <a:pt x="4118" y="2826"/>
                  <a:pt x="4118" y="2826"/>
                </a:cubicBezTo>
                <a:cubicBezTo>
                  <a:pt x="4099" y="2807"/>
                  <a:pt x="4099" y="2807"/>
                  <a:pt x="4099" y="2807"/>
                </a:cubicBezTo>
                <a:cubicBezTo>
                  <a:pt x="4091" y="2812"/>
                  <a:pt x="4091" y="2812"/>
                  <a:pt x="4091" y="2812"/>
                </a:cubicBezTo>
                <a:cubicBezTo>
                  <a:pt x="4072" y="2795"/>
                  <a:pt x="4072" y="2795"/>
                  <a:pt x="4072" y="2795"/>
                </a:cubicBezTo>
                <a:cubicBezTo>
                  <a:pt x="4060" y="2809"/>
                  <a:pt x="4060" y="2809"/>
                  <a:pt x="4060" y="2809"/>
                </a:cubicBezTo>
                <a:cubicBezTo>
                  <a:pt x="4063" y="2826"/>
                  <a:pt x="4063" y="2826"/>
                  <a:pt x="4063" y="2826"/>
                </a:cubicBezTo>
                <a:cubicBezTo>
                  <a:pt x="4053" y="2833"/>
                  <a:pt x="4053" y="2833"/>
                  <a:pt x="4053" y="2833"/>
                </a:cubicBezTo>
                <a:cubicBezTo>
                  <a:pt x="4051" y="2847"/>
                  <a:pt x="4051" y="2847"/>
                  <a:pt x="4051" y="2847"/>
                </a:cubicBezTo>
                <a:cubicBezTo>
                  <a:pt x="4063" y="2856"/>
                  <a:pt x="4063" y="2856"/>
                  <a:pt x="4063" y="2856"/>
                </a:cubicBezTo>
                <a:cubicBezTo>
                  <a:pt x="4075" y="2847"/>
                  <a:pt x="4075" y="2847"/>
                  <a:pt x="4075" y="2847"/>
                </a:cubicBezTo>
                <a:cubicBezTo>
                  <a:pt x="4089" y="2855"/>
                  <a:pt x="4089" y="2855"/>
                  <a:pt x="4089" y="2855"/>
                </a:cubicBezTo>
                <a:cubicBezTo>
                  <a:pt x="4076" y="2865"/>
                  <a:pt x="4076" y="2865"/>
                  <a:pt x="4076" y="2865"/>
                </a:cubicBezTo>
                <a:cubicBezTo>
                  <a:pt x="4077" y="2874"/>
                  <a:pt x="4077" y="2874"/>
                  <a:pt x="4077" y="2874"/>
                </a:cubicBezTo>
                <a:cubicBezTo>
                  <a:pt x="4102" y="2880"/>
                  <a:pt x="4102" y="2880"/>
                  <a:pt x="4102" y="2880"/>
                </a:cubicBezTo>
                <a:cubicBezTo>
                  <a:pt x="4124" y="2885"/>
                  <a:pt x="4124" y="2885"/>
                  <a:pt x="4124" y="2885"/>
                </a:cubicBezTo>
                <a:cubicBezTo>
                  <a:pt x="4115" y="2915"/>
                  <a:pt x="4115" y="2915"/>
                  <a:pt x="4115" y="2915"/>
                </a:cubicBezTo>
                <a:cubicBezTo>
                  <a:pt x="4065" y="2924"/>
                  <a:pt x="4065" y="2924"/>
                  <a:pt x="4065" y="2924"/>
                </a:cubicBezTo>
                <a:cubicBezTo>
                  <a:pt x="4053" y="2915"/>
                  <a:pt x="4053" y="2915"/>
                  <a:pt x="4053" y="2915"/>
                </a:cubicBezTo>
                <a:cubicBezTo>
                  <a:pt x="4039" y="2923"/>
                  <a:pt x="4039" y="2923"/>
                  <a:pt x="4039" y="2923"/>
                </a:cubicBezTo>
                <a:cubicBezTo>
                  <a:pt x="4041" y="2934"/>
                  <a:pt x="4041" y="2934"/>
                  <a:pt x="4041" y="2934"/>
                </a:cubicBezTo>
                <a:cubicBezTo>
                  <a:pt x="4024" y="2950"/>
                  <a:pt x="4024" y="2950"/>
                  <a:pt x="4024" y="2950"/>
                </a:cubicBezTo>
                <a:cubicBezTo>
                  <a:pt x="4006" y="2952"/>
                  <a:pt x="4006" y="2952"/>
                  <a:pt x="4006" y="2952"/>
                </a:cubicBezTo>
                <a:cubicBezTo>
                  <a:pt x="3977" y="2965"/>
                  <a:pt x="3977" y="2965"/>
                  <a:pt x="3977" y="2965"/>
                </a:cubicBezTo>
                <a:cubicBezTo>
                  <a:pt x="3959" y="2980"/>
                  <a:pt x="3959" y="2980"/>
                  <a:pt x="3959" y="2980"/>
                </a:cubicBezTo>
                <a:cubicBezTo>
                  <a:pt x="3951" y="2976"/>
                  <a:pt x="3951" y="2976"/>
                  <a:pt x="3951" y="2976"/>
                </a:cubicBezTo>
                <a:cubicBezTo>
                  <a:pt x="3940" y="2980"/>
                  <a:pt x="3940" y="2980"/>
                  <a:pt x="3940" y="2980"/>
                </a:cubicBezTo>
                <a:cubicBezTo>
                  <a:pt x="3924" y="2972"/>
                  <a:pt x="3924" y="2972"/>
                  <a:pt x="3924" y="2972"/>
                </a:cubicBezTo>
                <a:cubicBezTo>
                  <a:pt x="3896" y="2995"/>
                  <a:pt x="3896" y="2995"/>
                  <a:pt x="3896" y="2995"/>
                </a:cubicBezTo>
                <a:cubicBezTo>
                  <a:pt x="3880" y="2995"/>
                  <a:pt x="3880" y="2995"/>
                  <a:pt x="3880" y="2995"/>
                </a:cubicBezTo>
                <a:cubicBezTo>
                  <a:pt x="3874" y="3011"/>
                  <a:pt x="3874" y="3011"/>
                  <a:pt x="3874" y="3011"/>
                </a:cubicBezTo>
                <a:cubicBezTo>
                  <a:pt x="3878" y="3021"/>
                  <a:pt x="3878" y="3021"/>
                  <a:pt x="3878" y="3021"/>
                </a:cubicBezTo>
                <a:cubicBezTo>
                  <a:pt x="3874" y="3030"/>
                  <a:pt x="3874" y="3030"/>
                  <a:pt x="3874" y="3030"/>
                </a:cubicBezTo>
                <a:cubicBezTo>
                  <a:pt x="3861" y="3030"/>
                  <a:pt x="3861" y="3030"/>
                  <a:pt x="3861" y="3030"/>
                </a:cubicBezTo>
                <a:cubicBezTo>
                  <a:pt x="3860" y="3040"/>
                  <a:pt x="3860" y="3040"/>
                  <a:pt x="3860" y="3040"/>
                </a:cubicBezTo>
                <a:cubicBezTo>
                  <a:pt x="3845" y="3043"/>
                  <a:pt x="3845" y="3043"/>
                  <a:pt x="3845" y="3043"/>
                </a:cubicBezTo>
                <a:cubicBezTo>
                  <a:pt x="3832" y="3035"/>
                  <a:pt x="3832" y="3035"/>
                  <a:pt x="3832" y="3035"/>
                </a:cubicBezTo>
                <a:cubicBezTo>
                  <a:pt x="3816" y="3032"/>
                  <a:pt x="3816" y="3032"/>
                  <a:pt x="3816" y="3032"/>
                </a:cubicBezTo>
                <a:cubicBezTo>
                  <a:pt x="3804" y="3042"/>
                  <a:pt x="3804" y="3042"/>
                  <a:pt x="3804" y="3042"/>
                </a:cubicBezTo>
                <a:cubicBezTo>
                  <a:pt x="3796" y="3038"/>
                  <a:pt x="3796" y="3038"/>
                  <a:pt x="3796" y="3038"/>
                </a:cubicBezTo>
                <a:cubicBezTo>
                  <a:pt x="3781" y="3048"/>
                  <a:pt x="3781" y="3048"/>
                  <a:pt x="3781" y="3048"/>
                </a:cubicBezTo>
                <a:cubicBezTo>
                  <a:pt x="3766" y="3035"/>
                  <a:pt x="3766" y="3035"/>
                  <a:pt x="3766" y="3035"/>
                </a:cubicBezTo>
                <a:cubicBezTo>
                  <a:pt x="3736" y="3052"/>
                  <a:pt x="3736" y="3052"/>
                  <a:pt x="3736" y="3052"/>
                </a:cubicBezTo>
                <a:cubicBezTo>
                  <a:pt x="3712" y="3050"/>
                  <a:pt x="3712" y="3050"/>
                  <a:pt x="3712" y="3050"/>
                </a:cubicBezTo>
                <a:cubicBezTo>
                  <a:pt x="3699" y="3059"/>
                  <a:pt x="3699" y="3059"/>
                  <a:pt x="3699" y="3059"/>
                </a:cubicBezTo>
                <a:cubicBezTo>
                  <a:pt x="3706" y="3080"/>
                  <a:pt x="3706" y="3080"/>
                  <a:pt x="3706" y="3080"/>
                </a:cubicBezTo>
                <a:cubicBezTo>
                  <a:pt x="3693" y="3096"/>
                  <a:pt x="3693" y="3096"/>
                  <a:pt x="3693" y="3096"/>
                </a:cubicBezTo>
                <a:cubicBezTo>
                  <a:pt x="3699" y="3102"/>
                  <a:pt x="3699" y="3102"/>
                  <a:pt x="3699" y="3102"/>
                </a:cubicBezTo>
                <a:cubicBezTo>
                  <a:pt x="3667" y="3131"/>
                  <a:pt x="3667" y="3131"/>
                  <a:pt x="3667" y="3131"/>
                </a:cubicBezTo>
                <a:cubicBezTo>
                  <a:pt x="3626" y="3096"/>
                  <a:pt x="3626" y="3096"/>
                  <a:pt x="3626" y="3096"/>
                </a:cubicBezTo>
                <a:cubicBezTo>
                  <a:pt x="3627" y="3114"/>
                  <a:pt x="3627" y="3114"/>
                  <a:pt x="3627" y="3114"/>
                </a:cubicBezTo>
                <a:cubicBezTo>
                  <a:pt x="3601" y="3129"/>
                  <a:pt x="3601" y="3129"/>
                  <a:pt x="3601" y="3129"/>
                </a:cubicBezTo>
                <a:cubicBezTo>
                  <a:pt x="3601" y="3146"/>
                  <a:pt x="3601" y="3146"/>
                  <a:pt x="3601" y="3146"/>
                </a:cubicBezTo>
                <a:cubicBezTo>
                  <a:pt x="3589" y="3149"/>
                  <a:pt x="3589" y="3149"/>
                  <a:pt x="3589" y="3149"/>
                </a:cubicBezTo>
                <a:cubicBezTo>
                  <a:pt x="3571" y="3136"/>
                  <a:pt x="3571" y="3136"/>
                  <a:pt x="3571" y="3136"/>
                </a:cubicBezTo>
                <a:cubicBezTo>
                  <a:pt x="3553" y="3160"/>
                  <a:pt x="3553" y="3160"/>
                  <a:pt x="3553" y="3160"/>
                </a:cubicBezTo>
                <a:cubicBezTo>
                  <a:pt x="3557" y="3168"/>
                  <a:pt x="3557" y="3168"/>
                  <a:pt x="3557" y="3168"/>
                </a:cubicBezTo>
                <a:cubicBezTo>
                  <a:pt x="3536" y="3201"/>
                  <a:pt x="3536" y="3201"/>
                  <a:pt x="3536" y="3201"/>
                </a:cubicBezTo>
                <a:cubicBezTo>
                  <a:pt x="3518" y="3198"/>
                  <a:pt x="3518" y="3198"/>
                  <a:pt x="3518" y="3198"/>
                </a:cubicBezTo>
                <a:cubicBezTo>
                  <a:pt x="3510" y="3192"/>
                  <a:pt x="3510" y="3192"/>
                  <a:pt x="3510" y="3192"/>
                </a:cubicBezTo>
                <a:cubicBezTo>
                  <a:pt x="3493" y="3203"/>
                  <a:pt x="3493" y="3203"/>
                  <a:pt x="3493" y="3203"/>
                </a:cubicBezTo>
                <a:cubicBezTo>
                  <a:pt x="3479" y="3205"/>
                  <a:pt x="3479" y="3205"/>
                  <a:pt x="3479" y="3205"/>
                </a:cubicBezTo>
                <a:cubicBezTo>
                  <a:pt x="3463" y="3196"/>
                  <a:pt x="3463" y="3196"/>
                  <a:pt x="3463" y="3196"/>
                </a:cubicBezTo>
                <a:cubicBezTo>
                  <a:pt x="3454" y="3227"/>
                  <a:pt x="3454" y="3227"/>
                  <a:pt x="3454" y="3227"/>
                </a:cubicBezTo>
                <a:cubicBezTo>
                  <a:pt x="3456" y="3241"/>
                  <a:pt x="3456" y="3241"/>
                  <a:pt x="3456" y="3241"/>
                </a:cubicBezTo>
                <a:cubicBezTo>
                  <a:pt x="3436" y="3266"/>
                  <a:pt x="3436" y="3266"/>
                  <a:pt x="3436" y="3266"/>
                </a:cubicBezTo>
                <a:cubicBezTo>
                  <a:pt x="3413" y="3270"/>
                  <a:pt x="3413" y="3270"/>
                  <a:pt x="3413" y="3270"/>
                </a:cubicBezTo>
                <a:cubicBezTo>
                  <a:pt x="3401" y="3260"/>
                  <a:pt x="3401" y="3260"/>
                  <a:pt x="3401" y="3260"/>
                </a:cubicBezTo>
                <a:cubicBezTo>
                  <a:pt x="3361" y="3235"/>
                  <a:pt x="3361" y="3235"/>
                  <a:pt x="3361" y="3235"/>
                </a:cubicBezTo>
                <a:cubicBezTo>
                  <a:pt x="3350" y="3248"/>
                  <a:pt x="3350" y="3248"/>
                  <a:pt x="3350" y="3248"/>
                </a:cubicBezTo>
                <a:cubicBezTo>
                  <a:pt x="3339" y="3245"/>
                  <a:pt x="3339" y="3245"/>
                  <a:pt x="3339" y="3245"/>
                </a:cubicBezTo>
                <a:cubicBezTo>
                  <a:pt x="3315" y="3261"/>
                  <a:pt x="3315" y="3261"/>
                  <a:pt x="3315" y="3261"/>
                </a:cubicBezTo>
                <a:cubicBezTo>
                  <a:pt x="3303" y="3279"/>
                  <a:pt x="3303" y="3279"/>
                  <a:pt x="3303" y="3279"/>
                </a:cubicBezTo>
                <a:cubicBezTo>
                  <a:pt x="3284" y="3267"/>
                  <a:pt x="3284" y="3267"/>
                  <a:pt x="3284" y="3267"/>
                </a:cubicBezTo>
                <a:cubicBezTo>
                  <a:pt x="3271" y="3271"/>
                  <a:pt x="3271" y="3271"/>
                  <a:pt x="3271" y="3271"/>
                </a:cubicBezTo>
                <a:cubicBezTo>
                  <a:pt x="3263" y="3264"/>
                  <a:pt x="3263" y="3264"/>
                  <a:pt x="3263" y="3264"/>
                </a:cubicBezTo>
                <a:cubicBezTo>
                  <a:pt x="3254" y="3273"/>
                  <a:pt x="3254" y="3273"/>
                  <a:pt x="3254" y="3273"/>
                </a:cubicBezTo>
                <a:cubicBezTo>
                  <a:pt x="3235" y="3277"/>
                  <a:pt x="3235" y="3277"/>
                  <a:pt x="3235" y="3277"/>
                </a:cubicBezTo>
                <a:cubicBezTo>
                  <a:pt x="3215" y="3280"/>
                  <a:pt x="3215" y="3280"/>
                  <a:pt x="3215" y="3280"/>
                </a:cubicBezTo>
                <a:cubicBezTo>
                  <a:pt x="3202" y="3292"/>
                  <a:pt x="3202" y="3292"/>
                  <a:pt x="3202" y="3292"/>
                </a:cubicBezTo>
                <a:cubicBezTo>
                  <a:pt x="3198" y="3319"/>
                  <a:pt x="3198" y="3319"/>
                  <a:pt x="3198" y="3319"/>
                </a:cubicBezTo>
                <a:cubicBezTo>
                  <a:pt x="3181" y="3319"/>
                  <a:pt x="3181" y="3319"/>
                  <a:pt x="3181" y="3319"/>
                </a:cubicBezTo>
                <a:cubicBezTo>
                  <a:pt x="3175" y="3331"/>
                  <a:pt x="3175" y="3331"/>
                  <a:pt x="3175" y="3331"/>
                </a:cubicBezTo>
                <a:cubicBezTo>
                  <a:pt x="3156" y="3335"/>
                  <a:pt x="3156" y="3335"/>
                  <a:pt x="3156" y="3335"/>
                </a:cubicBezTo>
                <a:cubicBezTo>
                  <a:pt x="3157" y="3354"/>
                  <a:pt x="3157" y="3354"/>
                  <a:pt x="3157" y="3354"/>
                </a:cubicBezTo>
                <a:cubicBezTo>
                  <a:pt x="3142" y="3361"/>
                  <a:pt x="3142" y="3361"/>
                  <a:pt x="3142" y="3361"/>
                </a:cubicBezTo>
                <a:cubicBezTo>
                  <a:pt x="3132" y="3381"/>
                  <a:pt x="3132" y="3381"/>
                  <a:pt x="3132" y="3381"/>
                </a:cubicBezTo>
                <a:cubicBezTo>
                  <a:pt x="3137" y="3392"/>
                  <a:pt x="3137" y="3392"/>
                  <a:pt x="3137" y="3392"/>
                </a:cubicBezTo>
                <a:cubicBezTo>
                  <a:pt x="3135" y="3398"/>
                  <a:pt x="3135" y="3398"/>
                  <a:pt x="3135" y="3398"/>
                </a:cubicBezTo>
                <a:cubicBezTo>
                  <a:pt x="3125" y="3398"/>
                  <a:pt x="3125" y="3398"/>
                  <a:pt x="3125" y="3398"/>
                </a:cubicBezTo>
                <a:cubicBezTo>
                  <a:pt x="3123" y="3401"/>
                  <a:pt x="3123" y="3401"/>
                  <a:pt x="3123" y="3401"/>
                </a:cubicBezTo>
                <a:cubicBezTo>
                  <a:pt x="3127" y="3411"/>
                  <a:pt x="3127" y="3411"/>
                  <a:pt x="3127" y="3411"/>
                </a:cubicBezTo>
                <a:cubicBezTo>
                  <a:pt x="3121" y="3418"/>
                  <a:pt x="3121" y="3418"/>
                  <a:pt x="3121" y="3418"/>
                </a:cubicBezTo>
                <a:cubicBezTo>
                  <a:pt x="3127" y="3425"/>
                  <a:pt x="3127" y="3425"/>
                  <a:pt x="3127" y="3425"/>
                </a:cubicBezTo>
                <a:cubicBezTo>
                  <a:pt x="3117" y="3441"/>
                  <a:pt x="3117" y="3441"/>
                  <a:pt x="3117" y="3441"/>
                </a:cubicBezTo>
                <a:cubicBezTo>
                  <a:pt x="3107" y="3440"/>
                  <a:pt x="3107" y="3440"/>
                  <a:pt x="3107" y="3440"/>
                </a:cubicBezTo>
                <a:cubicBezTo>
                  <a:pt x="3099" y="3427"/>
                  <a:pt x="3099" y="3427"/>
                  <a:pt x="3099" y="3427"/>
                </a:cubicBezTo>
                <a:cubicBezTo>
                  <a:pt x="3103" y="3403"/>
                  <a:pt x="3103" y="3403"/>
                  <a:pt x="3103" y="3403"/>
                </a:cubicBezTo>
                <a:cubicBezTo>
                  <a:pt x="3080" y="3391"/>
                  <a:pt x="3080" y="3391"/>
                  <a:pt x="3080" y="3391"/>
                </a:cubicBezTo>
                <a:cubicBezTo>
                  <a:pt x="3094" y="3383"/>
                  <a:pt x="3094" y="3383"/>
                  <a:pt x="3094" y="3383"/>
                </a:cubicBezTo>
                <a:cubicBezTo>
                  <a:pt x="3087" y="3373"/>
                  <a:pt x="3087" y="3373"/>
                  <a:pt x="3087" y="3373"/>
                </a:cubicBezTo>
                <a:cubicBezTo>
                  <a:pt x="3062" y="3370"/>
                  <a:pt x="3062" y="3370"/>
                  <a:pt x="3062" y="3370"/>
                </a:cubicBezTo>
                <a:cubicBezTo>
                  <a:pt x="3053" y="3335"/>
                  <a:pt x="3053" y="3335"/>
                  <a:pt x="3053" y="3335"/>
                </a:cubicBezTo>
                <a:cubicBezTo>
                  <a:pt x="3022" y="3339"/>
                  <a:pt x="3022" y="3339"/>
                  <a:pt x="3022" y="3339"/>
                </a:cubicBezTo>
                <a:cubicBezTo>
                  <a:pt x="3023" y="3353"/>
                  <a:pt x="3023" y="3353"/>
                  <a:pt x="3023" y="3353"/>
                </a:cubicBezTo>
                <a:cubicBezTo>
                  <a:pt x="3031" y="3366"/>
                  <a:pt x="3031" y="3366"/>
                  <a:pt x="3031" y="3366"/>
                </a:cubicBezTo>
                <a:cubicBezTo>
                  <a:pt x="3007" y="3385"/>
                  <a:pt x="3007" y="3385"/>
                  <a:pt x="3007" y="3385"/>
                </a:cubicBezTo>
                <a:cubicBezTo>
                  <a:pt x="3017" y="3396"/>
                  <a:pt x="3017" y="3396"/>
                  <a:pt x="3017" y="3396"/>
                </a:cubicBezTo>
                <a:cubicBezTo>
                  <a:pt x="3041" y="3402"/>
                  <a:pt x="3041" y="3402"/>
                  <a:pt x="3041" y="3402"/>
                </a:cubicBezTo>
                <a:cubicBezTo>
                  <a:pt x="3045" y="3414"/>
                  <a:pt x="3045" y="3414"/>
                  <a:pt x="3045" y="3414"/>
                </a:cubicBezTo>
                <a:cubicBezTo>
                  <a:pt x="3060" y="3426"/>
                  <a:pt x="3060" y="3426"/>
                  <a:pt x="3060" y="3426"/>
                </a:cubicBezTo>
                <a:cubicBezTo>
                  <a:pt x="3066" y="3450"/>
                  <a:pt x="3066" y="3450"/>
                  <a:pt x="3066" y="3450"/>
                </a:cubicBezTo>
                <a:cubicBezTo>
                  <a:pt x="3057" y="3464"/>
                  <a:pt x="3057" y="3464"/>
                  <a:pt x="3057" y="3464"/>
                </a:cubicBezTo>
                <a:cubicBezTo>
                  <a:pt x="3065" y="3487"/>
                  <a:pt x="3065" y="3487"/>
                  <a:pt x="3065" y="3487"/>
                </a:cubicBezTo>
                <a:cubicBezTo>
                  <a:pt x="3074" y="3490"/>
                  <a:pt x="3074" y="3490"/>
                  <a:pt x="3074" y="3490"/>
                </a:cubicBezTo>
                <a:cubicBezTo>
                  <a:pt x="3092" y="3512"/>
                  <a:pt x="3092" y="3512"/>
                  <a:pt x="3092" y="3512"/>
                </a:cubicBezTo>
                <a:cubicBezTo>
                  <a:pt x="3087" y="3520"/>
                  <a:pt x="3087" y="3520"/>
                  <a:pt x="3087" y="3520"/>
                </a:cubicBezTo>
                <a:cubicBezTo>
                  <a:pt x="3118" y="3526"/>
                  <a:pt x="3118" y="3526"/>
                  <a:pt x="3118" y="3526"/>
                </a:cubicBezTo>
                <a:cubicBezTo>
                  <a:pt x="3119" y="3541"/>
                  <a:pt x="3119" y="3541"/>
                  <a:pt x="3119" y="3541"/>
                </a:cubicBezTo>
                <a:cubicBezTo>
                  <a:pt x="3129" y="3541"/>
                  <a:pt x="3129" y="3541"/>
                  <a:pt x="3129" y="3541"/>
                </a:cubicBezTo>
                <a:cubicBezTo>
                  <a:pt x="3167" y="3565"/>
                  <a:pt x="3167" y="3565"/>
                  <a:pt x="3167" y="3565"/>
                </a:cubicBezTo>
                <a:cubicBezTo>
                  <a:pt x="3174" y="3575"/>
                  <a:pt x="3174" y="3575"/>
                  <a:pt x="3174" y="3575"/>
                </a:cubicBezTo>
                <a:cubicBezTo>
                  <a:pt x="3183" y="3566"/>
                  <a:pt x="3183" y="3566"/>
                  <a:pt x="3183" y="3566"/>
                </a:cubicBezTo>
                <a:cubicBezTo>
                  <a:pt x="3197" y="3580"/>
                  <a:pt x="3197" y="3580"/>
                  <a:pt x="3197" y="3580"/>
                </a:cubicBezTo>
                <a:cubicBezTo>
                  <a:pt x="3197" y="3589"/>
                  <a:pt x="3197" y="3589"/>
                  <a:pt x="3197" y="3589"/>
                </a:cubicBezTo>
                <a:cubicBezTo>
                  <a:pt x="3187" y="3598"/>
                  <a:pt x="3187" y="3598"/>
                  <a:pt x="3187" y="3598"/>
                </a:cubicBezTo>
                <a:cubicBezTo>
                  <a:pt x="3187" y="3607"/>
                  <a:pt x="3187" y="3607"/>
                  <a:pt x="3187" y="3607"/>
                </a:cubicBezTo>
                <a:cubicBezTo>
                  <a:pt x="3227" y="3623"/>
                  <a:pt x="3227" y="3623"/>
                  <a:pt x="3227" y="3623"/>
                </a:cubicBezTo>
                <a:cubicBezTo>
                  <a:pt x="3227" y="3634"/>
                  <a:pt x="3227" y="3634"/>
                  <a:pt x="3227" y="3634"/>
                </a:cubicBezTo>
                <a:cubicBezTo>
                  <a:pt x="3214" y="3649"/>
                  <a:pt x="3214" y="3649"/>
                  <a:pt x="3214" y="3649"/>
                </a:cubicBezTo>
                <a:cubicBezTo>
                  <a:pt x="3210" y="3663"/>
                  <a:pt x="3210" y="3663"/>
                  <a:pt x="3210" y="3663"/>
                </a:cubicBezTo>
                <a:cubicBezTo>
                  <a:pt x="3203" y="3667"/>
                  <a:pt x="3203" y="3667"/>
                  <a:pt x="3203" y="3667"/>
                </a:cubicBezTo>
                <a:cubicBezTo>
                  <a:pt x="3200" y="3683"/>
                  <a:pt x="3200" y="3683"/>
                  <a:pt x="3200" y="3683"/>
                </a:cubicBezTo>
                <a:cubicBezTo>
                  <a:pt x="3190" y="3680"/>
                  <a:pt x="3190" y="3680"/>
                  <a:pt x="3190" y="3680"/>
                </a:cubicBezTo>
                <a:cubicBezTo>
                  <a:pt x="3187" y="3717"/>
                  <a:pt x="3187" y="3717"/>
                  <a:pt x="3187" y="3717"/>
                </a:cubicBezTo>
                <a:cubicBezTo>
                  <a:pt x="3154" y="3743"/>
                  <a:pt x="3154" y="3743"/>
                  <a:pt x="3154" y="3743"/>
                </a:cubicBezTo>
                <a:cubicBezTo>
                  <a:pt x="3183" y="3780"/>
                  <a:pt x="3183" y="3780"/>
                  <a:pt x="3183" y="3780"/>
                </a:cubicBezTo>
                <a:cubicBezTo>
                  <a:pt x="3196" y="3788"/>
                  <a:pt x="3196" y="3788"/>
                  <a:pt x="3196" y="3788"/>
                </a:cubicBezTo>
                <a:cubicBezTo>
                  <a:pt x="3208" y="3792"/>
                  <a:pt x="3208" y="3792"/>
                  <a:pt x="3208" y="3792"/>
                </a:cubicBezTo>
                <a:cubicBezTo>
                  <a:pt x="3216" y="3799"/>
                  <a:pt x="3216" y="3799"/>
                  <a:pt x="3216" y="3799"/>
                </a:cubicBezTo>
                <a:cubicBezTo>
                  <a:pt x="3214" y="3821"/>
                  <a:pt x="3214" y="3821"/>
                  <a:pt x="3214" y="3821"/>
                </a:cubicBezTo>
                <a:cubicBezTo>
                  <a:pt x="3215" y="3843"/>
                  <a:pt x="3215" y="3843"/>
                  <a:pt x="3215" y="3843"/>
                </a:cubicBezTo>
                <a:cubicBezTo>
                  <a:pt x="3231" y="3843"/>
                  <a:pt x="3231" y="3843"/>
                  <a:pt x="3231" y="3843"/>
                </a:cubicBezTo>
                <a:cubicBezTo>
                  <a:pt x="3234" y="3857"/>
                  <a:pt x="3234" y="3857"/>
                  <a:pt x="3234" y="3857"/>
                </a:cubicBezTo>
                <a:cubicBezTo>
                  <a:pt x="3238" y="3865"/>
                  <a:pt x="3238" y="3865"/>
                  <a:pt x="3238" y="3865"/>
                </a:cubicBezTo>
                <a:cubicBezTo>
                  <a:pt x="3234" y="3881"/>
                  <a:pt x="3234" y="3881"/>
                  <a:pt x="3234" y="3881"/>
                </a:cubicBezTo>
                <a:cubicBezTo>
                  <a:pt x="3256" y="3907"/>
                  <a:pt x="3256" y="3907"/>
                  <a:pt x="3256" y="3907"/>
                </a:cubicBezTo>
                <a:cubicBezTo>
                  <a:pt x="3272" y="3911"/>
                  <a:pt x="3272" y="3911"/>
                  <a:pt x="3272" y="3911"/>
                </a:cubicBezTo>
                <a:cubicBezTo>
                  <a:pt x="3274" y="3937"/>
                  <a:pt x="3274" y="3937"/>
                  <a:pt x="3274" y="3937"/>
                </a:cubicBezTo>
                <a:cubicBezTo>
                  <a:pt x="3268" y="3948"/>
                  <a:pt x="3268" y="3948"/>
                  <a:pt x="3268" y="3948"/>
                </a:cubicBezTo>
                <a:cubicBezTo>
                  <a:pt x="3280" y="3958"/>
                  <a:pt x="3280" y="3958"/>
                  <a:pt x="3280" y="3958"/>
                </a:cubicBezTo>
                <a:cubicBezTo>
                  <a:pt x="3278" y="3975"/>
                  <a:pt x="3278" y="3975"/>
                  <a:pt x="3278" y="3975"/>
                </a:cubicBezTo>
                <a:cubicBezTo>
                  <a:pt x="3290" y="3986"/>
                  <a:pt x="3290" y="3986"/>
                  <a:pt x="3290" y="3986"/>
                </a:cubicBezTo>
                <a:cubicBezTo>
                  <a:pt x="3302" y="3986"/>
                  <a:pt x="3302" y="3986"/>
                  <a:pt x="3302" y="3986"/>
                </a:cubicBezTo>
                <a:cubicBezTo>
                  <a:pt x="3330" y="4010"/>
                  <a:pt x="3330" y="4010"/>
                  <a:pt x="3330" y="4010"/>
                </a:cubicBezTo>
                <a:cubicBezTo>
                  <a:pt x="3331" y="4023"/>
                  <a:pt x="3331" y="4023"/>
                  <a:pt x="3331" y="4023"/>
                </a:cubicBezTo>
                <a:cubicBezTo>
                  <a:pt x="3339" y="4031"/>
                  <a:pt x="3339" y="4031"/>
                  <a:pt x="3339" y="4031"/>
                </a:cubicBezTo>
                <a:cubicBezTo>
                  <a:pt x="3340" y="4042"/>
                  <a:pt x="3340" y="4042"/>
                  <a:pt x="3340" y="4042"/>
                </a:cubicBezTo>
                <a:cubicBezTo>
                  <a:pt x="3370" y="4042"/>
                  <a:pt x="3370" y="4042"/>
                  <a:pt x="3370" y="4042"/>
                </a:cubicBezTo>
                <a:cubicBezTo>
                  <a:pt x="3384" y="4051"/>
                  <a:pt x="3384" y="4051"/>
                  <a:pt x="3384" y="4051"/>
                </a:cubicBezTo>
                <a:cubicBezTo>
                  <a:pt x="3391" y="4035"/>
                  <a:pt x="3391" y="4035"/>
                  <a:pt x="3391" y="4035"/>
                </a:cubicBezTo>
                <a:cubicBezTo>
                  <a:pt x="3406" y="4040"/>
                  <a:pt x="3406" y="4040"/>
                  <a:pt x="3406" y="4040"/>
                </a:cubicBezTo>
                <a:cubicBezTo>
                  <a:pt x="3422" y="4042"/>
                  <a:pt x="3422" y="4042"/>
                  <a:pt x="3422" y="4042"/>
                </a:cubicBezTo>
                <a:cubicBezTo>
                  <a:pt x="3444" y="4066"/>
                  <a:pt x="3444" y="4066"/>
                  <a:pt x="3444" y="4066"/>
                </a:cubicBezTo>
                <a:cubicBezTo>
                  <a:pt x="3459" y="4072"/>
                  <a:pt x="3459" y="4072"/>
                  <a:pt x="3459" y="4072"/>
                </a:cubicBezTo>
                <a:cubicBezTo>
                  <a:pt x="3455" y="4096"/>
                  <a:pt x="3455" y="4096"/>
                  <a:pt x="3455" y="4096"/>
                </a:cubicBezTo>
                <a:cubicBezTo>
                  <a:pt x="3469" y="4100"/>
                  <a:pt x="3469" y="4100"/>
                  <a:pt x="3469" y="4100"/>
                </a:cubicBezTo>
                <a:cubicBezTo>
                  <a:pt x="3471" y="4115"/>
                  <a:pt x="3471" y="4115"/>
                  <a:pt x="3471" y="4115"/>
                </a:cubicBezTo>
                <a:cubicBezTo>
                  <a:pt x="3482" y="4115"/>
                  <a:pt x="3482" y="4115"/>
                  <a:pt x="3482" y="4115"/>
                </a:cubicBezTo>
                <a:cubicBezTo>
                  <a:pt x="3484" y="4131"/>
                  <a:pt x="3484" y="4131"/>
                  <a:pt x="3484" y="4131"/>
                </a:cubicBezTo>
                <a:cubicBezTo>
                  <a:pt x="3496" y="4131"/>
                  <a:pt x="3496" y="4131"/>
                  <a:pt x="3496" y="4131"/>
                </a:cubicBezTo>
                <a:cubicBezTo>
                  <a:pt x="3500" y="4141"/>
                  <a:pt x="3500" y="4141"/>
                  <a:pt x="3500" y="4141"/>
                </a:cubicBezTo>
                <a:cubicBezTo>
                  <a:pt x="3532" y="4168"/>
                  <a:pt x="3532" y="4168"/>
                  <a:pt x="3532" y="4168"/>
                </a:cubicBezTo>
                <a:cubicBezTo>
                  <a:pt x="3531" y="4188"/>
                  <a:pt x="3531" y="4188"/>
                  <a:pt x="3531" y="4188"/>
                </a:cubicBezTo>
                <a:cubicBezTo>
                  <a:pt x="3558" y="4207"/>
                  <a:pt x="3558" y="4207"/>
                  <a:pt x="3558" y="4207"/>
                </a:cubicBezTo>
                <a:cubicBezTo>
                  <a:pt x="3582" y="4199"/>
                  <a:pt x="3582" y="4199"/>
                  <a:pt x="3582" y="4199"/>
                </a:cubicBezTo>
                <a:cubicBezTo>
                  <a:pt x="3638" y="4250"/>
                  <a:pt x="3638" y="4250"/>
                  <a:pt x="3638" y="4250"/>
                </a:cubicBezTo>
                <a:cubicBezTo>
                  <a:pt x="3636" y="4255"/>
                  <a:pt x="3636" y="4255"/>
                  <a:pt x="3636" y="4255"/>
                </a:cubicBezTo>
                <a:cubicBezTo>
                  <a:pt x="3639" y="4275"/>
                  <a:pt x="3639" y="4275"/>
                  <a:pt x="3639" y="4275"/>
                </a:cubicBezTo>
                <a:cubicBezTo>
                  <a:pt x="3643" y="4283"/>
                  <a:pt x="3643" y="4283"/>
                  <a:pt x="3643" y="4283"/>
                </a:cubicBezTo>
                <a:cubicBezTo>
                  <a:pt x="3640" y="4301"/>
                  <a:pt x="3640" y="4301"/>
                  <a:pt x="3640" y="4301"/>
                </a:cubicBezTo>
                <a:cubicBezTo>
                  <a:pt x="3687" y="4331"/>
                  <a:pt x="3687" y="4331"/>
                  <a:pt x="3687" y="4331"/>
                </a:cubicBezTo>
                <a:cubicBezTo>
                  <a:pt x="3692" y="4331"/>
                  <a:pt x="3692" y="4331"/>
                  <a:pt x="3692" y="4331"/>
                </a:cubicBezTo>
                <a:cubicBezTo>
                  <a:pt x="3692" y="4314"/>
                  <a:pt x="3692" y="4314"/>
                  <a:pt x="3692" y="4314"/>
                </a:cubicBezTo>
                <a:cubicBezTo>
                  <a:pt x="3704" y="4314"/>
                  <a:pt x="3704" y="4314"/>
                  <a:pt x="3704" y="4314"/>
                </a:cubicBezTo>
                <a:cubicBezTo>
                  <a:pt x="3716" y="4317"/>
                  <a:pt x="3716" y="4317"/>
                  <a:pt x="3716" y="4317"/>
                </a:cubicBezTo>
                <a:cubicBezTo>
                  <a:pt x="3734" y="4317"/>
                  <a:pt x="3734" y="4317"/>
                  <a:pt x="3734" y="4317"/>
                </a:cubicBezTo>
                <a:cubicBezTo>
                  <a:pt x="3737" y="4331"/>
                  <a:pt x="3737" y="4331"/>
                  <a:pt x="3737" y="4331"/>
                </a:cubicBezTo>
                <a:cubicBezTo>
                  <a:pt x="3753" y="4326"/>
                  <a:pt x="3753" y="4326"/>
                  <a:pt x="3753" y="4326"/>
                </a:cubicBezTo>
                <a:cubicBezTo>
                  <a:pt x="3747" y="4337"/>
                  <a:pt x="3747" y="4337"/>
                  <a:pt x="3747" y="4337"/>
                </a:cubicBezTo>
                <a:cubicBezTo>
                  <a:pt x="3771" y="4373"/>
                  <a:pt x="3771" y="4373"/>
                  <a:pt x="3771" y="4373"/>
                </a:cubicBezTo>
                <a:cubicBezTo>
                  <a:pt x="3791" y="4373"/>
                  <a:pt x="3791" y="4373"/>
                  <a:pt x="3791" y="4373"/>
                </a:cubicBezTo>
                <a:cubicBezTo>
                  <a:pt x="3799" y="4370"/>
                  <a:pt x="3799" y="4370"/>
                  <a:pt x="3799" y="4370"/>
                </a:cubicBezTo>
                <a:cubicBezTo>
                  <a:pt x="3809" y="4384"/>
                  <a:pt x="3809" y="4384"/>
                  <a:pt x="3809" y="4384"/>
                </a:cubicBezTo>
                <a:cubicBezTo>
                  <a:pt x="3808" y="4390"/>
                  <a:pt x="3808" y="4390"/>
                  <a:pt x="3808" y="4390"/>
                </a:cubicBezTo>
                <a:cubicBezTo>
                  <a:pt x="3817" y="4408"/>
                  <a:pt x="3817" y="4408"/>
                  <a:pt x="3817" y="4408"/>
                </a:cubicBezTo>
                <a:cubicBezTo>
                  <a:pt x="3827" y="4410"/>
                  <a:pt x="3827" y="4410"/>
                  <a:pt x="3827" y="4410"/>
                </a:cubicBezTo>
                <a:cubicBezTo>
                  <a:pt x="3838" y="4430"/>
                  <a:pt x="3838" y="4430"/>
                  <a:pt x="3838" y="4430"/>
                </a:cubicBezTo>
                <a:cubicBezTo>
                  <a:pt x="3835" y="4444"/>
                  <a:pt x="3835" y="4444"/>
                  <a:pt x="3835" y="4444"/>
                </a:cubicBezTo>
                <a:cubicBezTo>
                  <a:pt x="3839" y="4451"/>
                  <a:pt x="3839" y="4451"/>
                  <a:pt x="3839" y="4451"/>
                </a:cubicBezTo>
                <a:cubicBezTo>
                  <a:pt x="3852" y="4453"/>
                  <a:pt x="3852" y="4453"/>
                  <a:pt x="3852" y="4453"/>
                </a:cubicBezTo>
                <a:cubicBezTo>
                  <a:pt x="3837" y="4467"/>
                  <a:pt x="3837" y="4467"/>
                  <a:pt x="3837" y="4467"/>
                </a:cubicBezTo>
                <a:cubicBezTo>
                  <a:pt x="3837" y="4482"/>
                  <a:pt x="3837" y="4482"/>
                  <a:pt x="3837" y="4482"/>
                </a:cubicBezTo>
                <a:cubicBezTo>
                  <a:pt x="3829" y="4494"/>
                  <a:pt x="3829" y="4494"/>
                  <a:pt x="3829" y="4494"/>
                </a:cubicBezTo>
                <a:cubicBezTo>
                  <a:pt x="3841" y="4508"/>
                  <a:pt x="3841" y="4508"/>
                  <a:pt x="3841" y="4508"/>
                </a:cubicBezTo>
                <a:cubicBezTo>
                  <a:pt x="3835" y="4518"/>
                  <a:pt x="3835" y="4518"/>
                  <a:pt x="3835" y="4518"/>
                </a:cubicBezTo>
                <a:cubicBezTo>
                  <a:pt x="3839" y="4523"/>
                  <a:pt x="3839" y="4523"/>
                  <a:pt x="3839" y="4523"/>
                </a:cubicBezTo>
                <a:cubicBezTo>
                  <a:pt x="3841" y="4539"/>
                  <a:pt x="3841" y="4539"/>
                  <a:pt x="3841" y="4539"/>
                </a:cubicBezTo>
                <a:cubicBezTo>
                  <a:pt x="3843" y="4545"/>
                  <a:pt x="3843" y="4545"/>
                  <a:pt x="3843" y="4545"/>
                </a:cubicBezTo>
                <a:cubicBezTo>
                  <a:pt x="3845" y="4566"/>
                  <a:pt x="3845" y="4566"/>
                  <a:pt x="3845" y="4566"/>
                </a:cubicBezTo>
                <a:cubicBezTo>
                  <a:pt x="3828" y="4576"/>
                  <a:pt x="3828" y="4576"/>
                  <a:pt x="3828" y="4576"/>
                </a:cubicBezTo>
                <a:cubicBezTo>
                  <a:pt x="3831" y="4583"/>
                  <a:pt x="3831" y="4583"/>
                  <a:pt x="3831" y="4583"/>
                </a:cubicBezTo>
                <a:cubicBezTo>
                  <a:pt x="3831" y="4592"/>
                  <a:pt x="3831" y="4592"/>
                  <a:pt x="3831" y="4592"/>
                </a:cubicBezTo>
                <a:cubicBezTo>
                  <a:pt x="3824" y="4597"/>
                  <a:pt x="3824" y="4597"/>
                  <a:pt x="3824" y="4597"/>
                </a:cubicBezTo>
                <a:cubicBezTo>
                  <a:pt x="3816" y="4610"/>
                  <a:pt x="3816" y="4610"/>
                  <a:pt x="3816" y="4610"/>
                </a:cubicBezTo>
                <a:cubicBezTo>
                  <a:pt x="3808" y="4605"/>
                  <a:pt x="3808" y="4605"/>
                  <a:pt x="3808" y="4605"/>
                </a:cubicBezTo>
                <a:cubicBezTo>
                  <a:pt x="3801" y="4614"/>
                  <a:pt x="3801" y="4614"/>
                  <a:pt x="3801" y="4614"/>
                </a:cubicBezTo>
                <a:cubicBezTo>
                  <a:pt x="3801" y="4627"/>
                  <a:pt x="3801" y="4627"/>
                  <a:pt x="3801" y="4627"/>
                </a:cubicBezTo>
                <a:cubicBezTo>
                  <a:pt x="3791" y="4639"/>
                  <a:pt x="3791" y="4639"/>
                  <a:pt x="3791" y="4639"/>
                </a:cubicBezTo>
                <a:cubicBezTo>
                  <a:pt x="3777" y="4634"/>
                  <a:pt x="3770" y="4627"/>
                  <a:pt x="3767" y="4622"/>
                </a:cubicBezTo>
                <a:cubicBezTo>
                  <a:pt x="3763" y="4616"/>
                  <a:pt x="3764" y="4612"/>
                  <a:pt x="3759" y="4607"/>
                </a:cubicBezTo>
                <a:cubicBezTo>
                  <a:pt x="3752" y="4599"/>
                  <a:pt x="3740" y="4594"/>
                  <a:pt x="3734" y="4598"/>
                </a:cubicBezTo>
                <a:cubicBezTo>
                  <a:pt x="3730" y="4601"/>
                  <a:pt x="3732" y="4608"/>
                  <a:pt x="3729" y="4609"/>
                </a:cubicBezTo>
                <a:cubicBezTo>
                  <a:pt x="3721" y="4611"/>
                  <a:pt x="3708" y="4577"/>
                  <a:pt x="3697" y="4579"/>
                </a:cubicBezTo>
                <a:cubicBezTo>
                  <a:pt x="3691" y="4580"/>
                  <a:pt x="3693" y="4588"/>
                  <a:pt x="3684" y="4595"/>
                </a:cubicBezTo>
                <a:cubicBezTo>
                  <a:pt x="3672" y="4606"/>
                  <a:pt x="3658" y="4600"/>
                  <a:pt x="3654" y="4608"/>
                </a:cubicBezTo>
                <a:cubicBezTo>
                  <a:pt x="3651" y="4615"/>
                  <a:pt x="3663" y="4620"/>
                  <a:pt x="3664" y="4635"/>
                </a:cubicBezTo>
                <a:cubicBezTo>
                  <a:pt x="3665" y="4653"/>
                  <a:pt x="3647" y="4661"/>
                  <a:pt x="3651" y="4676"/>
                </a:cubicBezTo>
                <a:cubicBezTo>
                  <a:pt x="3653" y="4682"/>
                  <a:pt x="3657" y="4683"/>
                  <a:pt x="3658" y="4690"/>
                </a:cubicBezTo>
                <a:cubicBezTo>
                  <a:pt x="3659" y="4698"/>
                  <a:pt x="3654" y="4701"/>
                  <a:pt x="3650" y="4712"/>
                </a:cubicBezTo>
                <a:cubicBezTo>
                  <a:pt x="3644" y="4726"/>
                  <a:pt x="3648" y="4726"/>
                  <a:pt x="3644" y="4735"/>
                </a:cubicBezTo>
                <a:cubicBezTo>
                  <a:pt x="3638" y="4746"/>
                  <a:pt x="3631" y="4745"/>
                  <a:pt x="3617" y="4761"/>
                </a:cubicBezTo>
                <a:cubicBezTo>
                  <a:pt x="3608" y="4771"/>
                  <a:pt x="3610" y="4771"/>
                  <a:pt x="3604" y="4777"/>
                </a:cubicBezTo>
                <a:cubicBezTo>
                  <a:pt x="3602" y="4779"/>
                  <a:pt x="3587" y="4793"/>
                  <a:pt x="3566" y="4795"/>
                </a:cubicBezTo>
                <a:cubicBezTo>
                  <a:pt x="3550" y="4797"/>
                  <a:pt x="3547" y="4791"/>
                  <a:pt x="3534" y="4795"/>
                </a:cubicBezTo>
                <a:cubicBezTo>
                  <a:pt x="3525" y="4799"/>
                  <a:pt x="3526" y="4802"/>
                  <a:pt x="3517" y="4806"/>
                </a:cubicBezTo>
                <a:cubicBezTo>
                  <a:pt x="3503" y="4811"/>
                  <a:pt x="3499" y="4804"/>
                  <a:pt x="3485" y="4809"/>
                </a:cubicBezTo>
                <a:cubicBezTo>
                  <a:pt x="3476" y="4812"/>
                  <a:pt x="3477" y="4815"/>
                  <a:pt x="3465" y="4820"/>
                </a:cubicBezTo>
                <a:cubicBezTo>
                  <a:pt x="3457" y="4823"/>
                  <a:pt x="3453" y="4823"/>
                  <a:pt x="3450" y="4827"/>
                </a:cubicBezTo>
                <a:cubicBezTo>
                  <a:pt x="3445" y="4831"/>
                  <a:pt x="3446" y="4836"/>
                  <a:pt x="3444" y="4842"/>
                </a:cubicBezTo>
                <a:cubicBezTo>
                  <a:pt x="3442" y="4847"/>
                  <a:pt x="3436" y="4854"/>
                  <a:pt x="3419" y="4859"/>
                </a:cubicBezTo>
                <a:cubicBezTo>
                  <a:pt x="3389" y="4862"/>
                  <a:pt x="3389" y="4862"/>
                  <a:pt x="3389" y="4862"/>
                </a:cubicBezTo>
                <a:cubicBezTo>
                  <a:pt x="3361" y="4902"/>
                  <a:pt x="3361" y="4902"/>
                  <a:pt x="3361" y="4902"/>
                </a:cubicBezTo>
                <a:cubicBezTo>
                  <a:pt x="3346" y="4910"/>
                  <a:pt x="3346" y="4910"/>
                  <a:pt x="3346" y="4910"/>
                </a:cubicBezTo>
                <a:cubicBezTo>
                  <a:pt x="3340" y="4923"/>
                  <a:pt x="3340" y="4923"/>
                  <a:pt x="3340" y="4923"/>
                </a:cubicBezTo>
                <a:cubicBezTo>
                  <a:pt x="3333" y="4918"/>
                  <a:pt x="3333" y="4918"/>
                  <a:pt x="3333" y="4918"/>
                </a:cubicBezTo>
                <a:cubicBezTo>
                  <a:pt x="3324" y="4935"/>
                  <a:pt x="3324" y="4935"/>
                  <a:pt x="3324" y="4935"/>
                </a:cubicBezTo>
                <a:cubicBezTo>
                  <a:pt x="3326" y="4953"/>
                  <a:pt x="3326" y="4953"/>
                  <a:pt x="3326" y="4953"/>
                </a:cubicBezTo>
                <a:cubicBezTo>
                  <a:pt x="3377" y="4998"/>
                  <a:pt x="3377" y="4998"/>
                  <a:pt x="3377" y="4998"/>
                </a:cubicBezTo>
                <a:cubicBezTo>
                  <a:pt x="3383" y="5012"/>
                  <a:pt x="3383" y="5012"/>
                  <a:pt x="3383" y="5012"/>
                </a:cubicBezTo>
                <a:cubicBezTo>
                  <a:pt x="3384" y="5027"/>
                  <a:pt x="3384" y="5027"/>
                  <a:pt x="3384" y="5027"/>
                </a:cubicBezTo>
                <a:cubicBezTo>
                  <a:pt x="3390" y="5039"/>
                  <a:pt x="3390" y="5039"/>
                  <a:pt x="3390" y="5039"/>
                </a:cubicBezTo>
                <a:cubicBezTo>
                  <a:pt x="3408" y="5042"/>
                  <a:pt x="3408" y="5042"/>
                  <a:pt x="3408" y="5042"/>
                </a:cubicBezTo>
                <a:cubicBezTo>
                  <a:pt x="3410" y="5051"/>
                  <a:pt x="3410" y="5051"/>
                  <a:pt x="3410" y="5051"/>
                </a:cubicBezTo>
                <a:cubicBezTo>
                  <a:pt x="3414" y="5050"/>
                  <a:pt x="3414" y="5050"/>
                  <a:pt x="3414" y="5050"/>
                </a:cubicBezTo>
                <a:cubicBezTo>
                  <a:pt x="3417" y="5061"/>
                  <a:pt x="3417" y="5061"/>
                  <a:pt x="3417" y="5061"/>
                </a:cubicBezTo>
                <a:cubicBezTo>
                  <a:pt x="3453" y="5121"/>
                  <a:pt x="3453" y="5121"/>
                  <a:pt x="3453" y="5121"/>
                </a:cubicBezTo>
                <a:cubicBezTo>
                  <a:pt x="3420" y="5171"/>
                  <a:pt x="3420" y="5171"/>
                  <a:pt x="3420" y="5171"/>
                </a:cubicBezTo>
                <a:cubicBezTo>
                  <a:pt x="3419" y="5188"/>
                  <a:pt x="3419" y="5188"/>
                  <a:pt x="3419" y="5188"/>
                </a:cubicBezTo>
                <a:cubicBezTo>
                  <a:pt x="3402" y="5205"/>
                  <a:pt x="3402" y="5205"/>
                  <a:pt x="3402" y="5205"/>
                </a:cubicBezTo>
                <a:cubicBezTo>
                  <a:pt x="3413" y="5221"/>
                  <a:pt x="3413" y="5221"/>
                  <a:pt x="3413" y="5221"/>
                </a:cubicBezTo>
                <a:cubicBezTo>
                  <a:pt x="3437" y="5223"/>
                  <a:pt x="3437" y="5223"/>
                  <a:pt x="3437" y="5223"/>
                </a:cubicBezTo>
                <a:cubicBezTo>
                  <a:pt x="3457" y="5210"/>
                  <a:pt x="3457" y="5210"/>
                  <a:pt x="3457" y="5210"/>
                </a:cubicBezTo>
                <a:cubicBezTo>
                  <a:pt x="3482" y="5229"/>
                  <a:pt x="3482" y="5229"/>
                  <a:pt x="3482" y="5229"/>
                </a:cubicBezTo>
                <a:cubicBezTo>
                  <a:pt x="3488" y="5254"/>
                  <a:pt x="3488" y="5254"/>
                  <a:pt x="3488" y="5254"/>
                </a:cubicBezTo>
                <a:cubicBezTo>
                  <a:pt x="3496" y="5273"/>
                  <a:pt x="3496" y="5273"/>
                  <a:pt x="3496" y="5273"/>
                </a:cubicBezTo>
                <a:cubicBezTo>
                  <a:pt x="3479" y="5290"/>
                  <a:pt x="3479" y="5290"/>
                  <a:pt x="3479" y="5290"/>
                </a:cubicBezTo>
                <a:cubicBezTo>
                  <a:pt x="3482" y="5304"/>
                  <a:pt x="3482" y="5304"/>
                  <a:pt x="3482" y="5304"/>
                </a:cubicBezTo>
                <a:cubicBezTo>
                  <a:pt x="3480" y="5311"/>
                  <a:pt x="3480" y="5311"/>
                  <a:pt x="3480" y="5311"/>
                </a:cubicBezTo>
                <a:cubicBezTo>
                  <a:pt x="3469" y="5309"/>
                  <a:pt x="3469" y="5309"/>
                  <a:pt x="3469" y="5309"/>
                </a:cubicBezTo>
                <a:cubicBezTo>
                  <a:pt x="3464" y="5321"/>
                  <a:pt x="3464" y="5321"/>
                  <a:pt x="3464" y="5321"/>
                </a:cubicBezTo>
                <a:cubicBezTo>
                  <a:pt x="3477" y="5329"/>
                  <a:pt x="3477" y="5329"/>
                  <a:pt x="3477" y="5329"/>
                </a:cubicBezTo>
                <a:cubicBezTo>
                  <a:pt x="3463" y="5343"/>
                  <a:pt x="3463" y="5343"/>
                  <a:pt x="3463" y="5343"/>
                </a:cubicBezTo>
                <a:cubicBezTo>
                  <a:pt x="3469" y="5358"/>
                  <a:pt x="3469" y="5358"/>
                  <a:pt x="3469" y="5358"/>
                </a:cubicBezTo>
                <a:cubicBezTo>
                  <a:pt x="3469" y="5374"/>
                  <a:pt x="3469" y="5374"/>
                  <a:pt x="3469" y="5374"/>
                </a:cubicBezTo>
                <a:cubicBezTo>
                  <a:pt x="3449" y="5393"/>
                  <a:pt x="3449" y="5393"/>
                  <a:pt x="3449" y="5393"/>
                </a:cubicBezTo>
                <a:cubicBezTo>
                  <a:pt x="3436" y="5383"/>
                  <a:pt x="3436" y="5383"/>
                  <a:pt x="3436" y="5383"/>
                </a:cubicBezTo>
                <a:cubicBezTo>
                  <a:pt x="3436" y="5383"/>
                  <a:pt x="3431" y="5389"/>
                  <a:pt x="3430" y="5389"/>
                </a:cubicBezTo>
                <a:cubicBezTo>
                  <a:pt x="3429" y="5388"/>
                  <a:pt x="3403" y="5369"/>
                  <a:pt x="3403" y="5369"/>
                </a:cubicBezTo>
                <a:cubicBezTo>
                  <a:pt x="3377" y="5346"/>
                  <a:pt x="3377" y="5346"/>
                  <a:pt x="3377" y="5346"/>
                </a:cubicBezTo>
                <a:cubicBezTo>
                  <a:pt x="3375" y="5337"/>
                  <a:pt x="3375" y="5337"/>
                  <a:pt x="3375" y="5337"/>
                </a:cubicBezTo>
                <a:cubicBezTo>
                  <a:pt x="3353" y="5335"/>
                  <a:pt x="3353" y="5335"/>
                  <a:pt x="3353" y="5335"/>
                </a:cubicBezTo>
                <a:cubicBezTo>
                  <a:pt x="3341" y="5315"/>
                  <a:pt x="3341" y="5315"/>
                  <a:pt x="3341" y="5315"/>
                </a:cubicBezTo>
                <a:cubicBezTo>
                  <a:pt x="3346" y="5299"/>
                  <a:pt x="3346" y="5299"/>
                  <a:pt x="3346" y="5299"/>
                </a:cubicBezTo>
                <a:cubicBezTo>
                  <a:pt x="3357" y="5294"/>
                  <a:pt x="3357" y="5294"/>
                  <a:pt x="3357" y="5294"/>
                </a:cubicBezTo>
                <a:cubicBezTo>
                  <a:pt x="3357" y="5289"/>
                  <a:pt x="3357" y="5289"/>
                  <a:pt x="3357" y="5289"/>
                </a:cubicBezTo>
                <a:cubicBezTo>
                  <a:pt x="3337" y="5274"/>
                  <a:pt x="3337" y="5274"/>
                  <a:pt x="3337" y="5274"/>
                </a:cubicBezTo>
                <a:cubicBezTo>
                  <a:pt x="3333" y="5260"/>
                  <a:pt x="3333" y="5260"/>
                  <a:pt x="3333" y="5260"/>
                </a:cubicBezTo>
                <a:cubicBezTo>
                  <a:pt x="3342" y="5251"/>
                  <a:pt x="3342" y="5251"/>
                  <a:pt x="3342" y="5251"/>
                </a:cubicBezTo>
                <a:cubicBezTo>
                  <a:pt x="3340" y="5246"/>
                  <a:pt x="3340" y="5246"/>
                  <a:pt x="3340" y="5246"/>
                </a:cubicBezTo>
                <a:cubicBezTo>
                  <a:pt x="3328" y="5249"/>
                  <a:pt x="3328" y="5249"/>
                  <a:pt x="3328" y="5249"/>
                </a:cubicBezTo>
                <a:cubicBezTo>
                  <a:pt x="3328" y="5249"/>
                  <a:pt x="3290" y="5238"/>
                  <a:pt x="3289" y="5237"/>
                </a:cubicBezTo>
                <a:cubicBezTo>
                  <a:pt x="3288" y="5236"/>
                  <a:pt x="3273" y="5249"/>
                  <a:pt x="3273" y="5249"/>
                </a:cubicBezTo>
                <a:cubicBezTo>
                  <a:pt x="3261" y="5244"/>
                  <a:pt x="3261" y="5244"/>
                  <a:pt x="3261" y="5244"/>
                </a:cubicBezTo>
                <a:cubicBezTo>
                  <a:pt x="3248" y="5254"/>
                  <a:pt x="3248" y="5254"/>
                  <a:pt x="3248" y="5254"/>
                </a:cubicBezTo>
                <a:cubicBezTo>
                  <a:pt x="3239" y="5273"/>
                  <a:pt x="3239" y="5273"/>
                  <a:pt x="3239" y="5273"/>
                </a:cubicBezTo>
                <a:cubicBezTo>
                  <a:pt x="3222" y="5272"/>
                  <a:pt x="3222" y="5272"/>
                  <a:pt x="3222" y="5272"/>
                </a:cubicBezTo>
                <a:cubicBezTo>
                  <a:pt x="3216" y="5281"/>
                  <a:pt x="3216" y="5281"/>
                  <a:pt x="3216" y="5281"/>
                </a:cubicBezTo>
                <a:cubicBezTo>
                  <a:pt x="3206" y="5284"/>
                  <a:pt x="3206" y="5284"/>
                  <a:pt x="3206" y="5284"/>
                </a:cubicBezTo>
                <a:cubicBezTo>
                  <a:pt x="3179" y="5246"/>
                  <a:pt x="3179" y="5246"/>
                  <a:pt x="3179" y="5246"/>
                </a:cubicBezTo>
                <a:cubicBezTo>
                  <a:pt x="3175" y="5229"/>
                  <a:pt x="3175" y="5229"/>
                  <a:pt x="3175" y="5229"/>
                </a:cubicBezTo>
                <a:cubicBezTo>
                  <a:pt x="3166" y="5227"/>
                  <a:pt x="3166" y="5227"/>
                  <a:pt x="3166" y="5227"/>
                </a:cubicBezTo>
                <a:cubicBezTo>
                  <a:pt x="3144" y="5237"/>
                  <a:pt x="3144" y="5237"/>
                  <a:pt x="3144" y="5237"/>
                </a:cubicBezTo>
                <a:cubicBezTo>
                  <a:pt x="3134" y="5233"/>
                  <a:pt x="3134" y="5233"/>
                  <a:pt x="3134" y="5233"/>
                </a:cubicBezTo>
                <a:cubicBezTo>
                  <a:pt x="3118" y="5227"/>
                  <a:pt x="3118" y="5227"/>
                  <a:pt x="3118" y="5227"/>
                </a:cubicBezTo>
                <a:cubicBezTo>
                  <a:pt x="3096" y="5241"/>
                  <a:pt x="3096" y="5241"/>
                  <a:pt x="3096" y="5241"/>
                </a:cubicBezTo>
                <a:cubicBezTo>
                  <a:pt x="3085" y="5241"/>
                  <a:pt x="3085" y="5241"/>
                  <a:pt x="3085" y="5241"/>
                </a:cubicBezTo>
                <a:cubicBezTo>
                  <a:pt x="3083" y="5223"/>
                  <a:pt x="3083" y="5223"/>
                  <a:pt x="3083" y="5223"/>
                </a:cubicBezTo>
                <a:cubicBezTo>
                  <a:pt x="3096" y="5203"/>
                  <a:pt x="3096" y="5203"/>
                  <a:pt x="3096" y="5203"/>
                </a:cubicBezTo>
                <a:cubicBezTo>
                  <a:pt x="3090" y="5196"/>
                  <a:pt x="3090" y="5196"/>
                  <a:pt x="3090" y="5196"/>
                </a:cubicBezTo>
                <a:cubicBezTo>
                  <a:pt x="3062" y="5219"/>
                  <a:pt x="3062" y="5219"/>
                  <a:pt x="3062" y="5219"/>
                </a:cubicBezTo>
                <a:cubicBezTo>
                  <a:pt x="3044" y="5230"/>
                  <a:pt x="3044" y="5230"/>
                  <a:pt x="3044" y="5230"/>
                </a:cubicBezTo>
                <a:cubicBezTo>
                  <a:pt x="3062" y="5267"/>
                  <a:pt x="3062" y="5267"/>
                  <a:pt x="3062" y="5267"/>
                </a:cubicBezTo>
                <a:cubicBezTo>
                  <a:pt x="3061" y="5282"/>
                  <a:pt x="3061" y="5282"/>
                  <a:pt x="3061" y="5282"/>
                </a:cubicBezTo>
                <a:cubicBezTo>
                  <a:pt x="3027" y="5294"/>
                  <a:pt x="3027" y="5294"/>
                  <a:pt x="3027" y="5294"/>
                </a:cubicBezTo>
                <a:cubicBezTo>
                  <a:pt x="3009" y="5295"/>
                  <a:pt x="3009" y="5295"/>
                  <a:pt x="3009" y="5295"/>
                </a:cubicBezTo>
                <a:cubicBezTo>
                  <a:pt x="2989" y="5285"/>
                  <a:pt x="2989" y="5285"/>
                  <a:pt x="2989" y="5285"/>
                </a:cubicBezTo>
                <a:cubicBezTo>
                  <a:pt x="2972" y="5289"/>
                  <a:pt x="2972" y="5289"/>
                  <a:pt x="2972" y="5289"/>
                </a:cubicBezTo>
                <a:cubicBezTo>
                  <a:pt x="2961" y="5283"/>
                  <a:pt x="2961" y="5283"/>
                  <a:pt x="2961" y="5283"/>
                </a:cubicBezTo>
                <a:cubicBezTo>
                  <a:pt x="2951" y="5289"/>
                  <a:pt x="2951" y="5289"/>
                  <a:pt x="2951" y="5289"/>
                </a:cubicBezTo>
                <a:cubicBezTo>
                  <a:pt x="2917" y="5288"/>
                  <a:pt x="2917" y="5288"/>
                  <a:pt x="2917" y="5288"/>
                </a:cubicBezTo>
                <a:cubicBezTo>
                  <a:pt x="2893" y="5296"/>
                  <a:pt x="2893" y="5296"/>
                  <a:pt x="2893" y="5296"/>
                </a:cubicBezTo>
                <a:cubicBezTo>
                  <a:pt x="2891" y="5309"/>
                  <a:pt x="2891" y="5309"/>
                  <a:pt x="2891" y="5309"/>
                </a:cubicBezTo>
                <a:cubicBezTo>
                  <a:pt x="2878" y="5312"/>
                  <a:pt x="2878" y="5312"/>
                  <a:pt x="2878" y="5312"/>
                </a:cubicBezTo>
                <a:cubicBezTo>
                  <a:pt x="2858" y="5304"/>
                  <a:pt x="2858" y="5304"/>
                  <a:pt x="2858" y="5304"/>
                </a:cubicBezTo>
                <a:cubicBezTo>
                  <a:pt x="2835" y="5305"/>
                  <a:pt x="2835" y="5305"/>
                  <a:pt x="2835" y="5305"/>
                </a:cubicBezTo>
                <a:cubicBezTo>
                  <a:pt x="2812" y="5309"/>
                  <a:pt x="2812" y="5309"/>
                  <a:pt x="2812" y="5309"/>
                </a:cubicBezTo>
                <a:cubicBezTo>
                  <a:pt x="2795" y="5309"/>
                  <a:pt x="2795" y="5309"/>
                  <a:pt x="2795" y="5309"/>
                </a:cubicBezTo>
                <a:cubicBezTo>
                  <a:pt x="2786" y="5305"/>
                  <a:pt x="2786" y="5305"/>
                  <a:pt x="2786" y="5305"/>
                </a:cubicBezTo>
                <a:cubicBezTo>
                  <a:pt x="2771" y="5316"/>
                  <a:pt x="2771" y="5316"/>
                  <a:pt x="2771" y="5316"/>
                </a:cubicBezTo>
                <a:cubicBezTo>
                  <a:pt x="2763" y="5341"/>
                  <a:pt x="2763" y="5341"/>
                  <a:pt x="2763" y="5341"/>
                </a:cubicBezTo>
                <a:cubicBezTo>
                  <a:pt x="2766" y="5351"/>
                  <a:pt x="2766" y="5351"/>
                  <a:pt x="2766" y="5351"/>
                </a:cubicBezTo>
                <a:cubicBezTo>
                  <a:pt x="2754" y="5359"/>
                  <a:pt x="2754" y="5359"/>
                  <a:pt x="2754" y="5359"/>
                </a:cubicBezTo>
                <a:cubicBezTo>
                  <a:pt x="2739" y="5360"/>
                  <a:pt x="2739" y="5360"/>
                  <a:pt x="2739" y="5360"/>
                </a:cubicBezTo>
                <a:cubicBezTo>
                  <a:pt x="2719" y="5363"/>
                  <a:pt x="2719" y="5363"/>
                  <a:pt x="2719" y="5363"/>
                </a:cubicBezTo>
                <a:cubicBezTo>
                  <a:pt x="2703" y="5363"/>
                  <a:pt x="2703" y="5363"/>
                  <a:pt x="2703" y="5363"/>
                </a:cubicBezTo>
                <a:cubicBezTo>
                  <a:pt x="2692" y="5357"/>
                  <a:pt x="2692" y="5357"/>
                  <a:pt x="2692" y="5357"/>
                </a:cubicBezTo>
                <a:cubicBezTo>
                  <a:pt x="2666" y="5386"/>
                  <a:pt x="2666" y="5386"/>
                  <a:pt x="2666" y="5386"/>
                </a:cubicBezTo>
                <a:cubicBezTo>
                  <a:pt x="2669" y="5393"/>
                  <a:pt x="2669" y="5393"/>
                  <a:pt x="2669" y="5393"/>
                </a:cubicBezTo>
                <a:cubicBezTo>
                  <a:pt x="2682" y="5392"/>
                  <a:pt x="2682" y="5392"/>
                  <a:pt x="2682" y="5392"/>
                </a:cubicBezTo>
                <a:cubicBezTo>
                  <a:pt x="2689" y="5413"/>
                  <a:pt x="2689" y="5413"/>
                  <a:pt x="2689" y="5413"/>
                </a:cubicBezTo>
                <a:cubicBezTo>
                  <a:pt x="2665" y="5404"/>
                  <a:pt x="2665" y="5404"/>
                  <a:pt x="2665" y="5404"/>
                </a:cubicBezTo>
                <a:cubicBezTo>
                  <a:pt x="2660" y="5410"/>
                  <a:pt x="2660" y="5410"/>
                  <a:pt x="2660" y="5410"/>
                </a:cubicBezTo>
                <a:cubicBezTo>
                  <a:pt x="2654" y="5404"/>
                  <a:pt x="2654" y="5404"/>
                  <a:pt x="2654" y="5404"/>
                </a:cubicBezTo>
                <a:cubicBezTo>
                  <a:pt x="2641" y="5405"/>
                  <a:pt x="2641" y="5405"/>
                  <a:pt x="2641" y="5405"/>
                </a:cubicBezTo>
                <a:cubicBezTo>
                  <a:pt x="2636" y="5414"/>
                  <a:pt x="2636" y="5414"/>
                  <a:pt x="2636" y="5414"/>
                </a:cubicBezTo>
                <a:cubicBezTo>
                  <a:pt x="2627" y="5419"/>
                  <a:pt x="2627" y="5419"/>
                  <a:pt x="2627" y="5419"/>
                </a:cubicBezTo>
                <a:cubicBezTo>
                  <a:pt x="2621" y="5429"/>
                  <a:pt x="2621" y="5429"/>
                  <a:pt x="2621" y="5429"/>
                </a:cubicBezTo>
                <a:cubicBezTo>
                  <a:pt x="2617" y="5440"/>
                  <a:pt x="2617" y="5440"/>
                  <a:pt x="2617" y="5440"/>
                </a:cubicBezTo>
                <a:cubicBezTo>
                  <a:pt x="2593" y="5441"/>
                  <a:pt x="2593" y="5441"/>
                  <a:pt x="2593" y="5441"/>
                </a:cubicBezTo>
                <a:cubicBezTo>
                  <a:pt x="2590" y="5436"/>
                  <a:pt x="2590" y="5436"/>
                  <a:pt x="2590" y="5436"/>
                </a:cubicBezTo>
                <a:cubicBezTo>
                  <a:pt x="2597" y="5424"/>
                  <a:pt x="2597" y="5424"/>
                  <a:pt x="2597" y="5424"/>
                </a:cubicBezTo>
                <a:cubicBezTo>
                  <a:pt x="2597" y="5419"/>
                  <a:pt x="2597" y="5419"/>
                  <a:pt x="2597" y="5419"/>
                </a:cubicBezTo>
                <a:cubicBezTo>
                  <a:pt x="2578" y="5418"/>
                  <a:pt x="2578" y="5418"/>
                  <a:pt x="2578" y="5418"/>
                </a:cubicBezTo>
                <a:cubicBezTo>
                  <a:pt x="2541" y="5432"/>
                  <a:pt x="2541" y="5432"/>
                  <a:pt x="2541" y="5432"/>
                </a:cubicBezTo>
                <a:cubicBezTo>
                  <a:pt x="2537" y="5444"/>
                  <a:pt x="2537" y="5444"/>
                  <a:pt x="2537" y="5444"/>
                </a:cubicBezTo>
                <a:cubicBezTo>
                  <a:pt x="2493" y="5446"/>
                  <a:pt x="2493" y="5446"/>
                  <a:pt x="2493" y="5446"/>
                </a:cubicBezTo>
                <a:cubicBezTo>
                  <a:pt x="2485" y="5441"/>
                  <a:pt x="2485" y="5441"/>
                  <a:pt x="2485" y="5441"/>
                </a:cubicBezTo>
                <a:cubicBezTo>
                  <a:pt x="2472" y="5442"/>
                  <a:pt x="2472" y="5442"/>
                  <a:pt x="2472" y="5442"/>
                </a:cubicBezTo>
                <a:cubicBezTo>
                  <a:pt x="2467" y="5435"/>
                  <a:pt x="2467" y="5435"/>
                  <a:pt x="2467" y="5435"/>
                </a:cubicBezTo>
                <a:cubicBezTo>
                  <a:pt x="2473" y="5428"/>
                  <a:pt x="2473" y="5428"/>
                  <a:pt x="2473" y="5428"/>
                </a:cubicBezTo>
                <a:cubicBezTo>
                  <a:pt x="2475" y="5419"/>
                  <a:pt x="2475" y="5419"/>
                  <a:pt x="2475" y="5419"/>
                </a:cubicBezTo>
                <a:cubicBezTo>
                  <a:pt x="2453" y="5399"/>
                  <a:pt x="2453" y="5399"/>
                  <a:pt x="2453" y="5399"/>
                </a:cubicBezTo>
                <a:cubicBezTo>
                  <a:pt x="2449" y="5382"/>
                  <a:pt x="2449" y="5382"/>
                  <a:pt x="2449" y="5382"/>
                </a:cubicBezTo>
                <a:cubicBezTo>
                  <a:pt x="2421" y="5381"/>
                  <a:pt x="2421" y="5381"/>
                  <a:pt x="2421" y="5381"/>
                </a:cubicBezTo>
                <a:cubicBezTo>
                  <a:pt x="2418" y="5373"/>
                  <a:pt x="2418" y="5373"/>
                  <a:pt x="2418" y="5373"/>
                </a:cubicBezTo>
                <a:cubicBezTo>
                  <a:pt x="2422" y="5366"/>
                  <a:pt x="2422" y="5366"/>
                  <a:pt x="2422" y="5366"/>
                </a:cubicBezTo>
                <a:cubicBezTo>
                  <a:pt x="2438" y="5362"/>
                  <a:pt x="2438" y="5362"/>
                  <a:pt x="2438" y="5362"/>
                </a:cubicBezTo>
                <a:cubicBezTo>
                  <a:pt x="2442" y="5358"/>
                  <a:pt x="2442" y="5358"/>
                  <a:pt x="2442" y="5358"/>
                </a:cubicBezTo>
                <a:cubicBezTo>
                  <a:pt x="2427" y="5345"/>
                  <a:pt x="2427" y="5345"/>
                  <a:pt x="2427" y="5345"/>
                </a:cubicBezTo>
                <a:cubicBezTo>
                  <a:pt x="2411" y="5347"/>
                  <a:pt x="2411" y="5347"/>
                  <a:pt x="2411" y="5347"/>
                </a:cubicBezTo>
                <a:cubicBezTo>
                  <a:pt x="2388" y="5358"/>
                  <a:pt x="2388" y="5358"/>
                  <a:pt x="2388" y="5358"/>
                </a:cubicBezTo>
                <a:cubicBezTo>
                  <a:pt x="2377" y="5360"/>
                  <a:pt x="2377" y="5360"/>
                  <a:pt x="2377" y="5360"/>
                </a:cubicBezTo>
                <a:cubicBezTo>
                  <a:pt x="2364" y="5349"/>
                  <a:pt x="2364" y="5349"/>
                  <a:pt x="2364" y="5349"/>
                </a:cubicBezTo>
                <a:cubicBezTo>
                  <a:pt x="2350" y="5344"/>
                  <a:pt x="2350" y="5344"/>
                  <a:pt x="2350" y="5344"/>
                </a:cubicBezTo>
                <a:cubicBezTo>
                  <a:pt x="2328" y="5328"/>
                  <a:pt x="2328" y="5328"/>
                  <a:pt x="2328" y="5328"/>
                </a:cubicBezTo>
                <a:cubicBezTo>
                  <a:pt x="2289" y="5319"/>
                  <a:pt x="2289" y="5319"/>
                  <a:pt x="2289" y="5319"/>
                </a:cubicBezTo>
                <a:cubicBezTo>
                  <a:pt x="2276" y="5346"/>
                  <a:pt x="2276" y="5346"/>
                  <a:pt x="2276" y="5346"/>
                </a:cubicBezTo>
                <a:cubicBezTo>
                  <a:pt x="2237" y="5343"/>
                  <a:pt x="2237" y="5343"/>
                  <a:pt x="2237" y="5343"/>
                </a:cubicBezTo>
                <a:cubicBezTo>
                  <a:pt x="2225" y="5325"/>
                  <a:pt x="2225" y="5325"/>
                  <a:pt x="2225" y="5325"/>
                </a:cubicBezTo>
                <a:cubicBezTo>
                  <a:pt x="2231" y="5308"/>
                  <a:pt x="2231" y="5308"/>
                  <a:pt x="2231" y="5308"/>
                </a:cubicBezTo>
                <a:cubicBezTo>
                  <a:pt x="2215" y="5308"/>
                  <a:pt x="2215" y="5308"/>
                  <a:pt x="2215" y="5308"/>
                </a:cubicBezTo>
                <a:cubicBezTo>
                  <a:pt x="2205" y="5312"/>
                  <a:pt x="2205" y="5312"/>
                  <a:pt x="2205" y="5312"/>
                </a:cubicBezTo>
                <a:cubicBezTo>
                  <a:pt x="2216" y="5330"/>
                  <a:pt x="2216" y="5330"/>
                  <a:pt x="2216" y="5330"/>
                </a:cubicBezTo>
                <a:cubicBezTo>
                  <a:pt x="2211" y="5354"/>
                  <a:pt x="2211" y="5354"/>
                  <a:pt x="2211" y="5354"/>
                </a:cubicBezTo>
                <a:cubicBezTo>
                  <a:pt x="2210" y="5379"/>
                  <a:pt x="2210" y="5379"/>
                  <a:pt x="2210" y="5379"/>
                </a:cubicBezTo>
                <a:cubicBezTo>
                  <a:pt x="2222" y="5382"/>
                  <a:pt x="2222" y="5382"/>
                  <a:pt x="2222" y="5382"/>
                </a:cubicBezTo>
                <a:cubicBezTo>
                  <a:pt x="2229" y="5416"/>
                  <a:pt x="2229" y="5416"/>
                  <a:pt x="2229" y="5416"/>
                </a:cubicBezTo>
                <a:cubicBezTo>
                  <a:pt x="2210" y="5431"/>
                  <a:pt x="2210" y="5431"/>
                  <a:pt x="2210" y="5431"/>
                </a:cubicBezTo>
                <a:cubicBezTo>
                  <a:pt x="2206" y="5449"/>
                  <a:pt x="2206" y="5449"/>
                  <a:pt x="2206" y="5449"/>
                </a:cubicBezTo>
                <a:cubicBezTo>
                  <a:pt x="2188" y="5460"/>
                  <a:pt x="2188" y="5460"/>
                  <a:pt x="2188" y="5460"/>
                </a:cubicBezTo>
                <a:cubicBezTo>
                  <a:pt x="2187" y="5468"/>
                  <a:pt x="2187" y="5468"/>
                  <a:pt x="2187" y="5468"/>
                </a:cubicBezTo>
                <a:cubicBezTo>
                  <a:pt x="2170" y="5486"/>
                  <a:pt x="2170" y="5486"/>
                  <a:pt x="2170" y="5486"/>
                </a:cubicBezTo>
                <a:cubicBezTo>
                  <a:pt x="2166" y="5503"/>
                  <a:pt x="2166" y="5503"/>
                  <a:pt x="2166" y="5503"/>
                </a:cubicBezTo>
                <a:cubicBezTo>
                  <a:pt x="2112" y="5533"/>
                  <a:pt x="2112" y="5533"/>
                  <a:pt x="2112" y="5533"/>
                </a:cubicBezTo>
                <a:cubicBezTo>
                  <a:pt x="2101" y="5528"/>
                  <a:pt x="2101" y="5528"/>
                  <a:pt x="2101" y="5528"/>
                </a:cubicBezTo>
                <a:cubicBezTo>
                  <a:pt x="2090" y="5535"/>
                  <a:pt x="2090" y="5535"/>
                  <a:pt x="2090" y="5535"/>
                </a:cubicBezTo>
                <a:cubicBezTo>
                  <a:pt x="2082" y="5535"/>
                  <a:pt x="2082" y="5535"/>
                  <a:pt x="2082" y="5535"/>
                </a:cubicBezTo>
                <a:cubicBezTo>
                  <a:pt x="2085" y="5518"/>
                  <a:pt x="2085" y="5518"/>
                  <a:pt x="2085" y="5518"/>
                </a:cubicBezTo>
                <a:cubicBezTo>
                  <a:pt x="2102" y="5502"/>
                  <a:pt x="2102" y="5502"/>
                  <a:pt x="2102" y="5502"/>
                </a:cubicBezTo>
                <a:cubicBezTo>
                  <a:pt x="2094" y="5491"/>
                  <a:pt x="2094" y="5491"/>
                  <a:pt x="2094" y="5491"/>
                </a:cubicBezTo>
                <a:cubicBezTo>
                  <a:pt x="2114" y="5458"/>
                  <a:pt x="2114" y="5458"/>
                  <a:pt x="2114" y="5458"/>
                </a:cubicBezTo>
                <a:cubicBezTo>
                  <a:pt x="2105" y="5447"/>
                  <a:pt x="2105" y="5447"/>
                  <a:pt x="2105" y="5447"/>
                </a:cubicBezTo>
                <a:cubicBezTo>
                  <a:pt x="2101" y="5451"/>
                  <a:pt x="2101" y="5451"/>
                  <a:pt x="2101" y="5451"/>
                </a:cubicBezTo>
                <a:cubicBezTo>
                  <a:pt x="2082" y="5453"/>
                  <a:pt x="2082" y="5453"/>
                  <a:pt x="2082" y="5453"/>
                </a:cubicBezTo>
                <a:cubicBezTo>
                  <a:pt x="2080" y="5458"/>
                  <a:pt x="2080" y="5458"/>
                  <a:pt x="2080" y="5458"/>
                </a:cubicBezTo>
                <a:cubicBezTo>
                  <a:pt x="2071" y="5463"/>
                  <a:pt x="2071" y="5463"/>
                  <a:pt x="2071" y="5463"/>
                </a:cubicBezTo>
                <a:cubicBezTo>
                  <a:pt x="2056" y="5457"/>
                  <a:pt x="2056" y="5457"/>
                  <a:pt x="2056" y="5457"/>
                </a:cubicBezTo>
                <a:cubicBezTo>
                  <a:pt x="2044" y="5467"/>
                  <a:pt x="2044" y="5467"/>
                  <a:pt x="2044" y="5467"/>
                </a:cubicBezTo>
                <a:cubicBezTo>
                  <a:pt x="2033" y="5431"/>
                  <a:pt x="2033" y="5431"/>
                  <a:pt x="2033" y="5431"/>
                </a:cubicBezTo>
                <a:cubicBezTo>
                  <a:pt x="2048" y="5415"/>
                  <a:pt x="2048" y="5415"/>
                  <a:pt x="2048" y="5415"/>
                </a:cubicBezTo>
                <a:cubicBezTo>
                  <a:pt x="2037" y="5398"/>
                  <a:pt x="2037" y="5398"/>
                  <a:pt x="2037" y="5398"/>
                </a:cubicBezTo>
                <a:cubicBezTo>
                  <a:pt x="2020" y="5392"/>
                  <a:pt x="2020" y="5392"/>
                  <a:pt x="2020" y="5392"/>
                </a:cubicBezTo>
                <a:cubicBezTo>
                  <a:pt x="2017" y="5377"/>
                  <a:pt x="2017" y="5377"/>
                  <a:pt x="2017" y="5377"/>
                </a:cubicBezTo>
                <a:cubicBezTo>
                  <a:pt x="2001" y="5381"/>
                  <a:pt x="2001" y="5381"/>
                  <a:pt x="2001" y="5381"/>
                </a:cubicBezTo>
                <a:cubicBezTo>
                  <a:pt x="1988" y="5371"/>
                  <a:pt x="1988" y="5371"/>
                  <a:pt x="1988" y="5371"/>
                </a:cubicBezTo>
                <a:cubicBezTo>
                  <a:pt x="1978" y="5342"/>
                  <a:pt x="1978" y="5342"/>
                  <a:pt x="1978" y="5342"/>
                </a:cubicBezTo>
                <a:cubicBezTo>
                  <a:pt x="1957" y="5345"/>
                  <a:pt x="1957" y="5345"/>
                  <a:pt x="1957" y="5345"/>
                </a:cubicBezTo>
                <a:cubicBezTo>
                  <a:pt x="1951" y="5336"/>
                  <a:pt x="1951" y="5336"/>
                  <a:pt x="1951" y="5336"/>
                </a:cubicBezTo>
                <a:cubicBezTo>
                  <a:pt x="1936" y="5334"/>
                  <a:pt x="1936" y="5334"/>
                  <a:pt x="1936" y="5334"/>
                </a:cubicBezTo>
                <a:cubicBezTo>
                  <a:pt x="1931" y="5346"/>
                  <a:pt x="1931" y="5346"/>
                  <a:pt x="1931" y="5346"/>
                </a:cubicBezTo>
                <a:cubicBezTo>
                  <a:pt x="1908" y="5333"/>
                  <a:pt x="1908" y="5333"/>
                  <a:pt x="1908" y="5333"/>
                </a:cubicBezTo>
                <a:cubicBezTo>
                  <a:pt x="1908" y="5305"/>
                  <a:pt x="1908" y="5305"/>
                  <a:pt x="1908" y="5305"/>
                </a:cubicBezTo>
                <a:cubicBezTo>
                  <a:pt x="1896" y="5300"/>
                  <a:pt x="1896" y="5300"/>
                  <a:pt x="1896" y="5300"/>
                </a:cubicBezTo>
                <a:cubicBezTo>
                  <a:pt x="1883" y="5314"/>
                  <a:pt x="1883" y="5314"/>
                  <a:pt x="1883" y="5314"/>
                </a:cubicBezTo>
                <a:cubicBezTo>
                  <a:pt x="1870" y="5348"/>
                  <a:pt x="1870" y="5348"/>
                  <a:pt x="1870" y="5348"/>
                </a:cubicBezTo>
                <a:cubicBezTo>
                  <a:pt x="1852" y="5352"/>
                  <a:pt x="1852" y="5352"/>
                  <a:pt x="1852" y="5352"/>
                </a:cubicBezTo>
                <a:cubicBezTo>
                  <a:pt x="1769" y="5334"/>
                  <a:pt x="1769" y="5334"/>
                  <a:pt x="1769" y="5334"/>
                </a:cubicBezTo>
                <a:cubicBezTo>
                  <a:pt x="1641" y="5260"/>
                  <a:pt x="1641" y="5260"/>
                  <a:pt x="1641" y="5260"/>
                </a:cubicBezTo>
                <a:cubicBezTo>
                  <a:pt x="1604" y="5262"/>
                  <a:pt x="1604" y="5262"/>
                  <a:pt x="1604" y="5262"/>
                </a:cubicBezTo>
                <a:cubicBezTo>
                  <a:pt x="1593" y="5266"/>
                  <a:pt x="1593" y="5266"/>
                  <a:pt x="1593" y="5266"/>
                </a:cubicBezTo>
                <a:cubicBezTo>
                  <a:pt x="1573" y="5250"/>
                  <a:pt x="1573" y="5250"/>
                  <a:pt x="1573" y="5250"/>
                </a:cubicBezTo>
                <a:cubicBezTo>
                  <a:pt x="1560" y="5244"/>
                  <a:pt x="1560" y="5244"/>
                  <a:pt x="1560" y="5244"/>
                </a:cubicBezTo>
                <a:cubicBezTo>
                  <a:pt x="1540" y="5243"/>
                  <a:pt x="1540" y="5243"/>
                  <a:pt x="1540" y="5243"/>
                </a:cubicBezTo>
                <a:cubicBezTo>
                  <a:pt x="1530" y="5242"/>
                  <a:pt x="1530" y="5242"/>
                  <a:pt x="1530" y="5242"/>
                </a:cubicBezTo>
                <a:cubicBezTo>
                  <a:pt x="1520" y="5242"/>
                  <a:pt x="1520" y="5242"/>
                  <a:pt x="1520" y="5242"/>
                </a:cubicBezTo>
                <a:cubicBezTo>
                  <a:pt x="1496" y="5255"/>
                  <a:pt x="1496" y="5255"/>
                  <a:pt x="1496" y="5255"/>
                </a:cubicBezTo>
                <a:cubicBezTo>
                  <a:pt x="1481" y="5261"/>
                  <a:pt x="1481" y="5261"/>
                  <a:pt x="1481" y="5261"/>
                </a:cubicBezTo>
                <a:cubicBezTo>
                  <a:pt x="1478" y="5263"/>
                  <a:pt x="1473" y="5265"/>
                  <a:pt x="1468" y="5264"/>
                </a:cubicBezTo>
                <a:cubicBezTo>
                  <a:pt x="1464" y="5263"/>
                  <a:pt x="1463" y="5261"/>
                  <a:pt x="1457" y="5258"/>
                </a:cubicBezTo>
                <a:cubicBezTo>
                  <a:pt x="1455" y="5257"/>
                  <a:pt x="1454" y="5257"/>
                  <a:pt x="1452" y="5256"/>
                </a:cubicBezTo>
                <a:cubicBezTo>
                  <a:pt x="1451" y="5244"/>
                  <a:pt x="1451" y="5244"/>
                  <a:pt x="1451" y="5244"/>
                </a:cubicBezTo>
                <a:cubicBezTo>
                  <a:pt x="1443" y="5243"/>
                  <a:pt x="1443" y="5243"/>
                  <a:pt x="1443" y="5243"/>
                </a:cubicBezTo>
                <a:cubicBezTo>
                  <a:pt x="1441" y="5236"/>
                  <a:pt x="1441" y="5236"/>
                  <a:pt x="1441" y="5236"/>
                </a:cubicBezTo>
                <a:cubicBezTo>
                  <a:pt x="1449" y="5233"/>
                  <a:pt x="1449" y="5233"/>
                  <a:pt x="1449" y="5233"/>
                </a:cubicBezTo>
                <a:cubicBezTo>
                  <a:pt x="1449" y="5225"/>
                  <a:pt x="1449" y="5225"/>
                  <a:pt x="1449" y="5225"/>
                </a:cubicBezTo>
                <a:cubicBezTo>
                  <a:pt x="1440" y="5226"/>
                  <a:pt x="1440" y="5226"/>
                  <a:pt x="1440" y="5226"/>
                </a:cubicBezTo>
                <a:cubicBezTo>
                  <a:pt x="1437" y="5219"/>
                  <a:pt x="1437" y="5219"/>
                  <a:pt x="1437" y="5219"/>
                </a:cubicBezTo>
                <a:cubicBezTo>
                  <a:pt x="1427" y="5220"/>
                  <a:pt x="1427" y="5220"/>
                  <a:pt x="1427" y="5220"/>
                </a:cubicBezTo>
                <a:cubicBezTo>
                  <a:pt x="1421" y="5211"/>
                  <a:pt x="1421" y="5211"/>
                  <a:pt x="1421" y="5211"/>
                </a:cubicBezTo>
                <a:cubicBezTo>
                  <a:pt x="1421" y="5201"/>
                  <a:pt x="1421" y="5201"/>
                  <a:pt x="1421" y="5201"/>
                </a:cubicBezTo>
                <a:cubicBezTo>
                  <a:pt x="1415" y="5193"/>
                  <a:pt x="1415" y="5193"/>
                  <a:pt x="1415" y="5193"/>
                </a:cubicBezTo>
                <a:cubicBezTo>
                  <a:pt x="1410" y="5199"/>
                  <a:pt x="1410" y="5199"/>
                  <a:pt x="1410" y="5199"/>
                </a:cubicBezTo>
                <a:cubicBezTo>
                  <a:pt x="1409" y="5210"/>
                  <a:pt x="1409" y="5210"/>
                  <a:pt x="1409" y="5210"/>
                </a:cubicBezTo>
                <a:cubicBezTo>
                  <a:pt x="1402" y="5216"/>
                  <a:pt x="1402" y="5216"/>
                  <a:pt x="1402" y="5216"/>
                </a:cubicBezTo>
                <a:cubicBezTo>
                  <a:pt x="1404" y="5224"/>
                  <a:pt x="1404" y="5224"/>
                  <a:pt x="1404" y="5224"/>
                </a:cubicBezTo>
                <a:cubicBezTo>
                  <a:pt x="1413" y="5225"/>
                  <a:pt x="1413" y="5225"/>
                  <a:pt x="1413" y="5225"/>
                </a:cubicBezTo>
                <a:cubicBezTo>
                  <a:pt x="1417" y="5232"/>
                  <a:pt x="1417" y="5232"/>
                  <a:pt x="1417" y="5232"/>
                </a:cubicBezTo>
                <a:cubicBezTo>
                  <a:pt x="1410" y="5241"/>
                  <a:pt x="1410" y="5241"/>
                  <a:pt x="1410" y="5241"/>
                </a:cubicBezTo>
                <a:cubicBezTo>
                  <a:pt x="1408" y="5239"/>
                  <a:pt x="1406" y="5237"/>
                  <a:pt x="1402" y="5235"/>
                </a:cubicBezTo>
                <a:cubicBezTo>
                  <a:pt x="1395" y="5231"/>
                  <a:pt x="1388" y="5230"/>
                  <a:pt x="1385" y="5230"/>
                </a:cubicBezTo>
                <a:cubicBezTo>
                  <a:pt x="1370" y="5230"/>
                  <a:pt x="1366" y="5240"/>
                  <a:pt x="1357" y="5237"/>
                </a:cubicBezTo>
                <a:cubicBezTo>
                  <a:pt x="1355" y="5236"/>
                  <a:pt x="1354" y="5236"/>
                  <a:pt x="1353" y="5235"/>
                </a:cubicBezTo>
                <a:cubicBezTo>
                  <a:pt x="1351" y="5218"/>
                  <a:pt x="1351" y="5218"/>
                  <a:pt x="1351" y="5218"/>
                </a:cubicBezTo>
                <a:cubicBezTo>
                  <a:pt x="1365" y="5217"/>
                  <a:pt x="1365" y="5217"/>
                  <a:pt x="1365" y="5217"/>
                </a:cubicBezTo>
                <a:cubicBezTo>
                  <a:pt x="1372" y="5220"/>
                  <a:pt x="1372" y="5220"/>
                  <a:pt x="1372" y="5220"/>
                </a:cubicBezTo>
                <a:cubicBezTo>
                  <a:pt x="1381" y="5219"/>
                  <a:pt x="1381" y="5219"/>
                  <a:pt x="1381" y="5219"/>
                </a:cubicBezTo>
                <a:cubicBezTo>
                  <a:pt x="1382" y="5214"/>
                  <a:pt x="1382" y="5214"/>
                  <a:pt x="1382" y="5214"/>
                </a:cubicBezTo>
                <a:cubicBezTo>
                  <a:pt x="1376" y="5211"/>
                  <a:pt x="1376" y="5211"/>
                  <a:pt x="1376" y="5211"/>
                </a:cubicBezTo>
                <a:cubicBezTo>
                  <a:pt x="1372" y="5200"/>
                  <a:pt x="1372" y="5200"/>
                  <a:pt x="1372" y="5200"/>
                </a:cubicBezTo>
                <a:cubicBezTo>
                  <a:pt x="1385" y="5191"/>
                  <a:pt x="1385" y="5191"/>
                  <a:pt x="1385" y="5191"/>
                </a:cubicBezTo>
                <a:cubicBezTo>
                  <a:pt x="1376" y="5181"/>
                  <a:pt x="1376" y="5181"/>
                  <a:pt x="1376" y="5181"/>
                </a:cubicBezTo>
                <a:cubicBezTo>
                  <a:pt x="1366" y="5188"/>
                  <a:pt x="1366" y="5188"/>
                  <a:pt x="1366" y="5188"/>
                </a:cubicBezTo>
                <a:cubicBezTo>
                  <a:pt x="1356" y="5183"/>
                  <a:pt x="1356" y="5183"/>
                  <a:pt x="1356" y="5183"/>
                </a:cubicBezTo>
                <a:cubicBezTo>
                  <a:pt x="1356" y="5170"/>
                  <a:pt x="1356" y="5170"/>
                  <a:pt x="1356" y="5170"/>
                </a:cubicBezTo>
                <a:cubicBezTo>
                  <a:pt x="1343" y="5157"/>
                  <a:pt x="1343" y="5157"/>
                  <a:pt x="1343" y="5157"/>
                </a:cubicBezTo>
                <a:cubicBezTo>
                  <a:pt x="1339" y="5167"/>
                  <a:pt x="1339" y="5167"/>
                  <a:pt x="1339" y="5167"/>
                </a:cubicBezTo>
                <a:cubicBezTo>
                  <a:pt x="1342" y="5179"/>
                  <a:pt x="1342" y="5179"/>
                  <a:pt x="1342" y="5179"/>
                </a:cubicBezTo>
                <a:cubicBezTo>
                  <a:pt x="1327" y="5189"/>
                  <a:pt x="1327" y="5189"/>
                  <a:pt x="1327" y="5189"/>
                </a:cubicBezTo>
                <a:cubicBezTo>
                  <a:pt x="1327" y="5176"/>
                  <a:pt x="1327" y="5176"/>
                  <a:pt x="1327" y="5176"/>
                </a:cubicBezTo>
                <a:cubicBezTo>
                  <a:pt x="1323" y="5167"/>
                  <a:pt x="1323" y="5167"/>
                  <a:pt x="1323" y="5167"/>
                </a:cubicBezTo>
                <a:cubicBezTo>
                  <a:pt x="1323" y="5155"/>
                  <a:pt x="1323" y="5155"/>
                  <a:pt x="1323" y="5155"/>
                </a:cubicBezTo>
                <a:cubicBezTo>
                  <a:pt x="1311" y="5156"/>
                  <a:pt x="1311" y="5156"/>
                  <a:pt x="1311" y="5156"/>
                </a:cubicBezTo>
                <a:cubicBezTo>
                  <a:pt x="1303" y="5151"/>
                  <a:pt x="1303" y="5151"/>
                  <a:pt x="1303" y="5151"/>
                </a:cubicBezTo>
                <a:cubicBezTo>
                  <a:pt x="1299" y="5159"/>
                  <a:pt x="1299" y="5159"/>
                  <a:pt x="1299" y="5159"/>
                </a:cubicBezTo>
                <a:cubicBezTo>
                  <a:pt x="1309" y="5168"/>
                  <a:pt x="1309" y="5168"/>
                  <a:pt x="1309" y="5168"/>
                </a:cubicBezTo>
                <a:cubicBezTo>
                  <a:pt x="1304" y="5174"/>
                  <a:pt x="1304" y="5174"/>
                  <a:pt x="1304" y="5174"/>
                </a:cubicBezTo>
                <a:cubicBezTo>
                  <a:pt x="1290" y="5170"/>
                  <a:pt x="1290" y="5170"/>
                  <a:pt x="1290" y="5170"/>
                </a:cubicBezTo>
                <a:cubicBezTo>
                  <a:pt x="1279" y="5176"/>
                  <a:pt x="1279" y="5176"/>
                  <a:pt x="1279" y="5176"/>
                </a:cubicBezTo>
                <a:cubicBezTo>
                  <a:pt x="1265" y="5174"/>
                  <a:pt x="1265" y="5174"/>
                  <a:pt x="1265" y="5174"/>
                </a:cubicBezTo>
                <a:cubicBezTo>
                  <a:pt x="1248" y="5196"/>
                  <a:pt x="1248" y="5196"/>
                  <a:pt x="1248" y="5196"/>
                </a:cubicBezTo>
                <a:cubicBezTo>
                  <a:pt x="1249" y="5211"/>
                  <a:pt x="1249" y="5211"/>
                  <a:pt x="1249" y="5211"/>
                </a:cubicBezTo>
                <a:cubicBezTo>
                  <a:pt x="1242" y="5220"/>
                  <a:pt x="1242" y="5220"/>
                  <a:pt x="1242" y="5220"/>
                </a:cubicBezTo>
                <a:cubicBezTo>
                  <a:pt x="1232" y="5220"/>
                  <a:pt x="1232" y="5220"/>
                  <a:pt x="1232" y="5220"/>
                </a:cubicBezTo>
                <a:cubicBezTo>
                  <a:pt x="1224" y="5229"/>
                  <a:pt x="1224" y="5229"/>
                  <a:pt x="1224" y="5229"/>
                </a:cubicBezTo>
                <a:cubicBezTo>
                  <a:pt x="1235" y="5241"/>
                  <a:pt x="1235" y="5241"/>
                  <a:pt x="1235" y="5241"/>
                </a:cubicBezTo>
                <a:cubicBezTo>
                  <a:pt x="1224" y="5245"/>
                  <a:pt x="1224" y="5245"/>
                  <a:pt x="1224" y="5245"/>
                </a:cubicBezTo>
                <a:cubicBezTo>
                  <a:pt x="1225" y="5251"/>
                  <a:pt x="1225" y="5251"/>
                  <a:pt x="1225" y="5251"/>
                </a:cubicBezTo>
                <a:cubicBezTo>
                  <a:pt x="1235" y="5251"/>
                  <a:pt x="1235" y="5251"/>
                  <a:pt x="1235" y="5251"/>
                </a:cubicBezTo>
                <a:cubicBezTo>
                  <a:pt x="1242" y="5259"/>
                  <a:pt x="1242" y="5259"/>
                  <a:pt x="1242" y="5259"/>
                </a:cubicBezTo>
                <a:cubicBezTo>
                  <a:pt x="1250" y="5260"/>
                  <a:pt x="1250" y="5260"/>
                  <a:pt x="1250" y="5260"/>
                </a:cubicBezTo>
                <a:cubicBezTo>
                  <a:pt x="1255" y="5269"/>
                  <a:pt x="1255" y="5269"/>
                  <a:pt x="1255" y="5269"/>
                </a:cubicBezTo>
                <a:cubicBezTo>
                  <a:pt x="1271" y="5264"/>
                  <a:pt x="1271" y="5264"/>
                  <a:pt x="1271" y="5264"/>
                </a:cubicBezTo>
                <a:cubicBezTo>
                  <a:pt x="1287" y="5265"/>
                  <a:pt x="1287" y="5265"/>
                  <a:pt x="1287" y="5265"/>
                </a:cubicBezTo>
                <a:cubicBezTo>
                  <a:pt x="1287" y="5253"/>
                  <a:pt x="1287" y="5253"/>
                  <a:pt x="1287" y="5253"/>
                </a:cubicBezTo>
                <a:cubicBezTo>
                  <a:pt x="1301" y="5247"/>
                  <a:pt x="1301" y="5247"/>
                  <a:pt x="1301" y="5247"/>
                </a:cubicBezTo>
                <a:cubicBezTo>
                  <a:pt x="1306" y="5255"/>
                  <a:pt x="1306" y="5255"/>
                  <a:pt x="1306" y="5255"/>
                </a:cubicBezTo>
                <a:cubicBezTo>
                  <a:pt x="1318" y="5246"/>
                  <a:pt x="1318" y="5246"/>
                  <a:pt x="1318" y="5246"/>
                </a:cubicBezTo>
                <a:cubicBezTo>
                  <a:pt x="1325" y="5247"/>
                  <a:pt x="1325" y="5247"/>
                  <a:pt x="1325" y="5247"/>
                </a:cubicBezTo>
                <a:cubicBezTo>
                  <a:pt x="1325" y="5254"/>
                  <a:pt x="1326" y="5256"/>
                  <a:pt x="1324" y="5259"/>
                </a:cubicBezTo>
                <a:cubicBezTo>
                  <a:pt x="1322" y="5263"/>
                  <a:pt x="1318" y="5261"/>
                  <a:pt x="1316" y="5265"/>
                </a:cubicBezTo>
                <a:cubicBezTo>
                  <a:pt x="1313" y="5268"/>
                  <a:pt x="1316" y="5273"/>
                  <a:pt x="1317" y="5281"/>
                </a:cubicBezTo>
                <a:cubicBezTo>
                  <a:pt x="1317" y="5288"/>
                  <a:pt x="1315" y="5300"/>
                  <a:pt x="1309" y="5302"/>
                </a:cubicBezTo>
                <a:cubicBezTo>
                  <a:pt x="1306" y="5303"/>
                  <a:pt x="1301" y="5301"/>
                  <a:pt x="1300" y="5298"/>
                </a:cubicBezTo>
                <a:cubicBezTo>
                  <a:pt x="1299" y="5295"/>
                  <a:pt x="1302" y="5293"/>
                  <a:pt x="1301" y="5290"/>
                </a:cubicBezTo>
                <a:cubicBezTo>
                  <a:pt x="1301" y="5285"/>
                  <a:pt x="1295" y="5282"/>
                  <a:pt x="1291" y="5280"/>
                </a:cubicBezTo>
                <a:cubicBezTo>
                  <a:pt x="1286" y="5278"/>
                  <a:pt x="1284" y="5277"/>
                  <a:pt x="1281" y="5278"/>
                </a:cubicBezTo>
                <a:cubicBezTo>
                  <a:pt x="1276" y="5279"/>
                  <a:pt x="1277" y="5285"/>
                  <a:pt x="1270" y="5288"/>
                </a:cubicBezTo>
                <a:cubicBezTo>
                  <a:pt x="1267" y="5289"/>
                  <a:pt x="1266" y="5288"/>
                  <a:pt x="1261" y="5290"/>
                </a:cubicBezTo>
                <a:cubicBezTo>
                  <a:pt x="1258" y="5291"/>
                  <a:pt x="1252" y="5295"/>
                  <a:pt x="1253" y="5298"/>
                </a:cubicBezTo>
                <a:cubicBezTo>
                  <a:pt x="1253" y="5298"/>
                  <a:pt x="1253" y="5300"/>
                  <a:pt x="1266" y="5304"/>
                </a:cubicBezTo>
                <a:cubicBezTo>
                  <a:pt x="1266" y="5304"/>
                  <a:pt x="1266" y="5304"/>
                  <a:pt x="1266" y="5304"/>
                </a:cubicBezTo>
                <a:cubicBezTo>
                  <a:pt x="1268" y="5308"/>
                  <a:pt x="1268" y="5311"/>
                  <a:pt x="1268" y="5312"/>
                </a:cubicBezTo>
                <a:cubicBezTo>
                  <a:pt x="1265" y="5318"/>
                  <a:pt x="1251" y="5319"/>
                  <a:pt x="1239" y="5316"/>
                </a:cubicBezTo>
                <a:cubicBezTo>
                  <a:pt x="1231" y="5313"/>
                  <a:pt x="1229" y="5309"/>
                  <a:pt x="1222" y="5309"/>
                </a:cubicBezTo>
                <a:cubicBezTo>
                  <a:pt x="1216" y="5310"/>
                  <a:pt x="1216" y="5314"/>
                  <a:pt x="1210" y="5316"/>
                </a:cubicBezTo>
                <a:cubicBezTo>
                  <a:pt x="1202" y="5317"/>
                  <a:pt x="1195" y="5314"/>
                  <a:pt x="1191" y="5312"/>
                </a:cubicBezTo>
                <a:cubicBezTo>
                  <a:pt x="1189" y="5311"/>
                  <a:pt x="1180" y="5306"/>
                  <a:pt x="1176" y="5296"/>
                </a:cubicBezTo>
                <a:cubicBezTo>
                  <a:pt x="1173" y="5291"/>
                  <a:pt x="1174" y="5289"/>
                  <a:pt x="1171" y="5287"/>
                </a:cubicBezTo>
                <a:cubicBezTo>
                  <a:pt x="1167" y="5285"/>
                  <a:pt x="1163" y="5289"/>
                  <a:pt x="1157" y="5286"/>
                </a:cubicBezTo>
                <a:cubicBezTo>
                  <a:pt x="1154" y="5285"/>
                  <a:pt x="1154" y="5282"/>
                  <a:pt x="1152" y="5282"/>
                </a:cubicBezTo>
                <a:cubicBezTo>
                  <a:pt x="1147" y="5281"/>
                  <a:pt x="1145" y="5287"/>
                  <a:pt x="1141" y="5287"/>
                </a:cubicBezTo>
                <a:cubicBezTo>
                  <a:pt x="1137" y="5287"/>
                  <a:pt x="1136" y="5280"/>
                  <a:pt x="1132" y="5279"/>
                </a:cubicBezTo>
                <a:cubicBezTo>
                  <a:pt x="1128" y="5279"/>
                  <a:pt x="1125" y="5282"/>
                  <a:pt x="1118" y="5288"/>
                </a:cubicBezTo>
                <a:cubicBezTo>
                  <a:pt x="1110" y="5295"/>
                  <a:pt x="1106" y="5298"/>
                  <a:pt x="1101" y="5301"/>
                </a:cubicBezTo>
                <a:cubicBezTo>
                  <a:pt x="1090" y="5307"/>
                  <a:pt x="1083" y="5303"/>
                  <a:pt x="1078" y="5308"/>
                </a:cubicBezTo>
                <a:cubicBezTo>
                  <a:pt x="1074" y="5314"/>
                  <a:pt x="1077" y="5320"/>
                  <a:pt x="1073" y="5322"/>
                </a:cubicBezTo>
                <a:cubicBezTo>
                  <a:pt x="1069" y="5324"/>
                  <a:pt x="1065" y="5319"/>
                  <a:pt x="1059" y="5320"/>
                </a:cubicBezTo>
                <a:cubicBezTo>
                  <a:pt x="1053" y="5321"/>
                  <a:pt x="1053" y="5325"/>
                  <a:pt x="1047" y="5326"/>
                </a:cubicBezTo>
                <a:cubicBezTo>
                  <a:pt x="1041" y="5328"/>
                  <a:pt x="1039" y="5325"/>
                  <a:pt x="1029" y="5324"/>
                </a:cubicBezTo>
                <a:cubicBezTo>
                  <a:pt x="1024" y="5323"/>
                  <a:pt x="1011" y="5321"/>
                  <a:pt x="1002" y="5328"/>
                </a:cubicBezTo>
                <a:cubicBezTo>
                  <a:pt x="998" y="5332"/>
                  <a:pt x="998" y="5335"/>
                  <a:pt x="994" y="5335"/>
                </a:cubicBezTo>
                <a:cubicBezTo>
                  <a:pt x="990" y="5336"/>
                  <a:pt x="986" y="5331"/>
                  <a:pt x="984" y="5326"/>
                </a:cubicBezTo>
                <a:cubicBezTo>
                  <a:pt x="982" y="5320"/>
                  <a:pt x="985" y="5317"/>
                  <a:pt x="983" y="5313"/>
                </a:cubicBezTo>
                <a:cubicBezTo>
                  <a:pt x="980" y="5307"/>
                  <a:pt x="971" y="5304"/>
                  <a:pt x="965" y="5306"/>
                </a:cubicBezTo>
                <a:cubicBezTo>
                  <a:pt x="960" y="5307"/>
                  <a:pt x="959" y="5310"/>
                  <a:pt x="955" y="5310"/>
                </a:cubicBezTo>
                <a:cubicBezTo>
                  <a:pt x="949" y="5311"/>
                  <a:pt x="946" y="5303"/>
                  <a:pt x="942" y="5305"/>
                </a:cubicBezTo>
                <a:cubicBezTo>
                  <a:pt x="939" y="5306"/>
                  <a:pt x="941" y="5310"/>
                  <a:pt x="937" y="5316"/>
                </a:cubicBezTo>
                <a:cubicBezTo>
                  <a:pt x="934" y="5322"/>
                  <a:pt x="929" y="5325"/>
                  <a:pt x="925" y="5326"/>
                </a:cubicBezTo>
                <a:cubicBezTo>
                  <a:pt x="917" y="5331"/>
                  <a:pt x="915" y="5328"/>
                  <a:pt x="902" y="5331"/>
                </a:cubicBezTo>
                <a:cubicBezTo>
                  <a:pt x="890" y="5334"/>
                  <a:pt x="883" y="5338"/>
                  <a:pt x="883" y="5338"/>
                </a:cubicBezTo>
                <a:cubicBezTo>
                  <a:pt x="876" y="5341"/>
                  <a:pt x="875" y="5342"/>
                  <a:pt x="871" y="5342"/>
                </a:cubicBezTo>
                <a:cubicBezTo>
                  <a:pt x="865" y="5341"/>
                  <a:pt x="860" y="5334"/>
                  <a:pt x="858" y="5331"/>
                </a:cubicBezTo>
                <a:cubicBezTo>
                  <a:pt x="857" y="5329"/>
                  <a:pt x="856" y="5327"/>
                  <a:pt x="855" y="5326"/>
                </a:cubicBezTo>
                <a:cubicBezTo>
                  <a:pt x="869" y="5324"/>
                  <a:pt x="869" y="5324"/>
                  <a:pt x="869" y="5324"/>
                </a:cubicBezTo>
                <a:cubicBezTo>
                  <a:pt x="877" y="5319"/>
                  <a:pt x="877" y="5319"/>
                  <a:pt x="877" y="5319"/>
                </a:cubicBezTo>
                <a:cubicBezTo>
                  <a:pt x="874" y="5313"/>
                  <a:pt x="874" y="5313"/>
                  <a:pt x="874" y="5313"/>
                </a:cubicBezTo>
                <a:cubicBezTo>
                  <a:pt x="883" y="5297"/>
                  <a:pt x="883" y="5297"/>
                  <a:pt x="883" y="5297"/>
                </a:cubicBezTo>
                <a:cubicBezTo>
                  <a:pt x="878" y="5292"/>
                  <a:pt x="878" y="5292"/>
                  <a:pt x="878" y="5292"/>
                </a:cubicBezTo>
                <a:cubicBezTo>
                  <a:pt x="865" y="5303"/>
                  <a:pt x="865" y="5303"/>
                  <a:pt x="865" y="5303"/>
                </a:cubicBezTo>
                <a:cubicBezTo>
                  <a:pt x="855" y="5300"/>
                  <a:pt x="855" y="5300"/>
                  <a:pt x="855" y="5300"/>
                </a:cubicBezTo>
                <a:cubicBezTo>
                  <a:pt x="845" y="5312"/>
                  <a:pt x="845" y="5312"/>
                  <a:pt x="845" y="5312"/>
                </a:cubicBezTo>
                <a:cubicBezTo>
                  <a:pt x="838" y="5314"/>
                  <a:pt x="838" y="5314"/>
                  <a:pt x="838" y="5314"/>
                </a:cubicBezTo>
                <a:cubicBezTo>
                  <a:pt x="829" y="5298"/>
                  <a:pt x="829" y="5298"/>
                  <a:pt x="829" y="5298"/>
                </a:cubicBezTo>
                <a:cubicBezTo>
                  <a:pt x="829" y="5295"/>
                  <a:pt x="828" y="5292"/>
                  <a:pt x="827" y="5289"/>
                </a:cubicBezTo>
                <a:cubicBezTo>
                  <a:pt x="825" y="5285"/>
                  <a:pt x="823" y="5285"/>
                  <a:pt x="821" y="5281"/>
                </a:cubicBezTo>
                <a:cubicBezTo>
                  <a:pt x="820" y="5277"/>
                  <a:pt x="821" y="5276"/>
                  <a:pt x="820" y="5272"/>
                </a:cubicBezTo>
                <a:cubicBezTo>
                  <a:pt x="819" y="5266"/>
                  <a:pt x="814" y="5265"/>
                  <a:pt x="807" y="5258"/>
                </a:cubicBezTo>
                <a:cubicBezTo>
                  <a:pt x="805" y="5256"/>
                  <a:pt x="801" y="5251"/>
                  <a:pt x="798" y="5242"/>
                </a:cubicBezTo>
                <a:cubicBezTo>
                  <a:pt x="797" y="5237"/>
                  <a:pt x="794" y="5230"/>
                  <a:pt x="797" y="5223"/>
                </a:cubicBezTo>
                <a:cubicBezTo>
                  <a:pt x="800" y="5216"/>
                  <a:pt x="806" y="5217"/>
                  <a:pt x="808" y="5211"/>
                </a:cubicBezTo>
                <a:cubicBezTo>
                  <a:pt x="810" y="5206"/>
                  <a:pt x="808" y="5200"/>
                  <a:pt x="804" y="5189"/>
                </a:cubicBezTo>
                <a:cubicBezTo>
                  <a:pt x="801" y="5179"/>
                  <a:pt x="800" y="5179"/>
                  <a:pt x="799" y="5175"/>
                </a:cubicBezTo>
                <a:cubicBezTo>
                  <a:pt x="799" y="5169"/>
                  <a:pt x="801" y="5166"/>
                  <a:pt x="808" y="5152"/>
                </a:cubicBezTo>
                <a:cubicBezTo>
                  <a:pt x="813" y="5140"/>
                  <a:pt x="816" y="5135"/>
                  <a:pt x="816" y="5131"/>
                </a:cubicBezTo>
                <a:cubicBezTo>
                  <a:pt x="818" y="5119"/>
                  <a:pt x="812" y="5115"/>
                  <a:pt x="816" y="5106"/>
                </a:cubicBezTo>
                <a:cubicBezTo>
                  <a:pt x="819" y="5098"/>
                  <a:pt x="824" y="5099"/>
                  <a:pt x="828" y="5092"/>
                </a:cubicBezTo>
                <a:cubicBezTo>
                  <a:pt x="833" y="5080"/>
                  <a:pt x="824" y="5072"/>
                  <a:pt x="828" y="5059"/>
                </a:cubicBezTo>
                <a:cubicBezTo>
                  <a:pt x="832" y="5045"/>
                  <a:pt x="846" y="5046"/>
                  <a:pt x="848" y="5035"/>
                </a:cubicBezTo>
                <a:cubicBezTo>
                  <a:pt x="851" y="5021"/>
                  <a:pt x="831" y="5016"/>
                  <a:pt x="824" y="4990"/>
                </a:cubicBezTo>
                <a:cubicBezTo>
                  <a:pt x="821" y="4980"/>
                  <a:pt x="821" y="4971"/>
                  <a:pt x="822" y="4963"/>
                </a:cubicBezTo>
                <a:cubicBezTo>
                  <a:pt x="822" y="4954"/>
                  <a:pt x="823" y="4935"/>
                  <a:pt x="833" y="4922"/>
                </a:cubicBezTo>
                <a:cubicBezTo>
                  <a:pt x="834" y="4920"/>
                  <a:pt x="837" y="4916"/>
                  <a:pt x="839" y="4910"/>
                </a:cubicBezTo>
                <a:cubicBezTo>
                  <a:pt x="841" y="4905"/>
                  <a:pt x="840" y="4902"/>
                  <a:pt x="841" y="4898"/>
                </a:cubicBezTo>
                <a:cubicBezTo>
                  <a:pt x="843" y="4889"/>
                  <a:pt x="849" y="4885"/>
                  <a:pt x="857" y="4876"/>
                </a:cubicBezTo>
                <a:cubicBezTo>
                  <a:pt x="857" y="4876"/>
                  <a:pt x="867" y="4865"/>
                  <a:pt x="873" y="4850"/>
                </a:cubicBezTo>
                <a:cubicBezTo>
                  <a:pt x="883" y="4825"/>
                  <a:pt x="871" y="4810"/>
                  <a:pt x="883" y="4799"/>
                </a:cubicBezTo>
                <a:cubicBezTo>
                  <a:pt x="890" y="4791"/>
                  <a:pt x="898" y="4795"/>
                  <a:pt x="903" y="4786"/>
                </a:cubicBezTo>
                <a:cubicBezTo>
                  <a:pt x="907" y="4780"/>
                  <a:pt x="905" y="4775"/>
                  <a:pt x="903" y="4759"/>
                </a:cubicBezTo>
                <a:cubicBezTo>
                  <a:pt x="901" y="4742"/>
                  <a:pt x="901" y="4733"/>
                  <a:pt x="902" y="4726"/>
                </a:cubicBezTo>
                <a:cubicBezTo>
                  <a:pt x="905" y="4705"/>
                  <a:pt x="918" y="4704"/>
                  <a:pt x="919" y="4684"/>
                </a:cubicBezTo>
                <a:cubicBezTo>
                  <a:pt x="919" y="4672"/>
                  <a:pt x="915" y="4667"/>
                  <a:pt x="919" y="4659"/>
                </a:cubicBezTo>
                <a:cubicBezTo>
                  <a:pt x="924" y="4651"/>
                  <a:pt x="930" y="4653"/>
                  <a:pt x="936" y="4646"/>
                </a:cubicBezTo>
                <a:cubicBezTo>
                  <a:pt x="946" y="4634"/>
                  <a:pt x="931" y="4621"/>
                  <a:pt x="938" y="4598"/>
                </a:cubicBezTo>
                <a:cubicBezTo>
                  <a:pt x="942" y="4583"/>
                  <a:pt x="950" y="4583"/>
                  <a:pt x="953" y="4566"/>
                </a:cubicBezTo>
                <a:cubicBezTo>
                  <a:pt x="955" y="4557"/>
                  <a:pt x="953" y="4552"/>
                  <a:pt x="957" y="4546"/>
                </a:cubicBezTo>
                <a:cubicBezTo>
                  <a:pt x="962" y="4539"/>
                  <a:pt x="969" y="4538"/>
                  <a:pt x="979" y="4533"/>
                </a:cubicBezTo>
                <a:cubicBezTo>
                  <a:pt x="994" y="4525"/>
                  <a:pt x="1013" y="4508"/>
                  <a:pt x="1014" y="4489"/>
                </a:cubicBezTo>
                <a:cubicBezTo>
                  <a:pt x="1015" y="4477"/>
                  <a:pt x="1009" y="4468"/>
                  <a:pt x="1013" y="4464"/>
                </a:cubicBezTo>
                <a:cubicBezTo>
                  <a:pt x="1018" y="4461"/>
                  <a:pt x="1027" y="4470"/>
                  <a:pt x="1034" y="4466"/>
                </a:cubicBezTo>
                <a:cubicBezTo>
                  <a:pt x="1042" y="4462"/>
                  <a:pt x="1036" y="4445"/>
                  <a:pt x="1045" y="4440"/>
                </a:cubicBezTo>
                <a:cubicBezTo>
                  <a:pt x="1051" y="4436"/>
                  <a:pt x="1057" y="4445"/>
                  <a:pt x="1066" y="4442"/>
                </a:cubicBezTo>
                <a:cubicBezTo>
                  <a:pt x="1075" y="4440"/>
                  <a:pt x="1080" y="4426"/>
                  <a:pt x="1086" y="4406"/>
                </a:cubicBezTo>
                <a:cubicBezTo>
                  <a:pt x="1092" y="4388"/>
                  <a:pt x="1089" y="4388"/>
                  <a:pt x="1094" y="4376"/>
                </a:cubicBezTo>
                <a:cubicBezTo>
                  <a:pt x="1100" y="4362"/>
                  <a:pt x="1108" y="4352"/>
                  <a:pt x="1118" y="4341"/>
                </a:cubicBezTo>
                <a:cubicBezTo>
                  <a:pt x="1124" y="4334"/>
                  <a:pt x="1132" y="4325"/>
                  <a:pt x="1144" y="4315"/>
                </a:cubicBezTo>
                <a:cubicBezTo>
                  <a:pt x="1139" y="4305"/>
                  <a:pt x="1139" y="4305"/>
                  <a:pt x="1139" y="4305"/>
                </a:cubicBezTo>
                <a:cubicBezTo>
                  <a:pt x="1127" y="4307"/>
                  <a:pt x="1127" y="4307"/>
                  <a:pt x="1127" y="4307"/>
                </a:cubicBezTo>
                <a:cubicBezTo>
                  <a:pt x="1110" y="4304"/>
                  <a:pt x="1110" y="4304"/>
                  <a:pt x="1110" y="4304"/>
                </a:cubicBezTo>
                <a:cubicBezTo>
                  <a:pt x="1076" y="4296"/>
                  <a:pt x="1076" y="4296"/>
                  <a:pt x="1076" y="4296"/>
                </a:cubicBezTo>
                <a:cubicBezTo>
                  <a:pt x="1039" y="4274"/>
                  <a:pt x="1039" y="4274"/>
                  <a:pt x="1039" y="4274"/>
                </a:cubicBezTo>
                <a:cubicBezTo>
                  <a:pt x="1022" y="4274"/>
                  <a:pt x="1022" y="4274"/>
                  <a:pt x="1022" y="4274"/>
                </a:cubicBezTo>
                <a:cubicBezTo>
                  <a:pt x="1001" y="4250"/>
                  <a:pt x="1001" y="4250"/>
                  <a:pt x="1001" y="4250"/>
                </a:cubicBezTo>
                <a:cubicBezTo>
                  <a:pt x="993" y="4256"/>
                  <a:pt x="993" y="4256"/>
                  <a:pt x="993" y="4256"/>
                </a:cubicBezTo>
                <a:cubicBezTo>
                  <a:pt x="975" y="4255"/>
                  <a:pt x="975" y="4255"/>
                  <a:pt x="975" y="4255"/>
                </a:cubicBezTo>
                <a:cubicBezTo>
                  <a:pt x="961" y="4264"/>
                  <a:pt x="961" y="4264"/>
                  <a:pt x="961" y="4264"/>
                </a:cubicBezTo>
                <a:cubicBezTo>
                  <a:pt x="931" y="4241"/>
                  <a:pt x="931" y="4241"/>
                  <a:pt x="931" y="4241"/>
                </a:cubicBezTo>
                <a:cubicBezTo>
                  <a:pt x="922" y="4256"/>
                  <a:pt x="922" y="4256"/>
                  <a:pt x="922" y="4256"/>
                </a:cubicBezTo>
                <a:cubicBezTo>
                  <a:pt x="908" y="4259"/>
                  <a:pt x="908" y="4259"/>
                  <a:pt x="908" y="4259"/>
                </a:cubicBezTo>
                <a:cubicBezTo>
                  <a:pt x="903" y="4251"/>
                  <a:pt x="903" y="4251"/>
                  <a:pt x="903" y="4251"/>
                </a:cubicBezTo>
                <a:cubicBezTo>
                  <a:pt x="890" y="4247"/>
                  <a:pt x="890" y="4247"/>
                  <a:pt x="890" y="4247"/>
                </a:cubicBezTo>
                <a:cubicBezTo>
                  <a:pt x="880" y="4256"/>
                  <a:pt x="880" y="4256"/>
                  <a:pt x="880" y="4256"/>
                </a:cubicBezTo>
                <a:cubicBezTo>
                  <a:pt x="860" y="4252"/>
                  <a:pt x="860" y="4252"/>
                  <a:pt x="860" y="4252"/>
                </a:cubicBezTo>
                <a:cubicBezTo>
                  <a:pt x="841" y="4230"/>
                  <a:pt x="841" y="4230"/>
                  <a:pt x="841" y="4230"/>
                </a:cubicBezTo>
                <a:cubicBezTo>
                  <a:pt x="818" y="4232"/>
                  <a:pt x="818" y="4232"/>
                  <a:pt x="818" y="4232"/>
                </a:cubicBezTo>
                <a:cubicBezTo>
                  <a:pt x="786" y="4186"/>
                  <a:pt x="786" y="4186"/>
                  <a:pt x="786" y="4186"/>
                </a:cubicBezTo>
                <a:cubicBezTo>
                  <a:pt x="794" y="4180"/>
                  <a:pt x="794" y="4180"/>
                  <a:pt x="794" y="4180"/>
                </a:cubicBezTo>
                <a:cubicBezTo>
                  <a:pt x="790" y="4171"/>
                  <a:pt x="790" y="4171"/>
                  <a:pt x="790" y="4171"/>
                </a:cubicBezTo>
                <a:cubicBezTo>
                  <a:pt x="765" y="4170"/>
                  <a:pt x="765" y="4170"/>
                  <a:pt x="765" y="4170"/>
                </a:cubicBezTo>
                <a:cubicBezTo>
                  <a:pt x="761" y="4156"/>
                  <a:pt x="761" y="4156"/>
                  <a:pt x="761" y="4156"/>
                </a:cubicBezTo>
                <a:cubicBezTo>
                  <a:pt x="727" y="4168"/>
                  <a:pt x="727" y="4168"/>
                  <a:pt x="727" y="4168"/>
                </a:cubicBezTo>
                <a:cubicBezTo>
                  <a:pt x="723" y="4188"/>
                  <a:pt x="723" y="4188"/>
                  <a:pt x="723" y="4188"/>
                </a:cubicBezTo>
                <a:cubicBezTo>
                  <a:pt x="707" y="4185"/>
                  <a:pt x="707" y="4185"/>
                  <a:pt x="707" y="4185"/>
                </a:cubicBezTo>
                <a:cubicBezTo>
                  <a:pt x="697" y="4208"/>
                  <a:pt x="697" y="4208"/>
                  <a:pt x="697" y="4208"/>
                </a:cubicBezTo>
                <a:cubicBezTo>
                  <a:pt x="662" y="4194"/>
                  <a:pt x="662" y="4194"/>
                  <a:pt x="662" y="4194"/>
                </a:cubicBezTo>
                <a:cubicBezTo>
                  <a:pt x="646" y="4205"/>
                  <a:pt x="646" y="4205"/>
                  <a:pt x="646" y="4205"/>
                </a:cubicBezTo>
                <a:cubicBezTo>
                  <a:pt x="637" y="4194"/>
                  <a:pt x="637" y="4194"/>
                  <a:pt x="637" y="4194"/>
                </a:cubicBezTo>
                <a:cubicBezTo>
                  <a:pt x="624" y="4202"/>
                  <a:pt x="624" y="4202"/>
                  <a:pt x="624" y="4202"/>
                </a:cubicBezTo>
                <a:cubicBezTo>
                  <a:pt x="604" y="4189"/>
                  <a:pt x="604" y="4189"/>
                  <a:pt x="604" y="4189"/>
                </a:cubicBezTo>
                <a:cubicBezTo>
                  <a:pt x="599" y="4173"/>
                  <a:pt x="599" y="4173"/>
                  <a:pt x="599" y="4173"/>
                </a:cubicBezTo>
                <a:cubicBezTo>
                  <a:pt x="589" y="4178"/>
                  <a:pt x="589" y="4178"/>
                  <a:pt x="589" y="4178"/>
                </a:cubicBezTo>
                <a:cubicBezTo>
                  <a:pt x="590" y="4199"/>
                  <a:pt x="590" y="4199"/>
                  <a:pt x="590" y="4199"/>
                </a:cubicBezTo>
                <a:cubicBezTo>
                  <a:pt x="579" y="4210"/>
                  <a:pt x="579" y="4210"/>
                  <a:pt x="579" y="4210"/>
                </a:cubicBezTo>
                <a:cubicBezTo>
                  <a:pt x="571" y="4203"/>
                  <a:pt x="571" y="4203"/>
                  <a:pt x="571" y="4203"/>
                </a:cubicBezTo>
                <a:cubicBezTo>
                  <a:pt x="570" y="4183"/>
                  <a:pt x="570" y="4183"/>
                  <a:pt x="570" y="4183"/>
                </a:cubicBezTo>
                <a:cubicBezTo>
                  <a:pt x="566" y="4162"/>
                  <a:pt x="566" y="4162"/>
                  <a:pt x="566" y="4162"/>
                </a:cubicBezTo>
                <a:cubicBezTo>
                  <a:pt x="565" y="4147"/>
                  <a:pt x="565" y="4147"/>
                  <a:pt x="565" y="4147"/>
                </a:cubicBezTo>
                <a:cubicBezTo>
                  <a:pt x="553" y="4155"/>
                  <a:pt x="553" y="4155"/>
                  <a:pt x="553" y="4155"/>
                </a:cubicBezTo>
                <a:cubicBezTo>
                  <a:pt x="538" y="4143"/>
                  <a:pt x="538" y="4143"/>
                  <a:pt x="538" y="4143"/>
                </a:cubicBezTo>
                <a:cubicBezTo>
                  <a:pt x="528" y="4143"/>
                  <a:pt x="528" y="4143"/>
                  <a:pt x="528" y="4143"/>
                </a:cubicBezTo>
                <a:cubicBezTo>
                  <a:pt x="512" y="4129"/>
                  <a:pt x="512" y="4129"/>
                  <a:pt x="512" y="4129"/>
                </a:cubicBezTo>
                <a:cubicBezTo>
                  <a:pt x="496" y="4138"/>
                  <a:pt x="496" y="4138"/>
                  <a:pt x="496" y="4138"/>
                </a:cubicBezTo>
                <a:cubicBezTo>
                  <a:pt x="480" y="4126"/>
                  <a:pt x="480" y="4126"/>
                  <a:pt x="480" y="4126"/>
                </a:cubicBezTo>
                <a:cubicBezTo>
                  <a:pt x="471" y="4135"/>
                  <a:pt x="471" y="4135"/>
                  <a:pt x="471" y="4135"/>
                </a:cubicBezTo>
                <a:cubicBezTo>
                  <a:pt x="486" y="4157"/>
                  <a:pt x="486" y="4157"/>
                  <a:pt x="486" y="4157"/>
                </a:cubicBezTo>
                <a:cubicBezTo>
                  <a:pt x="470" y="4181"/>
                  <a:pt x="470" y="4181"/>
                  <a:pt x="470" y="4181"/>
                </a:cubicBezTo>
                <a:cubicBezTo>
                  <a:pt x="445" y="4170"/>
                  <a:pt x="445" y="4170"/>
                  <a:pt x="445" y="4170"/>
                </a:cubicBezTo>
                <a:cubicBezTo>
                  <a:pt x="420" y="4170"/>
                  <a:pt x="420" y="4170"/>
                  <a:pt x="420" y="4170"/>
                </a:cubicBezTo>
                <a:cubicBezTo>
                  <a:pt x="414" y="4153"/>
                  <a:pt x="414" y="4153"/>
                  <a:pt x="414" y="4153"/>
                </a:cubicBezTo>
                <a:cubicBezTo>
                  <a:pt x="417" y="4141"/>
                  <a:pt x="417" y="4141"/>
                  <a:pt x="417" y="4141"/>
                </a:cubicBezTo>
                <a:cubicBezTo>
                  <a:pt x="414" y="4131"/>
                  <a:pt x="414" y="4131"/>
                  <a:pt x="414" y="4131"/>
                </a:cubicBezTo>
                <a:cubicBezTo>
                  <a:pt x="401" y="4133"/>
                  <a:pt x="401" y="4133"/>
                  <a:pt x="401" y="4133"/>
                </a:cubicBezTo>
                <a:cubicBezTo>
                  <a:pt x="398" y="4111"/>
                  <a:pt x="398" y="4111"/>
                  <a:pt x="398" y="4111"/>
                </a:cubicBezTo>
                <a:cubicBezTo>
                  <a:pt x="383" y="4104"/>
                  <a:pt x="383" y="4104"/>
                  <a:pt x="383" y="4104"/>
                </a:cubicBezTo>
                <a:cubicBezTo>
                  <a:pt x="383" y="4084"/>
                  <a:pt x="383" y="4084"/>
                  <a:pt x="383" y="4084"/>
                </a:cubicBezTo>
                <a:cubicBezTo>
                  <a:pt x="348" y="4063"/>
                  <a:pt x="348" y="4063"/>
                  <a:pt x="348" y="4063"/>
                </a:cubicBezTo>
                <a:cubicBezTo>
                  <a:pt x="348" y="4056"/>
                  <a:pt x="348" y="4056"/>
                  <a:pt x="348" y="4056"/>
                </a:cubicBezTo>
                <a:cubicBezTo>
                  <a:pt x="342" y="4048"/>
                  <a:pt x="342" y="4048"/>
                  <a:pt x="342" y="4048"/>
                </a:cubicBezTo>
                <a:cubicBezTo>
                  <a:pt x="339" y="4036"/>
                  <a:pt x="339" y="4036"/>
                  <a:pt x="339" y="4036"/>
                </a:cubicBezTo>
                <a:cubicBezTo>
                  <a:pt x="355" y="4030"/>
                  <a:pt x="355" y="4030"/>
                  <a:pt x="355" y="4030"/>
                </a:cubicBezTo>
                <a:cubicBezTo>
                  <a:pt x="347" y="4010"/>
                  <a:pt x="347" y="4010"/>
                  <a:pt x="347" y="4010"/>
                </a:cubicBezTo>
                <a:cubicBezTo>
                  <a:pt x="325" y="3999"/>
                  <a:pt x="325" y="3999"/>
                  <a:pt x="325" y="3999"/>
                </a:cubicBezTo>
                <a:cubicBezTo>
                  <a:pt x="330" y="3979"/>
                  <a:pt x="330" y="3979"/>
                  <a:pt x="330" y="3979"/>
                </a:cubicBezTo>
                <a:cubicBezTo>
                  <a:pt x="270" y="3949"/>
                  <a:pt x="270" y="3949"/>
                  <a:pt x="270" y="3949"/>
                </a:cubicBezTo>
                <a:cubicBezTo>
                  <a:pt x="245" y="3957"/>
                  <a:pt x="245" y="3957"/>
                  <a:pt x="245" y="3957"/>
                </a:cubicBezTo>
                <a:cubicBezTo>
                  <a:pt x="251" y="3941"/>
                  <a:pt x="250" y="3931"/>
                  <a:pt x="247" y="3923"/>
                </a:cubicBezTo>
                <a:cubicBezTo>
                  <a:pt x="244" y="3917"/>
                  <a:pt x="240" y="3912"/>
                  <a:pt x="242" y="3906"/>
                </a:cubicBezTo>
                <a:cubicBezTo>
                  <a:pt x="245" y="3899"/>
                  <a:pt x="253" y="3899"/>
                  <a:pt x="254" y="3894"/>
                </a:cubicBezTo>
                <a:cubicBezTo>
                  <a:pt x="255" y="3887"/>
                  <a:pt x="245" y="3885"/>
                  <a:pt x="245" y="3877"/>
                </a:cubicBezTo>
                <a:cubicBezTo>
                  <a:pt x="245" y="3872"/>
                  <a:pt x="248" y="3870"/>
                  <a:pt x="256" y="3860"/>
                </a:cubicBezTo>
                <a:cubicBezTo>
                  <a:pt x="267" y="3847"/>
                  <a:pt x="273" y="3840"/>
                  <a:pt x="274" y="3835"/>
                </a:cubicBezTo>
                <a:cubicBezTo>
                  <a:pt x="277" y="3824"/>
                  <a:pt x="271" y="3821"/>
                  <a:pt x="274" y="3811"/>
                </a:cubicBezTo>
                <a:cubicBezTo>
                  <a:pt x="276" y="3805"/>
                  <a:pt x="279" y="3804"/>
                  <a:pt x="294" y="3790"/>
                </a:cubicBezTo>
                <a:cubicBezTo>
                  <a:pt x="313" y="3773"/>
                  <a:pt x="314" y="3770"/>
                  <a:pt x="314" y="3767"/>
                </a:cubicBezTo>
                <a:cubicBezTo>
                  <a:pt x="315" y="3758"/>
                  <a:pt x="306" y="3752"/>
                  <a:pt x="310" y="3745"/>
                </a:cubicBezTo>
                <a:cubicBezTo>
                  <a:pt x="312" y="3740"/>
                  <a:pt x="316" y="3740"/>
                  <a:pt x="316" y="3736"/>
                </a:cubicBezTo>
                <a:cubicBezTo>
                  <a:pt x="317" y="3731"/>
                  <a:pt x="312" y="3728"/>
                  <a:pt x="311" y="3723"/>
                </a:cubicBezTo>
                <a:cubicBezTo>
                  <a:pt x="311" y="3719"/>
                  <a:pt x="312" y="3713"/>
                  <a:pt x="321" y="3705"/>
                </a:cubicBezTo>
                <a:cubicBezTo>
                  <a:pt x="301" y="3701"/>
                  <a:pt x="301" y="3701"/>
                  <a:pt x="301" y="3701"/>
                </a:cubicBezTo>
                <a:cubicBezTo>
                  <a:pt x="296" y="3693"/>
                  <a:pt x="296" y="3693"/>
                  <a:pt x="296" y="3693"/>
                </a:cubicBezTo>
                <a:cubicBezTo>
                  <a:pt x="287" y="3701"/>
                  <a:pt x="287" y="3701"/>
                  <a:pt x="287" y="3701"/>
                </a:cubicBezTo>
                <a:cubicBezTo>
                  <a:pt x="265" y="3701"/>
                  <a:pt x="265" y="3701"/>
                  <a:pt x="265" y="3701"/>
                </a:cubicBezTo>
                <a:cubicBezTo>
                  <a:pt x="239" y="3676"/>
                  <a:pt x="239" y="3676"/>
                  <a:pt x="239" y="3676"/>
                </a:cubicBezTo>
                <a:cubicBezTo>
                  <a:pt x="218" y="3683"/>
                  <a:pt x="218" y="3683"/>
                  <a:pt x="218" y="3683"/>
                </a:cubicBezTo>
                <a:cubicBezTo>
                  <a:pt x="219" y="3662"/>
                  <a:pt x="219" y="3662"/>
                  <a:pt x="219" y="3662"/>
                </a:cubicBezTo>
                <a:cubicBezTo>
                  <a:pt x="204" y="3661"/>
                  <a:pt x="204" y="3661"/>
                  <a:pt x="204" y="3661"/>
                </a:cubicBezTo>
                <a:cubicBezTo>
                  <a:pt x="171" y="3631"/>
                  <a:pt x="171" y="3631"/>
                  <a:pt x="171" y="3631"/>
                </a:cubicBezTo>
                <a:cubicBezTo>
                  <a:pt x="171" y="3610"/>
                  <a:pt x="171" y="3610"/>
                  <a:pt x="171" y="3610"/>
                </a:cubicBezTo>
                <a:cubicBezTo>
                  <a:pt x="149" y="3595"/>
                  <a:pt x="149" y="3595"/>
                  <a:pt x="149" y="3595"/>
                </a:cubicBezTo>
                <a:cubicBezTo>
                  <a:pt x="146" y="3579"/>
                  <a:pt x="146" y="3579"/>
                  <a:pt x="146" y="3579"/>
                </a:cubicBezTo>
                <a:cubicBezTo>
                  <a:pt x="135" y="3560"/>
                  <a:pt x="135" y="3560"/>
                  <a:pt x="135" y="3560"/>
                </a:cubicBezTo>
                <a:cubicBezTo>
                  <a:pt x="128" y="3527"/>
                  <a:pt x="128" y="3527"/>
                  <a:pt x="128" y="3527"/>
                </a:cubicBezTo>
                <a:cubicBezTo>
                  <a:pt x="125" y="3501"/>
                  <a:pt x="125" y="3501"/>
                  <a:pt x="125" y="3501"/>
                </a:cubicBezTo>
                <a:cubicBezTo>
                  <a:pt x="134" y="3475"/>
                  <a:pt x="134" y="3475"/>
                  <a:pt x="134" y="3475"/>
                </a:cubicBezTo>
                <a:cubicBezTo>
                  <a:pt x="143" y="3462"/>
                  <a:pt x="143" y="3462"/>
                  <a:pt x="143" y="3462"/>
                </a:cubicBezTo>
                <a:cubicBezTo>
                  <a:pt x="136" y="3452"/>
                  <a:pt x="136" y="3452"/>
                  <a:pt x="136" y="3452"/>
                </a:cubicBezTo>
                <a:cubicBezTo>
                  <a:pt x="139" y="3438"/>
                  <a:pt x="139" y="3438"/>
                  <a:pt x="139" y="3438"/>
                </a:cubicBezTo>
                <a:cubicBezTo>
                  <a:pt x="158" y="3438"/>
                  <a:pt x="158" y="3438"/>
                  <a:pt x="158" y="3438"/>
                </a:cubicBezTo>
                <a:cubicBezTo>
                  <a:pt x="156" y="3414"/>
                  <a:pt x="156" y="3414"/>
                  <a:pt x="156" y="3414"/>
                </a:cubicBezTo>
                <a:cubicBezTo>
                  <a:pt x="148" y="3402"/>
                  <a:pt x="148" y="3402"/>
                  <a:pt x="148" y="3402"/>
                </a:cubicBezTo>
                <a:cubicBezTo>
                  <a:pt x="160" y="3395"/>
                  <a:pt x="160" y="3395"/>
                  <a:pt x="160" y="3395"/>
                </a:cubicBezTo>
                <a:cubicBezTo>
                  <a:pt x="173" y="3378"/>
                  <a:pt x="173" y="3378"/>
                  <a:pt x="173" y="3378"/>
                </a:cubicBezTo>
                <a:cubicBezTo>
                  <a:pt x="200" y="3378"/>
                  <a:pt x="200" y="3378"/>
                  <a:pt x="200" y="3378"/>
                </a:cubicBezTo>
                <a:cubicBezTo>
                  <a:pt x="211" y="3366"/>
                  <a:pt x="211" y="3366"/>
                  <a:pt x="211" y="3366"/>
                </a:cubicBezTo>
                <a:cubicBezTo>
                  <a:pt x="210" y="3350"/>
                  <a:pt x="210" y="3350"/>
                  <a:pt x="210" y="3350"/>
                </a:cubicBezTo>
                <a:cubicBezTo>
                  <a:pt x="222" y="3332"/>
                  <a:pt x="222" y="3332"/>
                  <a:pt x="222" y="3332"/>
                </a:cubicBezTo>
                <a:cubicBezTo>
                  <a:pt x="242" y="3343"/>
                  <a:pt x="242" y="3343"/>
                  <a:pt x="242" y="3343"/>
                </a:cubicBezTo>
                <a:cubicBezTo>
                  <a:pt x="262" y="3329"/>
                  <a:pt x="262" y="3329"/>
                  <a:pt x="262" y="3329"/>
                </a:cubicBezTo>
                <a:cubicBezTo>
                  <a:pt x="259" y="3319"/>
                  <a:pt x="259" y="3319"/>
                  <a:pt x="259" y="3319"/>
                </a:cubicBezTo>
                <a:cubicBezTo>
                  <a:pt x="233" y="3291"/>
                  <a:pt x="233" y="3291"/>
                  <a:pt x="233" y="3291"/>
                </a:cubicBezTo>
                <a:cubicBezTo>
                  <a:pt x="246" y="3272"/>
                  <a:pt x="246" y="3272"/>
                  <a:pt x="246" y="3272"/>
                </a:cubicBezTo>
                <a:cubicBezTo>
                  <a:pt x="243" y="3262"/>
                  <a:pt x="243" y="3262"/>
                  <a:pt x="243" y="3262"/>
                </a:cubicBezTo>
                <a:cubicBezTo>
                  <a:pt x="251" y="3247"/>
                  <a:pt x="251" y="3247"/>
                  <a:pt x="251" y="3247"/>
                </a:cubicBezTo>
                <a:cubicBezTo>
                  <a:pt x="230" y="3232"/>
                  <a:pt x="230" y="3232"/>
                  <a:pt x="230" y="3232"/>
                </a:cubicBezTo>
                <a:cubicBezTo>
                  <a:pt x="232" y="3212"/>
                  <a:pt x="232" y="3212"/>
                  <a:pt x="232" y="3212"/>
                </a:cubicBezTo>
                <a:cubicBezTo>
                  <a:pt x="199" y="3201"/>
                  <a:pt x="199" y="3201"/>
                  <a:pt x="199" y="3201"/>
                </a:cubicBezTo>
                <a:cubicBezTo>
                  <a:pt x="175" y="3207"/>
                  <a:pt x="175" y="3207"/>
                  <a:pt x="175" y="3207"/>
                </a:cubicBezTo>
                <a:cubicBezTo>
                  <a:pt x="162" y="3186"/>
                  <a:pt x="162" y="3186"/>
                  <a:pt x="162" y="3186"/>
                </a:cubicBezTo>
                <a:cubicBezTo>
                  <a:pt x="161" y="3177"/>
                  <a:pt x="161" y="3177"/>
                  <a:pt x="161" y="3177"/>
                </a:cubicBezTo>
                <a:cubicBezTo>
                  <a:pt x="152" y="3177"/>
                  <a:pt x="152" y="3177"/>
                  <a:pt x="152" y="3177"/>
                </a:cubicBezTo>
                <a:cubicBezTo>
                  <a:pt x="152" y="3162"/>
                  <a:pt x="152" y="3162"/>
                  <a:pt x="152" y="3162"/>
                </a:cubicBezTo>
                <a:cubicBezTo>
                  <a:pt x="178" y="3139"/>
                  <a:pt x="178" y="3139"/>
                  <a:pt x="178" y="3139"/>
                </a:cubicBezTo>
                <a:cubicBezTo>
                  <a:pt x="189" y="3137"/>
                  <a:pt x="189" y="3137"/>
                  <a:pt x="189" y="3137"/>
                </a:cubicBezTo>
                <a:cubicBezTo>
                  <a:pt x="199" y="3110"/>
                  <a:pt x="199" y="3110"/>
                  <a:pt x="199" y="3110"/>
                </a:cubicBezTo>
                <a:cubicBezTo>
                  <a:pt x="181" y="3113"/>
                  <a:pt x="181" y="3113"/>
                  <a:pt x="181" y="3113"/>
                </a:cubicBezTo>
                <a:cubicBezTo>
                  <a:pt x="170" y="3109"/>
                  <a:pt x="170" y="3109"/>
                  <a:pt x="170" y="3109"/>
                </a:cubicBezTo>
                <a:cubicBezTo>
                  <a:pt x="158" y="3111"/>
                  <a:pt x="158" y="3111"/>
                  <a:pt x="158" y="3111"/>
                </a:cubicBezTo>
                <a:cubicBezTo>
                  <a:pt x="150" y="3103"/>
                  <a:pt x="150" y="3103"/>
                  <a:pt x="150" y="3103"/>
                </a:cubicBezTo>
                <a:cubicBezTo>
                  <a:pt x="157" y="3095"/>
                  <a:pt x="157" y="3095"/>
                  <a:pt x="157" y="3095"/>
                </a:cubicBezTo>
                <a:cubicBezTo>
                  <a:pt x="121" y="3045"/>
                  <a:pt x="121" y="3045"/>
                  <a:pt x="121" y="3045"/>
                </a:cubicBezTo>
                <a:cubicBezTo>
                  <a:pt x="85" y="3045"/>
                  <a:pt x="85" y="3045"/>
                  <a:pt x="85" y="3045"/>
                </a:cubicBezTo>
                <a:cubicBezTo>
                  <a:pt x="87" y="3032"/>
                  <a:pt x="87" y="3032"/>
                  <a:pt x="87" y="3032"/>
                </a:cubicBezTo>
                <a:cubicBezTo>
                  <a:pt x="78" y="3021"/>
                  <a:pt x="78" y="3021"/>
                  <a:pt x="78" y="3021"/>
                </a:cubicBezTo>
                <a:cubicBezTo>
                  <a:pt x="81" y="3007"/>
                  <a:pt x="81" y="3007"/>
                  <a:pt x="81" y="3007"/>
                </a:cubicBezTo>
                <a:cubicBezTo>
                  <a:pt x="55" y="2982"/>
                  <a:pt x="55" y="2982"/>
                  <a:pt x="55" y="2982"/>
                </a:cubicBezTo>
                <a:cubicBezTo>
                  <a:pt x="67" y="2982"/>
                  <a:pt x="67" y="2982"/>
                  <a:pt x="67" y="2982"/>
                </a:cubicBezTo>
                <a:cubicBezTo>
                  <a:pt x="76" y="2972"/>
                  <a:pt x="76" y="2972"/>
                  <a:pt x="76" y="2972"/>
                </a:cubicBezTo>
                <a:cubicBezTo>
                  <a:pt x="77" y="2949"/>
                  <a:pt x="77" y="2949"/>
                  <a:pt x="77" y="2949"/>
                </a:cubicBezTo>
                <a:cubicBezTo>
                  <a:pt x="99" y="2947"/>
                  <a:pt x="99" y="2947"/>
                  <a:pt x="99" y="2947"/>
                </a:cubicBezTo>
                <a:cubicBezTo>
                  <a:pt x="113" y="2932"/>
                  <a:pt x="113" y="2932"/>
                  <a:pt x="113" y="2932"/>
                </a:cubicBezTo>
                <a:cubicBezTo>
                  <a:pt x="102" y="2917"/>
                  <a:pt x="102" y="2917"/>
                  <a:pt x="102" y="2917"/>
                </a:cubicBezTo>
                <a:cubicBezTo>
                  <a:pt x="106" y="2897"/>
                  <a:pt x="106" y="2897"/>
                  <a:pt x="106" y="2897"/>
                </a:cubicBezTo>
                <a:cubicBezTo>
                  <a:pt x="79" y="2890"/>
                  <a:pt x="79" y="2890"/>
                  <a:pt x="79" y="2890"/>
                </a:cubicBezTo>
                <a:cubicBezTo>
                  <a:pt x="72" y="2873"/>
                  <a:pt x="72" y="2873"/>
                  <a:pt x="72" y="2873"/>
                </a:cubicBezTo>
                <a:cubicBezTo>
                  <a:pt x="84" y="2862"/>
                  <a:pt x="84" y="2862"/>
                  <a:pt x="84" y="2862"/>
                </a:cubicBezTo>
                <a:cubicBezTo>
                  <a:pt x="81" y="2854"/>
                  <a:pt x="81" y="2854"/>
                  <a:pt x="81" y="2854"/>
                </a:cubicBezTo>
                <a:cubicBezTo>
                  <a:pt x="53" y="2858"/>
                  <a:pt x="53" y="2858"/>
                  <a:pt x="53" y="2858"/>
                </a:cubicBezTo>
                <a:cubicBezTo>
                  <a:pt x="42" y="2849"/>
                  <a:pt x="42" y="2849"/>
                  <a:pt x="42" y="2849"/>
                </a:cubicBezTo>
                <a:cubicBezTo>
                  <a:pt x="19" y="2862"/>
                  <a:pt x="19" y="2862"/>
                  <a:pt x="19" y="2862"/>
                </a:cubicBezTo>
                <a:cubicBezTo>
                  <a:pt x="13" y="2854"/>
                  <a:pt x="13" y="2854"/>
                  <a:pt x="13" y="2854"/>
                </a:cubicBezTo>
                <a:cubicBezTo>
                  <a:pt x="19" y="2843"/>
                  <a:pt x="19" y="2843"/>
                  <a:pt x="19" y="2843"/>
                </a:cubicBezTo>
                <a:cubicBezTo>
                  <a:pt x="9" y="2826"/>
                  <a:pt x="9" y="2826"/>
                  <a:pt x="9" y="2826"/>
                </a:cubicBezTo>
                <a:cubicBezTo>
                  <a:pt x="0" y="2808"/>
                  <a:pt x="0" y="2808"/>
                  <a:pt x="0" y="2808"/>
                </a:cubicBezTo>
                <a:cubicBezTo>
                  <a:pt x="23" y="2793"/>
                  <a:pt x="23" y="2793"/>
                  <a:pt x="23" y="2793"/>
                </a:cubicBezTo>
                <a:cubicBezTo>
                  <a:pt x="44" y="2813"/>
                  <a:pt x="44" y="2813"/>
                  <a:pt x="44" y="2813"/>
                </a:cubicBezTo>
                <a:cubicBezTo>
                  <a:pt x="54" y="2797"/>
                  <a:pt x="54" y="2797"/>
                  <a:pt x="54" y="2797"/>
                </a:cubicBezTo>
                <a:cubicBezTo>
                  <a:pt x="64" y="2777"/>
                  <a:pt x="64" y="2777"/>
                  <a:pt x="64" y="2777"/>
                </a:cubicBezTo>
                <a:cubicBezTo>
                  <a:pt x="82" y="2772"/>
                  <a:pt x="82" y="2772"/>
                  <a:pt x="82" y="2772"/>
                </a:cubicBezTo>
                <a:cubicBezTo>
                  <a:pt x="96" y="2760"/>
                  <a:pt x="96" y="2760"/>
                  <a:pt x="96" y="2760"/>
                </a:cubicBezTo>
                <a:cubicBezTo>
                  <a:pt x="120" y="2740"/>
                  <a:pt x="120" y="2740"/>
                  <a:pt x="120" y="2740"/>
                </a:cubicBezTo>
                <a:cubicBezTo>
                  <a:pt x="146" y="2727"/>
                  <a:pt x="146" y="2727"/>
                  <a:pt x="146" y="2727"/>
                </a:cubicBezTo>
                <a:cubicBezTo>
                  <a:pt x="138" y="2719"/>
                  <a:pt x="138" y="2719"/>
                  <a:pt x="138" y="2719"/>
                </a:cubicBezTo>
                <a:cubicBezTo>
                  <a:pt x="158" y="2705"/>
                  <a:pt x="158" y="2705"/>
                  <a:pt x="158" y="2705"/>
                </a:cubicBezTo>
                <a:cubicBezTo>
                  <a:pt x="147" y="2694"/>
                  <a:pt x="147" y="2694"/>
                  <a:pt x="147" y="2694"/>
                </a:cubicBezTo>
                <a:cubicBezTo>
                  <a:pt x="112" y="2719"/>
                  <a:pt x="112" y="2719"/>
                  <a:pt x="112" y="2719"/>
                </a:cubicBezTo>
                <a:cubicBezTo>
                  <a:pt x="104" y="2712"/>
                  <a:pt x="104" y="2712"/>
                  <a:pt x="104" y="2712"/>
                </a:cubicBezTo>
                <a:cubicBezTo>
                  <a:pt x="102" y="2687"/>
                  <a:pt x="102" y="2687"/>
                  <a:pt x="102" y="2687"/>
                </a:cubicBezTo>
                <a:cubicBezTo>
                  <a:pt x="107" y="2676"/>
                  <a:pt x="107" y="2676"/>
                  <a:pt x="107" y="2676"/>
                </a:cubicBezTo>
                <a:cubicBezTo>
                  <a:pt x="104" y="2664"/>
                  <a:pt x="104" y="2664"/>
                  <a:pt x="104" y="2664"/>
                </a:cubicBezTo>
                <a:cubicBezTo>
                  <a:pt x="128" y="2642"/>
                  <a:pt x="128" y="2642"/>
                  <a:pt x="128" y="2642"/>
                </a:cubicBezTo>
                <a:cubicBezTo>
                  <a:pt x="152" y="2597"/>
                  <a:pt x="152" y="2597"/>
                  <a:pt x="152" y="2597"/>
                </a:cubicBezTo>
                <a:cubicBezTo>
                  <a:pt x="164" y="2594"/>
                  <a:pt x="164" y="2594"/>
                  <a:pt x="164" y="2594"/>
                </a:cubicBezTo>
                <a:cubicBezTo>
                  <a:pt x="179" y="2574"/>
                  <a:pt x="179" y="2574"/>
                  <a:pt x="179" y="2574"/>
                </a:cubicBezTo>
                <a:cubicBezTo>
                  <a:pt x="173" y="2559"/>
                  <a:pt x="173" y="2559"/>
                  <a:pt x="173" y="2559"/>
                </a:cubicBezTo>
                <a:cubicBezTo>
                  <a:pt x="179" y="2548"/>
                  <a:pt x="179" y="2548"/>
                  <a:pt x="179" y="2548"/>
                </a:cubicBezTo>
                <a:cubicBezTo>
                  <a:pt x="167" y="2545"/>
                  <a:pt x="167" y="2545"/>
                  <a:pt x="167" y="2545"/>
                </a:cubicBezTo>
                <a:cubicBezTo>
                  <a:pt x="176" y="2508"/>
                  <a:pt x="176" y="2508"/>
                  <a:pt x="176" y="2508"/>
                </a:cubicBezTo>
                <a:cubicBezTo>
                  <a:pt x="172" y="2472"/>
                  <a:pt x="172" y="2472"/>
                  <a:pt x="172" y="2472"/>
                </a:cubicBezTo>
                <a:cubicBezTo>
                  <a:pt x="147" y="2441"/>
                  <a:pt x="147" y="2441"/>
                  <a:pt x="147" y="2441"/>
                </a:cubicBezTo>
                <a:cubicBezTo>
                  <a:pt x="112" y="2397"/>
                  <a:pt x="112" y="2397"/>
                  <a:pt x="112" y="2397"/>
                </a:cubicBezTo>
                <a:cubicBezTo>
                  <a:pt x="124" y="2366"/>
                  <a:pt x="124" y="2366"/>
                  <a:pt x="124" y="2366"/>
                </a:cubicBezTo>
                <a:cubicBezTo>
                  <a:pt x="81" y="2354"/>
                  <a:pt x="81" y="2354"/>
                  <a:pt x="81" y="2354"/>
                </a:cubicBezTo>
                <a:cubicBezTo>
                  <a:pt x="80" y="2333"/>
                  <a:pt x="80" y="2333"/>
                  <a:pt x="80" y="2333"/>
                </a:cubicBezTo>
                <a:cubicBezTo>
                  <a:pt x="85" y="2327"/>
                  <a:pt x="85" y="2327"/>
                  <a:pt x="85" y="2327"/>
                </a:cubicBezTo>
                <a:cubicBezTo>
                  <a:pt x="87" y="2320"/>
                  <a:pt x="87" y="2320"/>
                  <a:pt x="87" y="2320"/>
                </a:cubicBezTo>
                <a:cubicBezTo>
                  <a:pt x="66" y="2310"/>
                  <a:pt x="66" y="2310"/>
                  <a:pt x="66" y="2310"/>
                </a:cubicBezTo>
                <a:cubicBezTo>
                  <a:pt x="48" y="2310"/>
                  <a:pt x="48" y="2310"/>
                  <a:pt x="48" y="2310"/>
                </a:cubicBezTo>
                <a:cubicBezTo>
                  <a:pt x="44" y="2302"/>
                  <a:pt x="44" y="2302"/>
                  <a:pt x="44" y="2302"/>
                </a:cubicBezTo>
                <a:cubicBezTo>
                  <a:pt x="60" y="2278"/>
                  <a:pt x="60" y="2278"/>
                  <a:pt x="60" y="2278"/>
                </a:cubicBezTo>
                <a:cubicBezTo>
                  <a:pt x="37" y="2246"/>
                  <a:pt x="37" y="2246"/>
                  <a:pt x="37" y="2246"/>
                </a:cubicBezTo>
                <a:cubicBezTo>
                  <a:pt x="37" y="2238"/>
                  <a:pt x="37" y="2238"/>
                  <a:pt x="37" y="2238"/>
                </a:cubicBezTo>
                <a:cubicBezTo>
                  <a:pt x="68" y="2244"/>
                  <a:pt x="68" y="2244"/>
                  <a:pt x="68" y="2244"/>
                </a:cubicBezTo>
                <a:cubicBezTo>
                  <a:pt x="97" y="2216"/>
                  <a:pt x="97" y="2216"/>
                  <a:pt x="97" y="2216"/>
                </a:cubicBezTo>
                <a:cubicBezTo>
                  <a:pt x="113" y="2228"/>
                  <a:pt x="113" y="2228"/>
                  <a:pt x="113" y="2228"/>
                </a:cubicBezTo>
                <a:cubicBezTo>
                  <a:pt x="147" y="2230"/>
                  <a:pt x="147" y="2230"/>
                  <a:pt x="147" y="2230"/>
                </a:cubicBezTo>
                <a:cubicBezTo>
                  <a:pt x="135" y="2206"/>
                  <a:pt x="135" y="2206"/>
                  <a:pt x="135" y="2206"/>
                </a:cubicBezTo>
                <a:cubicBezTo>
                  <a:pt x="117" y="2199"/>
                  <a:pt x="117" y="2199"/>
                  <a:pt x="117" y="2199"/>
                </a:cubicBezTo>
                <a:cubicBezTo>
                  <a:pt x="122" y="2189"/>
                  <a:pt x="122" y="2189"/>
                  <a:pt x="122" y="2189"/>
                </a:cubicBezTo>
                <a:cubicBezTo>
                  <a:pt x="150" y="2190"/>
                  <a:pt x="150" y="2190"/>
                  <a:pt x="150" y="2190"/>
                </a:cubicBezTo>
                <a:cubicBezTo>
                  <a:pt x="169" y="2213"/>
                  <a:pt x="169" y="2213"/>
                  <a:pt x="169" y="2213"/>
                </a:cubicBezTo>
                <a:cubicBezTo>
                  <a:pt x="189" y="2216"/>
                  <a:pt x="189" y="2216"/>
                  <a:pt x="189" y="2216"/>
                </a:cubicBezTo>
                <a:cubicBezTo>
                  <a:pt x="205" y="2207"/>
                  <a:pt x="205" y="2207"/>
                  <a:pt x="205" y="2207"/>
                </a:cubicBezTo>
                <a:cubicBezTo>
                  <a:pt x="218" y="2228"/>
                  <a:pt x="218" y="2228"/>
                  <a:pt x="218" y="2228"/>
                </a:cubicBezTo>
                <a:cubicBezTo>
                  <a:pt x="232" y="2224"/>
                  <a:pt x="232" y="2224"/>
                  <a:pt x="232" y="2224"/>
                </a:cubicBezTo>
                <a:cubicBezTo>
                  <a:pt x="244" y="2237"/>
                  <a:pt x="244" y="2237"/>
                  <a:pt x="244" y="2237"/>
                </a:cubicBezTo>
                <a:cubicBezTo>
                  <a:pt x="262" y="2244"/>
                  <a:pt x="262" y="2244"/>
                  <a:pt x="262" y="2244"/>
                </a:cubicBezTo>
                <a:cubicBezTo>
                  <a:pt x="263" y="2228"/>
                  <a:pt x="263" y="2228"/>
                  <a:pt x="263" y="2228"/>
                </a:cubicBezTo>
                <a:cubicBezTo>
                  <a:pt x="253" y="2215"/>
                  <a:pt x="253" y="2215"/>
                  <a:pt x="253" y="2215"/>
                </a:cubicBezTo>
                <a:cubicBezTo>
                  <a:pt x="260" y="2207"/>
                  <a:pt x="260" y="2207"/>
                  <a:pt x="260" y="2207"/>
                </a:cubicBezTo>
                <a:cubicBezTo>
                  <a:pt x="276" y="2219"/>
                  <a:pt x="276" y="2219"/>
                  <a:pt x="276" y="2219"/>
                </a:cubicBezTo>
                <a:cubicBezTo>
                  <a:pt x="284" y="2214"/>
                  <a:pt x="284" y="2214"/>
                  <a:pt x="284" y="2214"/>
                </a:cubicBezTo>
                <a:cubicBezTo>
                  <a:pt x="297" y="2224"/>
                  <a:pt x="297" y="2224"/>
                  <a:pt x="297" y="2224"/>
                </a:cubicBezTo>
                <a:cubicBezTo>
                  <a:pt x="327" y="2204"/>
                  <a:pt x="327" y="2204"/>
                  <a:pt x="327" y="2204"/>
                </a:cubicBezTo>
                <a:cubicBezTo>
                  <a:pt x="393" y="2179"/>
                  <a:pt x="393" y="2179"/>
                  <a:pt x="393" y="2179"/>
                </a:cubicBezTo>
                <a:cubicBezTo>
                  <a:pt x="415" y="2193"/>
                  <a:pt x="415" y="2193"/>
                  <a:pt x="415" y="2193"/>
                </a:cubicBezTo>
                <a:cubicBezTo>
                  <a:pt x="445" y="2171"/>
                  <a:pt x="445" y="2171"/>
                  <a:pt x="445" y="2171"/>
                </a:cubicBezTo>
                <a:cubicBezTo>
                  <a:pt x="451" y="2150"/>
                  <a:pt x="451" y="2150"/>
                  <a:pt x="451" y="2150"/>
                </a:cubicBezTo>
                <a:cubicBezTo>
                  <a:pt x="468" y="2142"/>
                  <a:pt x="468" y="2142"/>
                  <a:pt x="468" y="2142"/>
                </a:cubicBezTo>
                <a:cubicBezTo>
                  <a:pt x="469" y="2128"/>
                  <a:pt x="469" y="2128"/>
                  <a:pt x="469" y="2128"/>
                </a:cubicBezTo>
                <a:cubicBezTo>
                  <a:pt x="436" y="2099"/>
                  <a:pt x="436" y="2099"/>
                  <a:pt x="436" y="2099"/>
                </a:cubicBezTo>
                <a:cubicBezTo>
                  <a:pt x="410" y="2088"/>
                  <a:pt x="410" y="2088"/>
                  <a:pt x="410" y="2088"/>
                </a:cubicBezTo>
                <a:cubicBezTo>
                  <a:pt x="400" y="2080"/>
                  <a:pt x="400" y="2080"/>
                  <a:pt x="400" y="2080"/>
                </a:cubicBezTo>
                <a:cubicBezTo>
                  <a:pt x="407" y="2063"/>
                  <a:pt x="407" y="2063"/>
                  <a:pt x="407" y="2063"/>
                </a:cubicBezTo>
                <a:cubicBezTo>
                  <a:pt x="425" y="2059"/>
                  <a:pt x="425" y="2059"/>
                  <a:pt x="425" y="2059"/>
                </a:cubicBezTo>
                <a:cubicBezTo>
                  <a:pt x="434" y="2031"/>
                  <a:pt x="434" y="2031"/>
                  <a:pt x="434" y="2031"/>
                </a:cubicBezTo>
                <a:cubicBezTo>
                  <a:pt x="479" y="2028"/>
                  <a:pt x="479" y="2028"/>
                  <a:pt x="479" y="2028"/>
                </a:cubicBezTo>
                <a:cubicBezTo>
                  <a:pt x="492" y="2009"/>
                  <a:pt x="492" y="2009"/>
                  <a:pt x="492" y="2009"/>
                </a:cubicBezTo>
                <a:cubicBezTo>
                  <a:pt x="509" y="1988"/>
                  <a:pt x="509" y="1988"/>
                  <a:pt x="509" y="1988"/>
                </a:cubicBezTo>
                <a:cubicBezTo>
                  <a:pt x="522" y="1992"/>
                  <a:pt x="522" y="1992"/>
                  <a:pt x="522" y="1992"/>
                </a:cubicBezTo>
                <a:cubicBezTo>
                  <a:pt x="544" y="1955"/>
                  <a:pt x="544" y="1955"/>
                  <a:pt x="544" y="1955"/>
                </a:cubicBezTo>
                <a:cubicBezTo>
                  <a:pt x="571" y="1955"/>
                  <a:pt x="571" y="1955"/>
                  <a:pt x="571" y="1955"/>
                </a:cubicBezTo>
                <a:cubicBezTo>
                  <a:pt x="579" y="1943"/>
                  <a:pt x="579" y="1943"/>
                  <a:pt x="579" y="1943"/>
                </a:cubicBezTo>
                <a:cubicBezTo>
                  <a:pt x="565" y="1922"/>
                  <a:pt x="565" y="1922"/>
                  <a:pt x="565" y="1922"/>
                </a:cubicBezTo>
                <a:cubicBezTo>
                  <a:pt x="567" y="1895"/>
                  <a:pt x="567" y="1895"/>
                  <a:pt x="567" y="1895"/>
                </a:cubicBezTo>
                <a:cubicBezTo>
                  <a:pt x="587" y="1858"/>
                  <a:pt x="587" y="1858"/>
                  <a:pt x="587" y="1858"/>
                </a:cubicBezTo>
                <a:cubicBezTo>
                  <a:pt x="584" y="1827"/>
                  <a:pt x="584" y="1827"/>
                  <a:pt x="584" y="1827"/>
                </a:cubicBezTo>
                <a:cubicBezTo>
                  <a:pt x="571" y="1824"/>
                  <a:pt x="571" y="1824"/>
                  <a:pt x="571" y="1824"/>
                </a:cubicBezTo>
                <a:cubicBezTo>
                  <a:pt x="555" y="1801"/>
                  <a:pt x="555" y="1801"/>
                  <a:pt x="555" y="1801"/>
                </a:cubicBezTo>
                <a:cubicBezTo>
                  <a:pt x="556" y="1789"/>
                  <a:pt x="556" y="1789"/>
                  <a:pt x="556" y="1789"/>
                </a:cubicBezTo>
                <a:cubicBezTo>
                  <a:pt x="542" y="1776"/>
                  <a:pt x="542" y="1776"/>
                  <a:pt x="542" y="1776"/>
                </a:cubicBezTo>
                <a:cubicBezTo>
                  <a:pt x="522" y="1801"/>
                  <a:pt x="522" y="1801"/>
                  <a:pt x="522" y="1801"/>
                </a:cubicBezTo>
                <a:cubicBezTo>
                  <a:pt x="481" y="1788"/>
                  <a:pt x="481" y="1788"/>
                  <a:pt x="481" y="1788"/>
                </a:cubicBezTo>
                <a:cubicBezTo>
                  <a:pt x="433" y="1786"/>
                  <a:pt x="433" y="1786"/>
                  <a:pt x="433" y="1786"/>
                </a:cubicBezTo>
                <a:cubicBezTo>
                  <a:pt x="406" y="1765"/>
                  <a:pt x="406" y="1765"/>
                  <a:pt x="406" y="1765"/>
                </a:cubicBezTo>
                <a:cubicBezTo>
                  <a:pt x="407" y="1735"/>
                  <a:pt x="407" y="1735"/>
                  <a:pt x="407" y="1735"/>
                </a:cubicBezTo>
                <a:cubicBezTo>
                  <a:pt x="396" y="1719"/>
                  <a:pt x="396" y="1719"/>
                  <a:pt x="396" y="1719"/>
                </a:cubicBezTo>
                <a:cubicBezTo>
                  <a:pt x="414" y="1724"/>
                  <a:pt x="414" y="1724"/>
                  <a:pt x="414" y="1724"/>
                </a:cubicBezTo>
                <a:cubicBezTo>
                  <a:pt x="416" y="1713"/>
                  <a:pt x="416" y="1713"/>
                  <a:pt x="416" y="1713"/>
                </a:cubicBezTo>
                <a:cubicBezTo>
                  <a:pt x="436" y="1711"/>
                  <a:pt x="436" y="1711"/>
                  <a:pt x="436" y="1711"/>
                </a:cubicBezTo>
                <a:cubicBezTo>
                  <a:pt x="417" y="1692"/>
                  <a:pt x="417" y="1692"/>
                  <a:pt x="417" y="1692"/>
                </a:cubicBezTo>
                <a:cubicBezTo>
                  <a:pt x="413" y="1668"/>
                  <a:pt x="413" y="1668"/>
                  <a:pt x="413" y="1668"/>
                </a:cubicBezTo>
                <a:cubicBezTo>
                  <a:pt x="414" y="1656"/>
                  <a:pt x="414" y="1656"/>
                  <a:pt x="414" y="1656"/>
                </a:cubicBezTo>
                <a:cubicBezTo>
                  <a:pt x="445" y="1646"/>
                  <a:pt x="445" y="1646"/>
                  <a:pt x="445" y="1646"/>
                </a:cubicBezTo>
                <a:cubicBezTo>
                  <a:pt x="462" y="1652"/>
                  <a:pt x="462" y="1652"/>
                  <a:pt x="462" y="1652"/>
                </a:cubicBezTo>
                <a:cubicBezTo>
                  <a:pt x="471" y="1646"/>
                  <a:pt x="471" y="1646"/>
                  <a:pt x="471" y="1646"/>
                </a:cubicBezTo>
                <a:cubicBezTo>
                  <a:pt x="480" y="1650"/>
                  <a:pt x="480" y="1650"/>
                  <a:pt x="480" y="1650"/>
                </a:cubicBezTo>
                <a:cubicBezTo>
                  <a:pt x="496" y="1646"/>
                  <a:pt x="496" y="1646"/>
                  <a:pt x="496" y="1646"/>
                </a:cubicBezTo>
                <a:cubicBezTo>
                  <a:pt x="522" y="1661"/>
                  <a:pt x="522" y="1661"/>
                  <a:pt x="522" y="1661"/>
                </a:cubicBezTo>
                <a:cubicBezTo>
                  <a:pt x="545" y="1653"/>
                  <a:pt x="545" y="1653"/>
                  <a:pt x="545" y="1653"/>
                </a:cubicBezTo>
                <a:cubicBezTo>
                  <a:pt x="563" y="1661"/>
                  <a:pt x="563" y="1661"/>
                  <a:pt x="563" y="1661"/>
                </a:cubicBezTo>
                <a:cubicBezTo>
                  <a:pt x="576" y="1650"/>
                  <a:pt x="576" y="1650"/>
                  <a:pt x="576" y="1650"/>
                </a:cubicBezTo>
                <a:cubicBezTo>
                  <a:pt x="588" y="1528"/>
                  <a:pt x="588" y="1528"/>
                  <a:pt x="588" y="1528"/>
                </a:cubicBezTo>
                <a:cubicBezTo>
                  <a:pt x="589" y="1513"/>
                  <a:pt x="589" y="1513"/>
                  <a:pt x="589" y="1513"/>
                </a:cubicBezTo>
                <a:cubicBezTo>
                  <a:pt x="589" y="1497"/>
                  <a:pt x="589" y="1497"/>
                  <a:pt x="589" y="1497"/>
                </a:cubicBezTo>
                <a:cubicBezTo>
                  <a:pt x="635" y="1436"/>
                  <a:pt x="635" y="1436"/>
                  <a:pt x="635" y="1436"/>
                </a:cubicBezTo>
                <a:cubicBezTo>
                  <a:pt x="654" y="1395"/>
                  <a:pt x="654" y="1395"/>
                  <a:pt x="654" y="1395"/>
                </a:cubicBezTo>
                <a:cubicBezTo>
                  <a:pt x="649" y="1314"/>
                  <a:pt x="649" y="1314"/>
                  <a:pt x="649" y="1314"/>
                </a:cubicBezTo>
                <a:cubicBezTo>
                  <a:pt x="638" y="1301"/>
                  <a:pt x="638" y="1301"/>
                  <a:pt x="638" y="1301"/>
                </a:cubicBezTo>
                <a:cubicBezTo>
                  <a:pt x="642" y="1277"/>
                  <a:pt x="642" y="1277"/>
                  <a:pt x="642" y="1277"/>
                </a:cubicBezTo>
                <a:cubicBezTo>
                  <a:pt x="656" y="1259"/>
                  <a:pt x="656" y="1259"/>
                  <a:pt x="656" y="1259"/>
                </a:cubicBezTo>
                <a:cubicBezTo>
                  <a:pt x="650" y="1222"/>
                  <a:pt x="650" y="1222"/>
                  <a:pt x="650" y="1222"/>
                </a:cubicBezTo>
                <a:cubicBezTo>
                  <a:pt x="651" y="1222"/>
                  <a:pt x="651" y="1222"/>
                  <a:pt x="651" y="1222"/>
                </a:cubicBezTo>
                <a:cubicBezTo>
                  <a:pt x="660" y="1219"/>
                  <a:pt x="662" y="1206"/>
                  <a:pt x="663" y="1204"/>
                </a:cubicBezTo>
                <a:cubicBezTo>
                  <a:pt x="665" y="1192"/>
                  <a:pt x="660" y="1190"/>
                  <a:pt x="663" y="1181"/>
                </a:cubicBezTo>
                <a:cubicBezTo>
                  <a:pt x="666" y="1170"/>
                  <a:pt x="676" y="1168"/>
                  <a:pt x="675" y="1161"/>
                </a:cubicBezTo>
                <a:cubicBezTo>
                  <a:pt x="674" y="1157"/>
                  <a:pt x="670" y="1153"/>
                  <a:pt x="666" y="1152"/>
                </a:cubicBezTo>
                <a:cubicBezTo>
                  <a:pt x="659" y="1149"/>
                  <a:pt x="652" y="1154"/>
                  <a:pt x="649" y="1151"/>
                </a:cubicBezTo>
                <a:cubicBezTo>
                  <a:pt x="649" y="1149"/>
                  <a:pt x="649" y="1149"/>
                  <a:pt x="649" y="1143"/>
                </a:cubicBezTo>
                <a:cubicBezTo>
                  <a:pt x="649" y="1139"/>
                  <a:pt x="649" y="1133"/>
                  <a:pt x="647" y="1133"/>
                </a:cubicBezTo>
                <a:cubicBezTo>
                  <a:pt x="645" y="1132"/>
                  <a:pt x="643" y="1139"/>
                  <a:pt x="636" y="1144"/>
                </a:cubicBezTo>
                <a:cubicBezTo>
                  <a:pt x="630" y="1148"/>
                  <a:pt x="625" y="1149"/>
                  <a:pt x="623" y="1149"/>
                </a:cubicBezTo>
                <a:cubicBezTo>
                  <a:pt x="616" y="1151"/>
                  <a:pt x="615" y="1149"/>
                  <a:pt x="606" y="1148"/>
                </a:cubicBezTo>
                <a:cubicBezTo>
                  <a:pt x="593" y="1148"/>
                  <a:pt x="588" y="1153"/>
                  <a:pt x="582" y="1150"/>
                </a:cubicBezTo>
                <a:cubicBezTo>
                  <a:pt x="579" y="1148"/>
                  <a:pt x="578" y="1145"/>
                  <a:pt x="575" y="1145"/>
                </a:cubicBezTo>
                <a:cubicBezTo>
                  <a:pt x="571" y="1145"/>
                  <a:pt x="570" y="1148"/>
                  <a:pt x="566" y="1149"/>
                </a:cubicBezTo>
                <a:cubicBezTo>
                  <a:pt x="561" y="1149"/>
                  <a:pt x="556" y="1145"/>
                  <a:pt x="554" y="1143"/>
                </a:cubicBezTo>
                <a:cubicBezTo>
                  <a:pt x="552" y="1141"/>
                  <a:pt x="548" y="1137"/>
                  <a:pt x="549" y="1132"/>
                </a:cubicBezTo>
                <a:cubicBezTo>
                  <a:pt x="549" y="1127"/>
                  <a:pt x="554" y="1126"/>
                  <a:pt x="556" y="1119"/>
                </a:cubicBezTo>
                <a:cubicBezTo>
                  <a:pt x="558" y="1114"/>
                  <a:pt x="555" y="1110"/>
                  <a:pt x="554" y="1104"/>
                </a:cubicBezTo>
                <a:cubicBezTo>
                  <a:pt x="551" y="1096"/>
                  <a:pt x="554" y="1093"/>
                  <a:pt x="560" y="1066"/>
                </a:cubicBezTo>
                <a:cubicBezTo>
                  <a:pt x="564" y="1047"/>
                  <a:pt x="564" y="1042"/>
                  <a:pt x="569" y="1033"/>
                </a:cubicBezTo>
                <a:cubicBezTo>
                  <a:pt x="571" y="1029"/>
                  <a:pt x="577" y="1015"/>
                  <a:pt x="584" y="1016"/>
                </a:cubicBezTo>
                <a:cubicBezTo>
                  <a:pt x="590" y="1017"/>
                  <a:pt x="591" y="1029"/>
                  <a:pt x="598" y="1029"/>
                </a:cubicBezTo>
                <a:cubicBezTo>
                  <a:pt x="602" y="1030"/>
                  <a:pt x="606" y="1026"/>
                  <a:pt x="607" y="1023"/>
                </a:cubicBezTo>
                <a:cubicBezTo>
                  <a:pt x="607" y="1018"/>
                  <a:pt x="600" y="1015"/>
                  <a:pt x="601" y="1013"/>
                </a:cubicBezTo>
                <a:cubicBezTo>
                  <a:pt x="601" y="1011"/>
                  <a:pt x="605" y="1012"/>
                  <a:pt x="610" y="1012"/>
                </a:cubicBezTo>
                <a:cubicBezTo>
                  <a:pt x="622" y="1011"/>
                  <a:pt x="631" y="999"/>
                  <a:pt x="630" y="997"/>
                </a:cubicBezTo>
                <a:cubicBezTo>
                  <a:pt x="629" y="995"/>
                  <a:pt x="620" y="1001"/>
                  <a:pt x="613" y="997"/>
                </a:cubicBezTo>
                <a:cubicBezTo>
                  <a:pt x="610" y="994"/>
                  <a:pt x="611" y="991"/>
                  <a:pt x="607" y="987"/>
                </a:cubicBezTo>
                <a:cubicBezTo>
                  <a:pt x="602" y="983"/>
                  <a:pt x="597" y="985"/>
                  <a:pt x="594" y="982"/>
                </a:cubicBezTo>
                <a:cubicBezTo>
                  <a:pt x="592" y="978"/>
                  <a:pt x="592" y="972"/>
                  <a:pt x="594" y="968"/>
                </a:cubicBezTo>
                <a:cubicBezTo>
                  <a:pt x="598" y="962"/>
                  <a:pt x="604" y="962"/>
                  <a:pt x="610" y="959"/>
                </a:cubicBezTo>
                <a:cubicBezTo>
                  <a:pt x="622" y="953"/>
                  <a:pt x="623" y="945"/>
                  <a:pt x="634" y="933"/>
                </a:cubicBezTo>
                <a:cubicBezTo>
                  <a:pt x="646" y="920"/>
                  <a:pt x="658" y="915"/>
                  <a:pt x="668" y="909"/>
                </a:cubicBezTo>
                <a:cubicBezTo>
                  <a:pt x="679" y="904"/>
                  <a:pt x="693" y="897"/>
                  <a:pt x="712" y="897"/>
                </a:cubicBezTo>
                <a:cubicBezTo>
                  <a:pt x="725" y="897"/>
                  <a:pt x="723" y="900"/>
                  <a:pt x="737" y="900"/>
                </a:cubicBezTo>
                <a:cubicBezTo>
                  <a:pt x="759" y="900"/>
                  <a:pt x="767" y="892"/>
                  <a:pt x="779" y="898"/>
                </a:cubicBezTo>
                <a:cubicBezTo>
                  <a:pt x="787" y="902"/>
                  <a:pt x="787" y="906"/>
                  <a:pt x="795" y="908"/>
                </a:cubicBezTo>
                <a:cubicBezTo>
                  <a:pt x="803" y="910"/>
                  <a:pt x="808" y="908"/>
                  <a:pt x="820" y="903"/>
                </a:cubicBezTo>
                <a:cubicBezTo>
                  <a:pt x="840" y="896"/>
                  <a:pt x="850" y="892"/>
                  <a:pt x="863" y="890"/>
                </a:cubicBezTo>
                <a:cubicBezTo>
                  <a:pt x="874" y="888"/>
                  <a:pt x="882" y="886"/>
                  <a:pt x="893" y="887"/>
                </a:cubicBezTo>
                <a:cubicBezTo>
                  <a:pt x="897" y="888"/>
                  <a:pt x="901" y="889"/>
                  <a:pt x="907" y="888"/>
                </a:cubicBezTo>
                <a:cubicBezTo>
                  <a:pt x="916" y="887"/>
                  <a:pt x="923" y="884"/>
                  <a:pt x="926" y="883"/>
                </a:cubicBezTo>
                <a:cubicBezTo>
                  <a:pt x="933" y="879"/>
                  <a:pt x="944" y="878"/>
                  <a:pt x="965" y="876"/>
                </a:cubicBezTo>
                <a:cubicBezTo>
                  <a:pt x="1004" y="872"/>
                  <a:pt x="1022" y="875"/>
                  <a:pt x="1027" y="876"/>
                </a:cubicBezTo>
                <a:cubicBezTo>
                  <a:pt x="1029" y="876"/>
                  <a:pt x="1048" y="880"/>
                  <a:pt x="1048" y="885"/>
                </a:cubicBezTo>
                <a:cubicBezTo>
                  <a:pt x="1048" y="888"/>
                  <a:pt x="1044" y="888"/>
                  <a:pt x="1042" y="892"/>
                </a:cubicBezTo>
                <a:cubicBezTo>
                  <a:pt x="1039" y="898"/>
                  <a:pt x="1042" y="904"/>
                  <a:pt x="1048" y="915"/>
                </a:cubicBezTo>
                <a:cubicBezTo>
                  <a:pt x="1051" y="923"/>
                  <a:pt x="1053" y="926"/>
                  <a:pt x="1056" y="927"/>
                </a:cubicBezTo>
                <a:cubicBezTo>
                  <a:pt x="1061" y="928"/>
                  <a:pt x="1064" y="922"/>
                  <a:pt x="1069" y="922"/>
                </a:cubicBezTo>
                <a:cubicBezTo>
                  <a:pt x="1074" y="923"/>
                  <a:pt x="1076" y="929"/>
                  <a:pt x="1079" y="936"/>
                </a:cubicBezTo>
                <a:cubicBezTo>
                  <a:pt x="1079" y="936"/>
                  <a:pt x="1084" y="948"/>
                  <a:pt x="1094" y="965"/>
                </a:cubicBezTo>
                <a:cubicBezTo>
                  <a:pt x="1104" y="982"/>
                  <a:pt x="1109" y="983"/>
                  <a:pt x="1110" y="991"/>
                </a:cubicBezTo>
                <a:cubicBezTo>
                  <a:pt x="1110" y="1002"/>
                  <a:pt x="1103" y="1013"/>
                  <a:pt x="1098" y="1013"/>
                </a:cubicBezTo>
                <a:cubicBezTo>
                  <a:pt x="1095" y="1013"/>
                  <a:pt x="1094" y="1010"/>
                  <a:pt x="1091" y="1011"/>
                </a:cubicBezTo>
                <a:cubicBezTo>
                  <a:pt x="1088" y="1012"/>
                  <a:pt x="1085" y="1016"/>
                  <a:pt x="1086" y="1019"/>
                </a:cubicBezTo>
                <a:cubicBezTo>
                  <a:pt x="1087" y="1022"/>
                  <a:pt x="1091" y="1022"/>
                  <a:pt x="1091" y="1024"/>
                </a:cubicBezTo>
                <a:cubicBezTo>
                  <a:pt x="1091" y="1026"/>
                  <a:pt x="1084" y="1029"/>
                  <a:pt x="1076" y="1029"/>
                </a:cubicBezTo>
                <a:cubicBezTo>
                  <a:pt x="1068" y="1028"/>
                  <a:pt x="1065" y="1023"/>
                  <a:pt x="1062" y="1025"/>
                </a:cubicBezTo>
                <a:cubicBezTo>
                  <a:pt x="1058" y="1027"/>
                  <a:pt x="1061" y="1039"/>
                  <a:pt x="1062" y="1042"/>
                </a:cubicBezTo>
                <a:cubicBezTo>
                  <a:pt x="1063" y="1045"/>
                  <a:pt x="1069" y="1071"/>
                  <a:pt x="1079" y="1071"/>
                </a:cubicBezTo>
                <a:cubicBezTo>
                  <a:pt x="1085" y="1071"/>
                  <a:pt x="1087" y="1063"/>
                  <a:pt x="1094" y="1063"/>
                </a:cubicBezTo>
                <a:cubicBezTo>
                  <a:pt x="1096" y="1063"/>
                  <a:pt x="1100" y="1064"/>
                  <a:pt x="1110" y="1076"/>
                </a:cubicBezTo>
                <a:cubicBezTo>
                  <a:pt x="1122" y="1089"/>
                  <a:pt x="1121" y="1092"/>
                  <a:pt x="1128" y="1098"/>
                </a:cubicBezTo>
                <a:cubicBezTo>
                  <a:pt x="1131" y="1101"/>
                  <a:pt x="1140" y="1108"/>
                  <a:pt x="1152" y="1106"/>
                </a:cubicBezTo>
                <a:cubicBezTo>
                  <a:pt x="1163" y="1104"/>
                  <a:pt x="1173" y="1093"/>
                  <a:pt x="1174" y="1083"/>
                </a:cubicBezTo>
                <a:cubicBezTo>
                  <a:pt x="1174" y="1079"/>
                  <a:pt x="1173" y="1075"/>
                  <a:pt x="1176" y="1070"/>
                </a:cubicBezTo>
                <a:cubicBezTo>
                  <a:pt x="1178" y="1066"/>
                  <a:pt x="1181" y="1066"/>
                  <a:pt x="1184" y="1063"/>
                </a:cubicBezTo>
                <a:cubicBezTo>
                  <a:pt x="1190" y="1056"/>
                  <a:pt x="1189" y="1044"/>
                  <a:pt x="1186" y="1028"/>
                </a:cubicBezTo>
                <a:cubicBezTo>
                  <a:pt x="1185" y="1016"/>
                  <a:pt x="1182" y="1014"/>
                  <a:pt x="1181" y="1014"/>
                </a:cubicBezTo>
                <a:cubicBezTo>
                  <a:pt x="1177" y="1011"/>
                  <a:pt x="1173" y="1016"/>
                  <a:pt x="1162" y="1016"/>
                </a:cubicBezTo>
                <a:cubicBezTo>
                  <a:pt x="1157" y="1016"/>
                  <a:pt x="1146" y="1017"/>
                  <a:pt x="1142" y="1011"/>
                </a:cubicBezTo>
                <a:cubicBezTo>
                  <a:pt x="1140" y="1008"/>
                  <a:pt x="1140" y="1005"/>
                  <a:pt x="1143" y="992"/>
                </a:cubicBezTo>
                <a:cubicBezTo>
                  <a:pt x="1148" y="973"/>
                  <a:pt x="1150" y="964"/>
                  <a:pt x="1154" y="960"/>
                </a:cubicBezTo>
                <a:cubicBezTo>
                  <a:pt x="1155" y="958"/>
                  <a:pt x="1165" y="946"/>
                  <a:pt x="1180" y="947"/>
                </a:cubicBezTo>
                <a:cubicBezTo>
                  <a:pt x="1191" y="947"/>
                  <a:pt x="1199" y="954"/>
                  <a:pt x="1212" y="964"/>
                </a:cubicBezTo>
                <a:cubicBezTo>
                  <a:pt x="1221" y="972"/>
                  <a:pt x="1222" y="975"/>
                  <a:pt x="1230" y="980"/>
                </a:cubicBezTo>
                <a:cubicBezTo>
                  <a:pt x="1234" y="983"/>
                  <a:pt x="1241" y="987"/>
                  <a:pt x="1251" y="989"/>
                </a:cubicBezTo>
                <a:cubicBezTo>
                  <a:pt x="1264" y="993"/>
                  <a:pt x="1268" y="989"/>
                  <a:pt x="1282" y="994"/>
                </a:cubicBezTo>
                <a:cubicBezTo>
                  <a:pt x="1288" y="996"/>
                  <a:pt x="1292" y="998"/>
                  <a:pt x="1294" y="1002"/>
                </a:cubicBezTo>
                <a:cubicBezTo>
                  <a:pt x="1295" y="1003"/>
                  <a:pt x="1297" y="1007"/>
                  <a:pt x="1295" y="1011"/>
                </a:cubicBezTo>
                <a:cubicBezTo>
                  <a:pt x="1294" y="1016"/>
                  <a:pt x="1287" y="1016"/>
                  <a:pt x="1281" y="1019"/>
                </a:cubicBezTo>
                <a:cubicBezTo>
                  <a:pt x="1271" y="1025"/>
                  <a:pt x="1267" y="1038"/>
                  <a:pt x="1265" y="1045"/>
                </a:cubicBezTo>
                <a:cubicBezTo>
                  <a:pt x="1263" y="1051"/>
                  <a:pt x="1263" y="1057"/>
                  <a:pt x="1264" y="1071"/>
                </a:cubicBezTo>
                <a:cubicBezTo>
                  <a:pt x="1265" y="1109"/>
                  <a:pt x="1271" y="1115"/>
                  <a:pt x="1267" y="1126"/>
                </a:cubicBezTo>
                <a:cubicBezTo>
                  <a:pt x="1267" y="1128"/>
                  <a:pt x="1265" y="1132"/>
                  <a:pt x="1267" y="1134"/>
                </a:cubicBezTo>
                <a:cubicBezTo>
                  <a:pt x="1269" y="1136"/>
                  <a:pt x="1275" y="1136"/>
                  <a:pt x="1278" y="1133"/>
                </a:cubicBezTo>
                <a:cubicBezTo>
                  <a:pt x="1281" y="1130"/>
                  <a:pt x="1280" y="1125"/>
                  <a:pt x="1279" y="1119"/>
                </a:cubicBezTo>
                <a:cubicBezTo>
                  <a:pt x="1277" y="1100"/>
                  <a:pt x="1281" y="1103"/>
                  <a:pt x="1279" y="1082"/>
                </a:cubicBezTo>
                <a:cubicBezTo>
                  <a:pt x="1278" y="1068"/>
                  <a:pt x="1276" y="1066"/>
                  <a:pt x="1277" y="1057"/>
                </a:cubicBezTo>
                <a:cubicBezTo>
                  <a:pt x="1277" y="1050"/>
                  <a:pt x="1278" y="1043"/>
                  <a:pt x="1283" y="1038"/>
                </a:cubicBezTo>
                <a:cubicBezTo>
                  <a:pt x="1288" y="1032"/>
                  <a:pt x="1292" y="1034"/>
                  <a:pt x="1300" y="1028"/>
                </a:cubicBezTo>
                <a:cubicBezTo>
                  <a:pt x="1302" y="1026"/>
                  <a:pt x="1308" y="1020"/>
                  <a:pt x="1310" y="1012"/>
                </a:cubicBezTo>
                <a:cubicBezTo>
                  <a:pt x="1311" y="1005"/>
                  <a:pt x="1309" y="999"/>
                  <a:pt x="1304" y="987"/>
                </a:cubicBezTo>
                <a:cubicBezTo>
                  <a:pt x="1302" y="982"/>
                  <a:pt x="1301" y="981"/>
                  <a:pt x="1296" y="972"/>
                </a:cubicBezTo>
                <a:cubicBezTo>
                  <a:pt x="1290" y="961"/>
                  <a:pt x="1291" y="963"/>
                  <a:pt x="1280" y="943"/>
                </a:cubicBezTo>
                <a:cubicBezTo>
                  <a:pt x="1268" y="919"/>
                  <a:pt x="1269" y="921"/>
                  <a:pt x="1268" y="919"/>
                </a:cubicBezTo>
                <a:cubicBezTo>
                  <a:pt x="1267" y="915"/>
                  <a:pt x="1264" y="905"/>
                  <a:pt x="1274" y="875"/>
                </a:cubicBezTo>
                <a:cubicBezTo>
                  <a:pt x="1282" y="849"/>
                  <a:pt x="1285" y="852"/>
                  <a:pt x="1294" y="825"/>
                </a:cubicBezTo>
                <a:cubicBezTo>
                  <a:pt x="1302" y="802"/>
                  <a:pt x="1300" y="797"/>
                  <a:pt x="1308" y="786"/>
                </a:cubicBezTo>
                <a:cubicBezTo>
                  <a:pt x="1312" y="779"/>
                  <a:pt x="1317" y="774"/>
                  <a:pt x="1323" y="762"/>
                </a:cubicBezTo>
                <a:cubicBezTo>
                  <a:pt x="1325" y="757"/>
                  <a:pt x="1325" y="755"/>
                  <a:pt x="1328" y="752"/>
                </a:cubicBezTo>
                <a:cubicBezTo>
                  <a:pt x="1335" y="745"/>
                  <a:pt x="1347" y="744"/>
                  <a:pt x="1357" y="748"/>
                </a:cubicBezTo>
                <a:cubicBezTo>
                  <a:pt x="1366" y="752"/>
                  <a:pt x="1366" y="759"/>
                  <a:pt x="1376" y="769"/>
                </a:cubicBezTo>
                <a:cubicBezTo>
                  <a:pt x="1386" y="780"/>
                  <a:pt x="1398" y="785"/>
                  <a:pt x="1409" y="788"/>
                </a:cubicBezTo>
                <a:cubicBezTo>
                  <a:pt x="1415" y="791"/>
                  <a:pt x="1435" y="797"/>
                  <a:pt x="1461" y="793"/>
                </a:cubicBezTo>
                <a:cubicBezTo>
                  <a:pt x="1482" y="790"/>
                  <a:pt x="1493" y="781"/>
                  <a:pt x="1505" y="785"/>
                </a:cubicBezTo>
                <a:cubicBezTo>
                  <a:pt x="1516" y="789"/>
                  <a:pt x="1521" y="791"/>
                  <a:pt x="1525" y="796"/>
                </a:cubicBezTo>
                <a:cubicBezTo>
                  <a:pt x="1526" y="797"/>
                  <a:pt x="1528" y="801"/>
                  <a:pt x="1530" y="800"/>
                </a:cubicBezTo>
                <a:cubicBezTo>
                  <a:pt x="1532" y="800"/>
                  <a:pt x="1533" y="796"/>
                  <a:pt x="1533" y="796"/>
                </a:cubicBezTo>
                <a:cubicBezTo>
                  <a:pt x="1534" y="791"/>
                  <a:pt x="1531" y="788"/>
                  <a:pt x="1531" y="785"/>
                </a:cubicBezTo>
                <a:cubicBezTo>
                  <a:pt x="1532" y="779"/>
                  <a:pt x="1544" y="776"/>
                  <a:pt x="1547" y="776"/>
                </a:cubicBezTo>
                <a:cubicBezTo>
                  <a:pt x="1570" y="771"/>
                  <a:pt x="1589" y="771"/>
                  <a:pt x="1591" y="771"/>
                </a:cubicBezTo>
                <a:cubicBezTo>
                  <a:pt x="1621" y="771"/>
                  <a:pt x="1636" y="771"/>
                  <a:pt x="1641" y="773"/>
                </a:cubicBezTo>
                <a:cubicBezTo>
                  <a:pt x="1657" y="779"/>
                  <a:pt x="1667" y="791"/>
                  <a:pt x="1673" y="798"/>
                </a:cubicBezTo>
                <a:cubicBezTo>
                  <a:pt x="1685" y="813"/>
                  <a:pt x="1682" y="817"/>
                  <a:pt x="1697" y="844"/>
                </a:cubicBezTo>
                <a:cubicBezTo>
                  <a:pt x="1708" y="861"/>
                  <a:pt x="1713" y="869"/>
                  <a:pt x="1723" y="879"/>
                </a:cubicBezTo>
                <a:cubicBezTo>
                  <a:pt x="1736" y="891"/>
                  <a:pt x="1741" y="890"/>
                  <a:pt x="1749" y="901"/>
                </a:cubicBezTo>
                <a:cubicBezTo>
                  <a:pt x="1758" y="913"/>
                  <a:pt x="1754" y="917"/>
                  <a:pt x="1763" y="933"/>
                </a:cubicBezTo>
                <a:cubicBezTo>
                  <a:pt x="1766" y="940"/>
                  <a:pt x="1775" y="954"/>
                  <a:pt x="1790" y="964"/>
                </a:cubicBezTo>
                <a:cubicBezTo>
                  <a:pt x="1803" y="972"/>
                  <a:pt x="1805" y="969"/>
                  <a:pt x="1816" y="978"/>
                </a:cubicBezTo>
                <a:cubicBezTo>
                  <a:pt x="1826" y="986"/>
                  <a:pt x="1828" y="991"/>
                  <a:pt x="1838" y="995"/>
                </a:cubicBezTo>
                <a:cubicBezTo>
                  <a:pt x="1840" y="996"/>
                  <a:pt x="1842" y="996"/>
                  <a:pt x="1856" y="998"/>
                </a:cubicBezTo>
                <a:cubicBezTo>
                  <a:pt x="1883" y="1001"/>
                  <a:pt x="1884" y="1000"/>
                  <a:pt x="1890" y="1002"/>
                </a:cubicBezTo>
                <a:cubicBezTo>
                  <a:pt x="1902" y="1005"/>
                  <a:pt x="1901" y="1009"/>
                  <a:pt x="1913" y="1012"/>
                </a:cubicBezTo>
                <a:cubicBezTo>
                  <a:pt x="1925" y="1015"/>
                  <a:pt x="1940" y="1015"/>
                  <a:pt x="1941" y="1012"/>
                </a:cubicBezTo>
                <a:cubicBezTo>
                  <a:pt x="1942" y="1007"/>
                  <a:pt x="1924" y="997"/>
                  <a:pt x="1905" y="991"/>
                </a:cubicBezTo>
                <a:cubicBezTo>
                  <a:pt x="1877" y="982"/>
                  <a:pt x="1870" y="991"/>
                  <a:pt x="1850" y="980"/>
                </a:cubicBezTo>
                <a:cubicBezTo>
                  <a:pt x="1836" y="973"/>
                  <a:pt x="1837" y="967"/>
                  <a:pt x="1821" y="960"/>
                </a:cubicBezTo>
                <a:cubicBezTo>
                  <a:pt x="1806" y="953"/>
                  <a:pt x="1800" y="956"/>
                  <a:pt x="1792" y="949"/>
                </a:cubicBezTo>
                <a:cubicBezTo>
                  <a:pt x="1790" y="946"/>
                  <a:pt x="1787" y="943"/>
                  <a:pt x="1781" y="919"/>
                </a:cubicBezTo>
                <a:cubicBezTo>
                  <a:pt x="1774" y="891"/>
                  <a:pt x="1776" y="889"/>
                  <a:pt x="1772" y="884"/>
                </a:cubicBezTo>
                <a:cubicBezTo>
                  <a:pt x="1763" y="874"/>
                  <a:pt x="1755" y="879"/>
                  <a:pt x="1737" y="865"/>
                </a:cubicBezTo>
                <a:cubicBezTo>
                  <a:pt x="1731" y="861"/>
                  <a:pt x="1726" y="856"/>
                  <a:pt x="1721" y="849"/>
                </a:cubicBezTo>
                <a:cubicBezTo>
                  <a:pt x="1713" y="835"/>
                  <a:pt x="1719" y="829"/>
                  <a:pt x="1713" y="814"/>
                </a:cubicBezTo>
                <a:cubicBezTo>
                  <a:pt x="1711" y="807"/>
                  <a:pt x="1703" y="800"/>
                  <a:pt x="1687" y="785"/>
                </a:cubicBezTo>
                <a:cubicBezTo>
                  <a:pt x="1675" y="774"/>
                  <a:pt x="1669" y="768"/>
                  <a:pt x="1661" y="763"/>
                </a:cubicBezTo>
                <a:cubicBezTo>
                  <a:pt x="1650" y="757"/>
                  <a:pt x="1642" y="752"/>
                  <a:pt x="1631" y="751"/>
                </a:cubicBezTo>
                <a:cubicBezTo>
                  <a:pt x="1614" y="749"/>
                  <a:pt x="1597" y="756"/>
                  <a:pt x="1592" y="748"/>
                </a:cubicBezTo>
                <a:cubicBezTo>
                  <a:pt x="1591" y="747"/>
                  <a:pt x="1589" y="744"/>
                  <a:pt x="1587" y="744"/>
                </a:cubicBezTo>
                <a:cubicBezTo>
                  <a:pt x="1584" y="743"/>
                  <a:pt x="1583" y="746"/>
                  <a:pt x="1581" y="747"/>
                </a:cubicBezTo>
                <a:cubicBezTo>
                  <a:pt x="1575" y="752"/>
                  <a:pt x="1567" y="748"/>
                  <a:pt x="1548" y="745"/>
                </a:cubicBezTo>
                <a:cubicBezTo>
                  <a:pt x="1540" y="744"/>
                  <a:pt x="1536" y="744"/>
                  <a:pt x="1531" y="744"/>
                </a:cubicBezTo>
                <a:cubicBezTo>
                  <a:pt x="1518" y="746"/>
                  <a:pt x="1515" y="752"/>
                  <a:pt x="1507" y="751"/>
                </a:cubicBezTo>
                <a:cubicBezTo>
                  <a:pt x="1500" y="750"/>
                  <a:pt x="1495" y="744"/>
                  <a:pt x="1486" y="732"/>
                </a:cubicBezTo>
                <a:cubicBezTo>
                  <a:pt x="1474" y="716"/>
                  <a:pt x="1477" y="712"/>
                  <a:pt x="1467" y="702"/>
                </a:cubicBezTo>
                <a:cubicBezTo>
                  <a:pt x="1464" y="700"/>
                  <a:pt x="1461" y="697"/>
                  <a:pt x="1460" y="692"/>
                </a:cubicBezTo>
                <a:cubicBezTo>
                  <a:pt x="1459" y="686"/>
                  <a:pt x="1462" y="684"/>
                  <a:pt x="1461" y="679"/>
                </a:cubicBezTo>
                <a:cubicBezTo>
                  <a:pt x="1459" y="675"/>
                  <a:pt x="1454" y="675"/>
                  <a:pt x="1449" y="670"/>
                </a:cubicBezTo>
                <a:cubicBezTo>
                  <a:pt x="1443" y="664"/>
                  <a:pt x="1438" y="654"/>
                  <a:pt x="1441" y="647"/>
                </a:cubicBezTo>
                <a:cubicBezTo>
                  <a:pt x="1444" y="640"/>
                  <a:pt x="1454" y="638"/>
                  <a:pt x="1461" y="638"/>
                </a:cubicBezTo>
                <a:cubicBezTo>
                  <a:pt x="1473" y="639"/>
                  <a:pt x="1475" y="648"/>
                  <a:pt x="1487" y="649"/>
                </a:cubicBezTo>
                <a:cubicBezTo>
                  <a:pt x="1490" y="650"/>
                  <a:pt x="1500" y="651"/>
                  <a:pt x="1506" y="644"/>
                </a:cubicBezTo>
                <a:cubicBezTo>
                  <a:pt x="1512" y="637"/>
                  <a:pt x="1509" y="627"/>
                  <a:pt x="1509" y="625"/>
                </a:cubicBezTo>
                <a:cubicBezTo>
                  <a:pt x="1506" y="613"/>
                  <a:pt x="1498" y="614"/>
                  <a:pt x="1492" y="602"/>
                </a:cubicBezTo>
                <a:cubicBezTo>
                  <a:pt x="1485" y="588"/>
                  <a:pt x="1491" y="578"/>
                  <a:pt x="1484" y="573"/>
                </a:cubicBezTo>
                <a:cubicBezTo>
                  <a:pt x="1478" y="569"/>
                  <a:pt x="1466" y="573"/>
                  <a:pt x="1462" y="575"/>
                </a:cubicBezTo>
                <a:cubicBezTo>
                  <a:pt x="1455" y="578"/>
                  <a:pt x="1454" y="580"/>
                  <a:pt x="1450" y="580"/>
                </a:cubicBezTo>
                <a:cubicBezTo>
                  <a:pt x="1442" y="581"/>
                  <a:pt x="1432" y="573"/>
                  <a:pt x="1431" y="564"/>
                </a:cubicBezTo>
                <a:cubicBezTo>
                  <a:pt x="1430" y="558"/>
                  <a:pt x="1433" y="555"/>
                  <a:pt x="1430" y="550"/>
                </a:cubicBezTo>
                <a:cubicBezTo>
                  <a:pt x="1428" y="545"/>
                  <a:pt x="1423" y="546"/>
                  <a:pt x="1422" y="542"/>
                </a:cubicBezTo>
                <a:cubicBezTo>
                  <a:pt x="1421" y="538"/>
                  <a:pt x="1424" y="535"/>
                  <a:pt x="1434" y="518"/>
                </a:cubicBezTo>
                <a:cubicBezTo>
                  <a:pt x="1440" y="509"/>
                  <a:pt x="1440" y="508"/>
                  <a:pt x="1440" y="505"/>
                </a:cubicBezTo>
                <a:cubicBezTo>
                  <a:pt x="1440" y="498"/>
                  <a:pt x="1434" y="494"/>
                  <a:pt x="1435" y="489"/>
                </a:cubicBezTo>
                <a:cubicBezTo>
                  <a:pt x="1437" y="486"/>
                  <a:pt x="1441" y="484"/>
                  <a:pt x="1445" y="483"/>
                </a:cubicBezTo>
                <a:cubicBezTo>
                  <a:pt x="1457" y="480"/>
                  <a:pt x="1461" y="484"/>
                  <a:pt x="1470" y="483"/>
                </a:cubicBezTo>
                <a:cubicBezTo>
                  <a:pt x="1486" y="480"/>
                  <a:pt x="1494" y="460"/>
                  <a:pt x="1494" y="460"/>
                </a:cubicBezTo>
                <a:cubicBezTo>
                  <a:pt x="1497" y="452"/>
                  <a:pt x="1499" y="441"/>
                  <a:pt x="1496" y="439"/>
                </a:cubicBezTo>
                <a:cubicBezTo>
                  <a:pt x="1489" y="436"/>
                  <a:pt x="1454" y="470"/>
                  <a:pt x="1453" y="471"/>
                </a:cubicBezTo>
                <a:cubicBezTo>
                  <a:pt x="1453" y="471"/>
                  <a:pt x="1451" y="473"/>
                  <a:pt x="1448" y="473"/>
                </a:cubicBezTo>
                <a:cubicBezTo>
                  <a:pt x="1446" y="473"/>
                  <a:pt x="1444" y="471"/>
                  <a:pt x="1441" y="467"/>
                </a:cubicBezTo>
                <a:cubicBezTo>
                  <a:pt x="1436" y="460"/>
                  <a:pt x="1434" y="457"/>
                  <a:pt x="1432" y="456"/>
                </a:cubicBezTo>
                <a:cubicBezTo>
                  <a:pt x="1426" y="455"/>
                  <a:pt x="1423" y="466"/>
                  <a:pt x="1415" y="466"/>
                </a:cubicBezTo>
                <a:cubicBezTo>
                  <a:pt x="1408" y="466"/>
                  <a:pt x="1407" y="459"/>
                  <a:pt x="1398" y="455"/>
                </a:cubicBezTo>
                <a:cubicBezTo>
                  <a:pt x="1386" y="451"/>
                  <a:pt x="1369" y="457"/>
                  <a:pt x="1365" y="466"/>
                </a:cubicBezTo>
                <a:cubicBezTo>
                  <a:pt x="1363" y="471"/>
                  <a:pt x="1367" y="475"/>
                  <a:pt x="1364" y="477"/>
                </a:cubicBezTo>
                <a:cubicBezTo>
                  <a:pt x="1360" y="481"/>
                  <a:pt x="1347" y="476"/>
                  <a:pt x="1338" y="467"/>
                </a:cubicBezTo>
                <a:cubicBezTo>
                  <a:pt x="1331" y="459"/>
                  <a:pt x="1334" y="455"/>
                  <a:pt x="1326" y="447"/>
                </a:cubicBezTo>
                <a:cubicBezTo>
                  <a:pt x="1318" y="438"/>
                  <a:pt x="1313" y="439"/>
                  <a:pt x="1311" y="433"/>
                </a:cubicBezTo>
                <a:cubicBezTo>
                  <a:pt x="1309" y="426"/>
                  <a:pt x="1316" y="415"/>
                  <a:pt x="1322" y="414"/>
                </a:cubicBezTo>
                <a:cubicBezTo>
                  <a:pt x="1328" y="414"/>
                  <a:pt x="1329" y="421"/>
                  <a:pt x="1336" y="422"/>
                </a:cubicBezTo>
                <a:cubicBezTo>
                  <a:pt x="1340" y="422"/>
                  <a:pt x="1341" y="419"/>
                  <a:pt x="1348" y="416"/>
                </a:cubicBezTo>
                <a:cubicBezTo>
                  <a:pt x="1357" y="413"/>
                  <a:pt x="1359" y="416"/>
                  <a:pt x="1364" y="413"/>
                </a:cubicBezTo>
                <a:cubicBezTo>
                  <a:pt x="1370" y="409"/>
                  <a:pt x="1373" y="402"/>
                  <a:pt x="1371" y="400"/>
                </a:cubicBezTo>
                <a:cubicBezTo>
                  <a:pt x="1369" y="399"/>
                  <a:pt x="1364" y="404"/>
                  <a:pt x="1359" y="401"/>
                </a:cubicBezTo>
                <a:cubicBezTo>
                  <a:pt x="1354" y="399"/>
                  <a:pt x="1354" y="395"/>
                  <a:pt x="1352" y="395"/>
                </a:cubicBezTo>
                <a:cubicBezTo>
                  <a:pt x="1350" y="396"/>
                  <a:pt x="1350" y="400"/>
                  <a:pt x="1348" y="403"/>
                </a:cubicBezTo>
                <a:cubicBezTo>
                  <a:pt x="1343" y="408"/>
                  <a:pt x="1330" y="408"/>
                  <a:pt x="1327" y="402"/>
                </a:cubicBezTo>
                <a:cubicBezTo>
                  <a:pt x="1325" y="398"/>
                  <a:pt x="1330" y="392"/>
                  <a:pt x="1334" y="388"/>
                </a:cubicBezTo>
                <a:cubicBezTo>
                  <a:pt x="1339" y="384"/>
                  <a:pt x="1345" y="383"/>
                  <a:pt x="1349" y="382"/>
                </a:cubicBezTo>
                <a:cubicBezTo>
                  <a:pt x="1367" y="379"/>
                  <a:pt x="1362" y="376"/>
                  <a:pt x="1384" y="372"/>
                </a:cubicBezTo>
                <a:cubicBezTo>
                  <a:pt x="1407" y="368"/>
                  <a:pt x="1418" y="366"/>
                  <a:pt x="1432" y="370"/>
                </a:cubicBezTo>
                <a:cubicBezTo>
                  <a:pt x="1440" y="373"/>
                  <a:pt x="1441" y="376"/>
                  <a:pt x="1448" y="376"/>
                </a:cubicBezTo>
                <a:cubicBezTo>
                  <a:pt x="1464" y="376"/>
                  <a:pt x="1478" y="359"/>
                  <a:pt x="1479" y="358"/>
                </a:cubicBezTo>
                <a:cubicBezTo>
                  <a:pt x="1485" y="349"/>
                  <a:pt x="1484" y="344"/>
                  <a:pt x="1491" y="340"/>
                </a:cubicBezTo>
                <a:cubicBezTo>
                  <a:pt x="1496" y="337"/>
                  <a:pt x="1499" y="339"/>
                  <a:pt x="1509" y="336"/>
                </a:cubicBezTo>
                <a:cubicBezTo>
                  <a:pt x="1515" y="334"/>
                  <a:pt x="1520" y="332"/>
                  <a:pt x="1523" y="327"/>
                </a:cubicBezTo>
                <a:cubicBezTo>
                  <a:pt x="1525" y="322"/>
                  <a:pt x="1524" y="318"/>
                  <a:pt x="1523" y="312"/>
                </a:cubicBezTo>
                <a:cubicBezTo>
                  <a:pt x="1523" y="309"/>
                  <a:pt x="1519" y="291"/>
                  <a:pt x="1511" y="290"/>
                </a:cubicBezTo>
                <a:cubicBezTo>
                  <a:pt x="1507" y="290"/>
                  <a:pt x="1502" y="294"/>
                  <a:pt x="1500" y="298"/>
                </a:cubicBezTo>
                <a:cubicBezTo>
                  <a:pt x="1497" y="305"/>
                  <a:pt x="1500" y="312"/>
                  <a:pt x="1497" y="314"/>
                </a:cubicBezTo>
                <a:cubicBezTo>
                  <a:pt x="1495" y="315"/>
                  <a:pt x="1492" y="311"/>
                  <a:pt x="1490" y="312"/>
                </a:cubicBezTo>
                <a:cubicBezTo>
                  <a:pt x="1486" y="314"/>
                  <a:pt x="1488" y="320"/>
                  <a:pt x="1485" y="326"/>
                </a:cubicBezTo>
                <a:cubicBezTo>
                  <a:pt x="1481" y="332"/>
                  <a:pt x="1472" y="334"/>
                  <a:pt x="1463" y="335"/>
                </a:cubicBezTo>
                <a:cubicBezTo>
                  <a:pt x="1448" y="338"/>
                  <a:pt x="1428" y="336"/>
                  <a:pt x="1426" y="329"/>
                </a:cubicBezTo>
                <a:cubicBezTo>
                  <a:pt x="1425" y="326"/>
                  <a:pt x="1431" y="323"/>
                  <a:pt x="1430" y="318"/>
                </a:cubicBezTo>
                <a:cubicBezTo>
                  <a:pt x="1429" y="313"/>
                  <a:pt x="1422" y="312"/>
                  <a:pt x="1422" y="308"/>
                </a:cubicBezTo>
                <a:cubicBezTo>
                  <a:pt x="1422" y="304"/>
                  <a:pt x="1431" y="303"/>
                  <a:pt x="1441" y="297"/>
                </a:cubicBezTo>
                <a:cubicBezTo>
                  <a:pt x="1444" y="294"/>
                  <a:pt x="1457" y="286"/>
                  <a:pt x="1457" y="276"/>
                </a:cubicBezTo>
                <a:cubicBezTo>
                  <a:pt x="1457" y="270"/>
                  <a:pt x="1453" y="269"/>
                  <a:pt x="1453" y="263"/>
                </a:cubicBezTo>
                <a:cubicBezTo>
                  <a:pt x="1454" y="254"/>
                  <a:pt x="1465" y="252"/>
                  <a:pt x="1465" y="244"/>
                </a:cubicBezTo>
                <a:cubicBezTo>
                  <a:pt x="1465" y="239"/>
                  <a:pt x="1459" y="234"/>
                  <a:pt x="1455" y="232"/>
                </a:cubicBezTo>
                <a:cubicBezTo>
                  <a:pt x="1449" y="231"/>
                  <a:pt x="1446" y="236"/>
                  <a:pt x="1436" y="235"/>
                </a:cubicBezTo>
                <a:cubicBezTo>
                  <a:pt x="1434" y="234"/>
                  <a:pt x="1429" y="233"/>
                  <a:pt x="1429" y="232"/>
                </a:cubicBezTo>
                <a:cubicBezTo>
                  <a:pt x="1429" y="229"/>
                  <a:pt x="1443" y="227"/>
                  <a:pt x="1444" y="223"/>
                </a:cubicBezTo>
                <a:cubicBezTo>
                  <a:pt x="1444" y="219"/>
                  <a:pt x="1437" y="219"/>
                  <a:pt x="1434" y="212"/>
                </a:cubicBezTo>
                <a:cubicBezTo>
                  <a:pt x="1431" y="206"/>
                  <a:pt x="1435" y="203"/>
                  <a:pt x="1433" y="198"/>
                </a:cubicBezTo>
                <a:cubicBezTo>
                  <a:pt x="1430" y="192"/>
                  <a:pt x="1422" y="194"/>
                  <a:pt x="1412" y="186"/>
                </a:cubicBezTo>
                <a:cubicBezTo>
                  <a:pt x="1402" y="179"/>
                  <a:pt x="1398" y="167"/>
                  <a:pt x="1396" y="163"/>
                </a:cubicBezTo>
                <a:cubicBezTo>
                  <a:pt x="1394" y="157"/>
                  <a:pt x="1395" y="157"/>
                  <a:pt x="1393" y="154"/>
                </a:cubicBezTo>
                <a:cubicBezTo>
                  <a:pt x="1386" y="143"/>
                  <a:pt x="1367" y="145"/>
                  <a:pt x="1366" y="141"/>
                </a:cubicBezTo>
                <a:cubicBezTo>
                  <a:pt x="1366" y="139"/>
                  <a:pt x="1376" y="138"/>
                  <a:pt x="1377" y="133"/>
                </a:cubicBezTo>
                <a:cubicBezTo>
                  <a:pt x="1378" y="129"/>
                  <a:pt x="1372" y="127"/>
                  <a:pt x="1369" y="120"/>
                </a:cubicBezTo>
                <a:cubicBezTo>
                  <a:pt x="1366" y="113"/>
                  <a:pt x="1369" y="110"/>
                  <a:pt x="1366" y="104"/>
                </a:cubicBezTo>
                <a:cubicBezTo>
                  <a:pt x="1363" y="98"/>
                  <a:pt x="1359" y="99"/>
                  <a:pt x="1352" y="92"/>
                </a:cubicBezTo>
                <a:cubicBezTo>
                  <a:pt x="1346" y="85"/>
                  <a:pt x="1349" y="82"/>
                  <a:pt x="1342" y="74"/>
                </a:cubicBezTo>
                <a:cubicBezTo>
                  <a:pt x="1335" y="64"/>
                  <a:pt x="1329" y="66"/>
                  <a:pt x="1326" y="59"/>
                </a:cubicBezTo>
                <a:cubicBezTo>
                  <a:pt x="1324" y="51"/>
                  <a:pt x="1331" y="47"/>
                  <a:pt x="1328" y="38"/>
                </a:cubicBezTo>
                <a:cubicBezTo>
                  <a:pt x="1326" y="30"/>
                  <a:pt x="1318" y="27"/>
                  <a:pt x="1319" y="25"/>
                </a:cubicBezTo>
                <a:cubicBezTo>
                  <a:pt x="1321" y="23"/>
                  <a:pt x="1330" y="29"/>
                  <a:pt x="1337" y="25"/>
                </a:cubicBezTo>
                <a:cubicBezTo>
                  <a:pt x="1338" y="24"/>
                  <a:pt x="1340" y="23"/>
                  <a:pt x="1344" y="13"/>
                </a:cubicBezTo>
                <a:cubicBezTo>
                  <a:pt x="1345" y="11"/>
                  <a:pt x="1345" y="9"/>
                  <a:pt x="1346" y="7"/>
                </a:cubicBezTo>
                <a:cubicBezTo>
                  <a:pt x="1345" y="8"/>
                  <a:pt x="1345" y="8"/>
                  <a:pt x="1345" y="8"/>
                </a:cubicBezTo>
                <a:cubicBezTo>
                  <a:pt x="1368" y="17"/>
                  <a:pt x="1368" y="17"/>
                  <a:pt x="1368" y="17"/>
                </a:cubicBezTo>
                <a:cubicBezTo>
                  <a:pt x="1400" y="0"/>
                  <a:pt x="1400" y="0"/>
                  <a:pt x="1400" y="0"/>
                </a:cubicBezTo>
                <a:cubicBezTo>
                  <a:pt x="1425" y="5"/>
                  <a:pt x="1425" y="5"/>
                  <a:pt x="1425" y="5"/>
                </a:cubicBezTo>
                <a:cubicBezTo>
                  <a:pt x="1457" y="0"/>
                  <a:pt x="1457" y="0"/>
                  <a:pt x="1457" y="0"/>
                </a:cubicBezTo>
                <a:cubicBezTo>
                  <a:pt x="1481" y="19"/>
                  <a:pt x="1481" y="19"/>
                  <a:pt x="1481" y="19"/>
                </a:cubicBezTo>
                <a:cubicBezTo>
                  <a:pt x="1514" y="37"/>
                  <a:pt x="1514" y="37"/>
                  <a:pt x="1514" y="37"/>
                </a:cubicBezTo>
                <a:cubicBezTo>
                  <a:pt x="1554" y="33"/>
                  <a:pt x="1554" y="33"/>
                  <a:pt x="1554" y="33"/>
                </a:cubicBezTo>
                <a:cubicBezTo>
                  <a:pt x="1601" y="54"/>
                  <a:pt x="1601" y="54"/>
                  <a:pt x="1601" y="54"/>
                </a:cubicBezTo>
                <a:cubicBezTo>
                  <a:pt x="1609" y="94"/>
                  <a:pt x="1609" y="94"/>
                  <a:pt x="1609" y="94"/>
                </a:cubicBezTo>
                <a:cubicBezTo>
                  <a:pt x="1618" y="96"/>
                  <a:pt x="1618" y="96"/>
                  <a:pt x="1618" y="96"/>
                </a:cubicBezTo>
                <a:cubicBezTo>
                  <a:pt x="1633" y="85"/>
                  <a:pt x="1633" y="85"/>
                  <a:pt x="1633" y="85"/>
                </a:cubicBezTo>
                <a:cubicBezTo>
                  <a:pt x="1655" y="96"/>
                  <a:pt x="1655" y="96"/>
                  <a:pt x="1655" y="96"/>
                </a:cubicBezTo>
                <a:cubicBezTo>
                  <a:pt x="1666" y="82"/>
                  <a:pt x="1666" y="82"/>
                  <a:pt x="1666" y="82"/>
                </a:cubicBezTo>
                <a:cubicBezTo>
                  <a:pt x="1677" y="70"/>
                  <a:pt x="1677" y="70"/>
                  <a:pt x="1677" y="70"/>
                </a:cubicBezTo>
                <a:cubicBezTo>
                  <a:pt x="1696" y="75"/>
                  <a:pt x="1696" y="75"/>
                  <a:pt x="1696" y="75"/>
                </a:cubicBezTo>
                <a:cubicBezTo>
                  <a:pt x="1702" y="85"/>
                  <a:pt x="1702" y="85"/>
                  <a:pt x="1702" y="85"/>
                </a:cubicBezTo>
                <a:cubicBezTo>
                  <a:pt x="1716" y="84"/>
                  <a:pt x="1716" y="84"/>
                  <a:pt x="1716" y="84"/>
                </a:cubicBezTo>
                <a:cubicBezTo>
                  <a:pt x="1716" y="84"/>
                  <a:pt x="1716" y="84"/>
                  <a:pt x="1716" y="84"/>
                </a:cubicBezTo>
                <a:cubicBezTo>
                  <a:pt x="1716" y="87"/>
                  <a:pt x="1717" y="90"/>
                  <a:pt x="1719" y="91"/>
                </a:cubicBezTo>
                <a:cubicBezTo>
                  <a:pt x="1721" y="93"/>
                  <a:pt x="1726" y="89"/>
                  <a:pt x="1729" y="87"/>
                </a:cubicBezTo>
                <a:cubicBezTo>
                  <a:pt x="1737" y="81"/>
                  <a:pt x="1736" y="76"/>
                  <a:pt x="1742" y="73"/>
                </a:cubicBezTo>
                <a:cubicBezTo>
                  <a:pt x="1746" y="72"/>
                  <a:pt x="1747" y="74"/>
                  <a:pt x="1752" y="72"/>
                </a:cubicBezTo>
                <a:cubicBezTo>
                  <a:pt x="1757" y="71"/>
                  <a:pt x="1758" y="68"/>
                  <a:pt x="1766" y="63"/>
                </a:cubicBezTo>
                <a:cubicBezTo>
                  <a:pt x="1766" y="62"/>
                  <a:pt x="1772" y="59"/>
                  <a:pt x="1782" y="52"/>
                </a:cubicBezTo>
                <a:cubicBezTo>
                  <a:pt x="1793" y="44"/>
                  <a:pt x="1793" y="45"/>
                  <a:pt x="1794" y="44"/>
                </a:cubicBezTo>
                <a:cubicBezTo>
                  <a:pt x="1799" y="40"/>
                  <a:pt x="1802" y="37"/>
                  <a:pt x="1803" y="38"/>
                </a:cubicBezTo>
                <a:cubicBezTo>
                  <a:pt x="1804" y="38"/>
                  <a:pt x="1804" y="40"/>
                  <a:pt x="1803" y="46"/>
                </a:cubicBezTo>
                <a:cubicBezTo>
                  <a:pt x="1802" y="58"/>
                  <a:pt x="1801" y="60"/>
                  <a:pt x="1802" y="62"/>
                </a:cubicBezTo>
                <a:cubicBezTo>
                  <a:pt x="1804" y="65"/>
                  <a:pt x="1808" y="65"/>
                  <a:pt x="1814" y="67"/>
                </a:cubicBezTo>
                <a:cubicBezTo>
                  <a:pt x="1825" y="70"/>
                  <a:pt x="1821" y="70"/>
                  <a:pt x="1837" y="75"/>
                </a:cubicBezTo>
                <a:cubicBezTo>
                  <a:pt x="1842" y="77"/>
                  <a:pt x="1853" y="80"/>
                  <a:pt x="1867" y="82"/>
                </a:cubicBezTo>
                <a:cubicBezTo>
                  <a:pt x="1887" y="86"/>
                  <a:pt x="1894" y="85"/>
                  <a:pt x="1898" y="91"/>
                </a:cubicBezTo>
                <a:cubicBezTo>
                  <a:pt x="1902" y="95"/>
                  <a:pt x="1899" y="98"/>
                  <a:pt x="1902" y="105"/>
                </a:cubicBezTo>
                <a:cubicBezTo>
                  <a:pt x="1907" y="118"/>
                  <a:pt x="1925" y="127"/>
                  <a:pt x="1933" y="122"/>
                </a:cubicBezTo>
                <a:cubicBezTo>
                  <a:pt x="1938" y="120"/>
                  <a:pt x="1939" y="112"/>
                  <a:pt x="1943" y="111"/>
                </a:cubicBezTo>
                <a:cubicBezTo>
                  <a:pt x="1947" y="111"/>
                  <a:pt x="1949" y="117"/>
                  <a:pt x="1950" y="117"/>
                </a:cubicBezTo>
                <a:cubicBezTo>
                  <a:pt x="1953" y="116"/>
                  <a:pt x="1945" y="94"/>
                  <a:pt x="1951" y="91"/>
                </a:cubicBezTo>
                <a:cubicBezTo>
                  <a:pt x="1957" y="87"/>
                  <a:pt x="1973" y="102"/>
                  <a:pt x="1975" y="104"/>
                </a:cubicBezTo>
                <a:cubicBezTo>
                  <a:pt x="1980" y="109"/>
                  <a:pt x="1984" y="113"/>
                  <a:pt x="1986" y="119"/>
                </a:cubicBezTo>
                <a:cubicBezTo>
                  <a:pt x="1990" y="128"/>
                  <a:pt x="1986" y="131"/>
                  <a:pt x="1990" y="140"/>
                </a:cubicBezTo>
                <a:cubicBezTo>
                  <a:pt x="1992" y="147"/>
                  <a:pt x="1997" y="152"/>
                  <a:pt x="2003" y="158"/>
                </a:cubicBezTo>
                <a:cubicBezTo>
                  <a:pt x="2010" y="164"/>
                  <a:pt x="2013" y="166"/>
                  <a:pt x="2013" y="168"/>
                </a:cubicBezTo>
                <a:cubicBezTo>
                  <a:pt x="2012" y="172"/>
                  <a:pt x="2003" y="175"/>
                  <a:pt x="1997" y="172"/>
                </a:cubicBezTo>
                <a:cubicBezTo>
                  <a:pt x="1992" y="169"/>
                  <a:pt x="1991" y="162"/>
                  <a:pt x="1989" y="162"/>
                </a:cubicBezTo>
                <a:cubicBezTo>
                  <a:pt x="1986" y="163"/>
                  <a:pt x="1988" y="170"/>
                  <a:pt x="1983" y="173"/>
                </a:cubicBezTo>
                <a:cubicBezTo>
                  <a:pt x="1978" y="177"/>
                  <a:pt x="1973" y="172"/>
                  <a:pt x="1968" y="175"/>
                </a:cubicBezTo>
                <a:cubicBezTo>
                  <a:pt x="1964" y="178"/>
                  <a:pt x="1966" y="182"/>
                  <a:pt x="1963" y="196"/>
                </a:cubicBezTo>
                <a:cubicBezTo>
                  <a:pt x="1961" y="202"/>
                  <a:pt x="1960" y="206"/>
                  <a:pt x="1958" y="209"/>
                </a:cubicBezTo>
                <a:cubicBezTo>
                  <a:pt x="1954" y="215"/>
                  <a:pt x="1949" y="216"/>
                  <a:pt x="1941" y="219"/>
                </a:cubicBezTo>
                <a:cubicBezTo>
                  <a:pt x="1924" y="227"/>
                  <a:pt x="1927" y="231"/>
                  <a:pt x="1909" y="240"/>
                </a:cubicBezTo>
                <a:cubicBezTo>
                  <a:pt x="1899" y="244"/>
                  <a:pt x="1896" y="243"/>
                  <a:pt x="1891" y="248"/>
                </a:cubicBezTo>
                <a:cubicBezTo>
                  <a:pt x="1885" y="254"/>
                  <a:pt x="1886" y="257"/>
                  <a:pt x="1880" y="266"/>
                </a:cubicBezTo>
                <a:cubicBezTo>
                  <a:pt x="1878" y="269"/>
                  <a:pt x="1870" y="279"/>
                  <a:pt x="1856" y="285"/>
                </a:cubicBezTo>
                <a:cubicBezTo>
                  <a:pt x="1850" y="288"/>
                  <a:pt x="1842" y="291"/>
                  <a:pt x="1833" y="288"/>
                </a:cubicBezTo>
                <a:cubicBezTo>
                  <a:pt x="1827" y="286"/>
                  <a:pt x="1826" y="282"/>
                  <a:pt x="1821" y="282"/>
                </a:cubicBezTo>
                <a:cubicBezTo>
                  <a:pt x="1814" y="281"/>
                  <a:pt x="1812" y="287"/>
                  <a:pt x="1802" y="292"/>
                </a:cubicBezTo>
                <a:cubicBezTo>
                  <a:pt x="1790" y="298"/>
                  <a:pt x="1780" y="295"/>
                  <a:pt x="1779" y="299"/>
                </a:cubicBezTo>
                <a:cubicBezTo>
                  <a:pt x="1778" y="302"/>
                  <a:pt x="1783" y="303"/>
                  <a:pt x="1787" y="309"/>
                </a:cubicBezTo>
                <a:cubicBezTo>
                  <a:pt x="1792" y="318"/>
                  <a:pt x="1789" y="328"/>
                  <a:pt x="1791" y="329"/>
                </a:cubicBezTo>
                <a:cubicBezTo>
                  <a:pt x="1793" y="329"/>
                  <a:pt x="1794" y="321"/>
                  <a:pt x="1800" y="313"/>
                </a:cubicBezTo>
                <a:cubicBezTo>
                  <a:pt x="1802" y="311"/>
                  <a:pt x="1807" y="306"/>
                  <a:pt x="1814" y="304"/>
                </a:cubicBezTo>
                <a:cubicBezTo>
                  <a:pt x="1816" y="304"/>
                  <a:pt x="1820" y="303"/>
                  <a:pt x="1834" y="309"/>
                </a:cubicBezTo>
                <a:cubicBezTo>
                  <a:pt x="1848" y="315"/>
                  <a:pt x="1852" y="318"/>
                  <a:pt x="1856" y="316"/>
                </a:cubicBezTo>
                <a:cubicBezTo>
                  <a:pt x="1860" y="313"/>
                  <a:pt x="1861" y="306"/>
                  <a:pt x="1862" y="306"/>
                </a:cubicBezTo>
                <a:cubicBezTo>
                  <a:pt x="1862" y="301"/>
                  <a:pt x="1861" y="300"/>
                  <a:pt x="1862" y="297"/>
                </a:cubicBezTo>
                <a:cubicBezTo>
                  <a:pt x="1863" y="292"/>
                  <a:pt x="1870" y="292"/>
                  <a:pt x="1878" y="288"/>
                </a:cubicBezTo>
                <a:cubicBezTo>
                  <a:pt x="1885" y="284"/>
                  <a:pt x="1885" y="280"/>
                  <a:pt x="1894" y="271"/>
                </a:cubicBezTo>
                <a:cubicBezTo>
                  <a:pt x="1899" y="266"/>
                  <a:pt x="1899" y="267"/>
                  <a:pt x="1915" y="255"/>
                </a:cubicBezTo>
                <a:cubicBezTo>
                  <a:pt x="1938" y="238"/>
                  <a:pt x="1936" y="237"/>
                  <a:pt x="1943" y="234"/>
                </a:cubicBezTo>
                <a:cubicBezTo>
                  <a:pt x="1953" y="230"/>
                  <a:pt x="1958" y="231"/>
                  <a:pt x="1965" y="224"/>
                </a:cubicBezTo>
                <a:cubicBezTo>
                  <a:pt x="1967" y="223"/>
                  <a:pt x="1971" y="219"/>
                  <a:pt x="1972" y="212"/>
                </a:cubicBezTo>
                <a:cubicBezTo>
                  <a:pt x="1974" y="205"/>
                  <a:pt x="1971" y="202"/>
                  <a:pt x="1974" y="195"/>
                </a:cubicBezTo>
                <a:cubicBezTo>
                  <a:pt x="1975" y="191"/>
                  <a:pt x="1976" y="186"/>
                  <a:pt x="1980" y="185"/>
                </a:cubicBezTo>
                <a:cubicBezTo>
                  <a:pt x="1985" y="183"/>
                  <a:pt x="1988" y="189"/>
                  <a:pt x="2000" y="192"/>
                </a:cubicBezTo>
                <a:cubicBezTo>
                  <a:pt x="2006" y="194"/>
                  <a:pt x="2008" y="193"/>
                  <a:pt x="2011" y="195"/>
                </a:cubicBezTo>
                <a:cubicBezTo>
                  <a:pt x="2016" y="199"/>
                  <a:pt x="2014" y="209"/>
                  <a:pt x="2013" y="216"/>
                </a:cubicBezTo>
                <a:cubicBezTo>
                  <a:pt x="2007" y="255"/>
                  <a:pt x="2014" y="255"/>
                  <a:pt x="2007" y="270"/>
                </a:cubicBezTo>
                <a:cubicBezTo>
                  <a:pt x="2001" y="281"/>
                  <a:pt x="1993" y="288"/>
                  <a:pt x="1984" y="296"/>
                </a:cubicBezTo>
                <a:cubicBezTo>
                  <a:pt x="1969" y="310"/>
                  <a:pt x="1959" y="319"/>
                  <a:pt x="1945" y="319"/>
                </a:cubicBezTo>
                <a:cubicBezTo>
                  <a:pt x="1945" y="319"/>
                  <a:pt x="1936" y="319"/>
                  <a:pt x="1925" y="323"/>
                </a:cubicBezTo>
                <a:cubicBezTo>
                  <a:pt x="1921" y="324"/>
                  <a:pt x="1919" y="326"/>
                  <a:pt x="1918" y="328"/>
                </a:cubicBezTo>
                <a:cubicBezTo>
                  <a:pt x="1916" y="332"/>
                  <a:pt x="1920" y="340"/>
                  <a:pt x="1926" y="343"/>
                </a:cubicBezTo>
                <a:cubicBezTo>
                  <a:pt x="1933" y="348"/>
                  <a:pt x="1942" y="345"/>
                  <a:pt x="1953" y="342"/>
                </a:cubicBezTo>
                <a:cubicBezTo>
                  <a:pt x="1963" y="339"/>
                  <a:pt x="1968" y="336"/>
                  <a:pt x="1974" y="333"/>
                </a:cubicBezTo>
                <a:cubicBezTo>
                  <a:pt x="1983" y="329"/>
                  <a:pt x="1986" y="330"/>
                  <a:pt x="2029" y="323"/>
                </a:cubicBezTo>
                <a:cubicBezTo>
                  <a:pt x="2053" y="320"/>
                  <a:pt x="2058" y="319"/>
                  <a:pt x="2067" y="321"/>
                </a:cubicBezTo>
                <a:cubicBezTo>
                  <a:pt x="2078" y="325"/>
                  <a:pt x="2091" y="333"/>
                  <a:pt x="2091" y="341"/>
                </a:cubicBezTo>
                <a:cubicBezTo>
                  <a:pt x="2090" y="348"/>
                  <a:pt x="2080" y="349"/>
                  <a:pt x="2079" y="357"/>
                </a:cubicBezTo>
                <a:cubicBezTo>
                  <a:pt x="2079" y="365"/>
                  <a:pt x="2089" y="367"/>
                  <a:pt x="2088" y="375"/>
                </a:cubicBezTo>
                <a:cubicBezTo>
                  <a:pt x="2088" y="382"/>
                  <a:pt x="2082" y="387"/>
                  <a:pt x="2082" y="387"/>
                </a:cubicBezTo>
                <a:cubicBezTo>
                  <a:pt x="2078" y="391"/>
                  <a:pt x="2074" y="391"/>
                  <a:pt x="2072" y="394"/>
                </a:cubicBezTo>
                <a:cubicBezTo>
                  <a:pt x="2071" y="398"/>
                  <a:pt x="2072" y="400"/>
                  <a:pt x="2070" y="402"/>
                </a:cubicBezTo>
                <a:cubicBezTo>
                  <a:pt x="2067" y="405"/>
                  <a:pt x="2062" y="402"/>
                  <a:pt x="2061" y="405"/>
                </a:cubicBezTo>
                <a:cubicBezTo>
                  <a:pt x="2059" y="407"/>
                  <a:pt x="2066" y="412"/>
                  <a:pt x="2067" y="419"/>
                </a:cubicBezTo>
                <a:cubicBezTo>
                  <a:pt x="2067" y="423"/>
                  <a:pt x="2065" y="424"/>
                  <a:pt x="2059" y="435"/>
                </a:cubicBezTo>
                <a:cubicBezTo>
                  <a:pt x="2053" y="447"/>
                  <a:pt x="2053" y="448"/>
                  <a:pt x="2053" y="448"/>
                </a:cubicBezTo>
                <a:cubicBezTo>
                  <a:pt x="2055" y="450"/>
                  <a:pt x="2065" y="442"/>
                  <a:pt x="2071" y="438"/>
                </a:cubicBezTo>
                <a:cubicBezTo>
                  <a:pt x="2077" y="432"/>
                  <a:pt x="2080" y="430"/>
                  <a:pt x="2082" y="425"/>
                </a:cubicBezTo>
                <a:cubicBezTo>
                  <a:pt x="2084" y="419"/>
                  <a:pt x="2082" y="415"/>
                  <a:pt x="2086" y="410"/>
                </a:cubicBezTo>
                <a:cubicBezTo>
                  <a:pt x="2089" y="407"/>
                  <a:pt x="2091" y="407"/>
                  <a:pt x="2093" y="403"/>
                </a:cubicBezTo>
                <a:cubicBezTo>
                  <a:pt x="2096" y="399"/>
                  <a:pt x="2094" y="398"/>
                  <a:pt x="2096" y="393"/>
                </a:cubicBezTo>
                <a:cubicBezTo>
                  <a:pt x="2098" y="386"/>
                  <a:pt x="2102" y="386"/>
                  <a:pt x="2105" y="380"/>
                </a:cubicBezTo>
                <a:cubicBezTo>
                  <a:pt x="2108" y="373"/>
                  <a:pt x="2106" y="371"/>
                  <a:pt x="2108" y="368"/>
                </a:cubicBezTo>
                <a:cubicBezTo>
                  <a:pt x="2114" y="361"/>
                  <a:pt x="2132" y="372"/>
                  <a:pt x="2138" y="365"/>
                </a:cubicBezTo>
                <a:cubicBezTo>
                  <a:pt x="2141" y="362"/>
                  <a:pt x="2139" y="359"/>
                  <a:pt x="2142" y="356"/>
                </a:cubicBezTo>
                <a:cubicBezTo>
                  <a:pt x="2146" y="351"/>
                  <a:pt x="2157" y="353"/>
                  <a:pt x="2164" y="356"/>
                </a:cubicBezTo>
                <a:cubicBezTo>
                  <a:pt x="2184" y="362"/>
                  <a:pt x="2192" y="368"/>
                  <a:pt x="2209" y="377"/>
                </a:cubicBezTo>
                <a:cubicBezTo>
                  <a:pt x="2219" y="382"/>
                  <a:pt x="2233" y="389"/>
                  <a:pt x="2251" y="394"/>
                </a:cubicBezTo>
                <a:cubicBezTo>
                  <a:pt x="2269" y="399"/>
                  <a:pt x="2275" y="397"/>
                  <a:pt x="2286" y="404"/>
                </a:cubicBezTo>
                <a:cubicBezTo>
                  <a:pt x="2296" y="410"/>
                  <a:pt x="2294" y="413"/>
                  <a:pt x="2308" y="423"/>
                </a:cubicBezTo>
                <a:cubicBezTo>
                  <a:pt x="2315" y="428"/>
                  <a:pt x="2322" y="431"/>
                  <a:pt x="2325" y="439"/>
                </a:cubicBezTo>
                <a:cubicBezTo>
                  <a:pt x="2326" y="443"/>
                  <a:pt x="2325" y="445"/>
                  <a:pt x="2328" y="447"/>
                </a:cubicBezTo>
                <a:cubicBezTo>
                  <a:pt x="2332" y="451"/>
                  <a:pt x="2338" y="446"/>
                  <a:pt x="2350" y="446"/>
                </a:cubicBezTo>
                <a:cubicBezTo>
                  <a:pt x="2360" y="447"/>
                  <a:pt x="2360" y="450"/>
                  <a:pt x="2368" y="450"/>
                </a:cubicBezTo>
                <a:cubicBezTo>
                  <a:pt x="2378" y="450"/>
                  <a:pt x="2386" y="443"/>
                  <a:pt x="2393" y="438"/>
                </a:cubicBezTo>
                <a:cubicBezTo>
                  <a:pt x="2407" y="426"/>
                  <a:pt x="2405" y="420"/>
                  <a:pt x="2417" y="414"/>
                </a:cubicBezTo>
                <a:cubicBezTo>
                  <a:pt x="2424" y="410"/>
                  <a:pt x="2427" y="412"/>
                  <a:pt x="2434" y="407"/>
                </a:cubicBezTo>
                <a:cubicBezTo>
                  <a:pt x="2442" y="401"/>
                  <a:pt x="2441" y="396"/>
                  <a:pt x="2447" y="393"/>
                </a:cubicBezTo>
                <a:cubicBezTo>
                  <a:pt x="2452" y="392"/>
                  <a:pt x="2454" y="394"/>
                  <a:pt x="2470" y="399"/>
                </a:cubicBezTo>
                <a:cubicBezTo>
                  <a:pt x="2482" y="402"/>
                  <a:pt x="2488" y="404"/>
                  <a:pt x="2494" y="404"/>
                </a:cubicBezTo>
                <a:cubicBezTo>
                  <a:pt x="2497" y="403"/>
                  <a:pt x="2505" y="403"/>
                  <a:pt x="2512" y="398"/>
                </a:cubicBezTo>
                <a:cubicBezTo>
                  <a:pt x="2520" y="393"/>
                  <a:pt x="2521" y="387"/>
                  <a:pt x="2528" y="386"/>
                </a:cubicBezTo>
                <a:cubicBezTo>
                  <a:pt x="2529" y="386"/>
                  <a:pt x="2536" y="385"/>
                  <a:pt x="2539" y="388"/>
                </a:cubicBezTo>
                <a:cubicBezTo>
                  <a:pt x="2541" y="391"/>
                  <a:pt x="2540" y="395"/>
                  <a:pt x="2540" y="397"/>
                </a:cubicBezTo>
                <a:cubicBezTo>
                  <a:pt x="2538" y="405"/>
                  <a:pt x="2529" y="414"/>
                  <a:pt x="2522" y="413"/>
                </a:cubicBezTo>
                <a:cubicBezTo>
                  <a:pt x="2518" y="412"/>
                  <a:pt x="2516" y="410"/>
                  <a:pt x="2514" y="411"/>
                </a:cubicBezTo>
                <a:cubicBezTo>
                  <a:pt x="2511" y="412"/>
                  <a:pt x="2509" y="417"/>
                  <a:pt x="2511" y="421"/>
                </a:cubicBezTo>
                <a:cubicBezTo>
                  <a:pt x="2513" y="424"/>
                  <a:pt x="2516" y="424"/>
                  <a:pt x="2518" y="427"/>
                </a:cubicBezTo>
                <a:cubicBezTo>
                  <a:pt x="2521" y="431"/>
                  <a:pt x="2517" y="437"/>
                  <a:pt x="2516" y="443"/>
                </a:cubicBezTo>
                <a:cubicBezTo>
                  <a:pt x="2514" y="451"/>
                  <a:pt x="2517" y="453"/>
                  <a:pt x="2522" y="468"/>
                </a:cubicBezTo>
                <a:cubicBezTo>
                  <a:pt x="2525" y="480"/>
                  <a:pt x="2529" y="497"/>
                  <a:pt x="2527" y="514"/>
                </a:cubicBezTo>
                <a:cubicBezTo>
                  <a:pt x="2526" y="518"/>
                  <a:pt x="2525" y="524"/>
                  <a:pt x="2522" y="528"/>
                </a:cubicBezTo>
                <a:cubicBezTo>
                  <a:pt x="2518" y="533"/>
                  <a:pt x="2514" y="534"/>
                  <a:pt x="2510" y="536"/>
                </a:cubicBezTo>
                <a:cubicBezTo>
                  <a:pt x="2500" y="541"/>
                  <a:pt x="2502" y="542"/>
                  <a:pt x="2482" y="556"/>
                </a:cubicBezTo>
                <a:cubicBezTo>
                  <a:pt x="2466" y="567"/>
                  <a:pt x="2468" y="564"/>
                  <a:pt x="2461" y="570"/>
                </a:cubicBezTo>
                <a:cubicBezTo>
                  <a:pt x="2452" y="578"/>
                  <a:pt x="2442" y="585"/>
                  <a:pt x="2434" y="598"/>
                </a:cubicBezTo>
                <a:cubicBezTo>
                  <a:pt x="2430" y="602"/>
                  <a:pt x="2427" y="608"/>
                  <a:pt x="2421" y="609"/>
                </a:cubicBezTo>
                <a:cubicBezTo>
                  <a:pt x="2418" y="609"/>
                  <a:pt x="2416" y="607"/>
                  <a:pt x="2410" y="608"/>
                </a:cubicBezTo>
                <a:cubicBezTo>
                  <a:pt x="2404" y="608"/>
                  <a:pt x="2403" y="610"/>
                  <a:pt x="2399" y="609"/>
                </a:cubicBezTo>
                <a:cubicBezTo>
                  <a:pt x="2393" y="608"/>
                  <a:pt x="2391" y="599"/>
                  <a:pt x="2388" y="600"/>
                </a:cubicBezTo>
                <a:cubicBezTo>
                  <a:pt x="2387" y="600"/>
                  <a:pt x="2386" y="602"/>
                  <a:pt x="2385" y="606"/>
                </a:cubicBezTo>
                <a:cubicBezTo>
                  <a:pt x="2383" y="612"/>
                  <a:pt x="2381" y="617"/>
                  <a:pt x="2381" y="618"/>
                </a:cubicBezTo>
                <a:cubicBezTo>
                  <a:pt x="2377" y="627"/>
                  <a:pt x="2367" y="625"/>
                  <a:pt x="2362" y="633"/>
                </a:cubicBezTo>
                <a:cubicBezTo>
                  <a:pt x="2358" y="641"/>
                  <a:pt x="2363" y="651"/>
                  <a:pt x="2365" y="655"/>
                </a:cubicBezTo>
                <a:cubicBezTo>
                  <a:pt x="2366" y="658"/>
                  <a:pt x="2372" y="669"/>
                  <a:pt x="2383" y="672"/>
                </a:cubicBezTo>
                <a:cubicBezTo>
                  <a:pt x="2390" y="675"/>
                  <a:pt x="2392" y="671"/>
                  <a:pt x="2404" y="672"/>
                </a:cubicBezTo>
                <a:cubicBezTo>
                  <a:pt x="2412" y="673"/>
                  <a:pt x="2422" y="674"/>
                  <a:pt x="2425" y="681"/>
                </a:cubicBezTo>
                <a:cubicBezTo>
                  <a:pt x="2428" y="686"/>
                  <a:pt x="2425" y="695"/>
                  <a:pt x="2420" y="700"/>
                </a:cubicBezTo>
                <a:cubicBezTo>
                  <a:pt x="2416" y="704"/>
                  <a:pt x="2413" y="703"/>
                  <a:pt x="2411" y="707"/>
                </a:cubicBezTo>
                <a:cubicBezTo>
                  <a:pt x="2408" y="712"/>
                  <a:pt x="2414" y="716"/>
                  <a:pt x="2413" y="723"/>
                </a:cubicBezTo>
                <a:cubicBezTo>
                  <a:pt x="2412" y="732"/>
                  <a:pt x="2402" y="739"/>
                  <a:pt x="2395" y="741"/>
                </a:cubicBezTo>
                <a:cubicBezTo>
                  <a:pt x="2382" y="746"/>
                  <a:pt x="2372" y="739"/>
                  <a:pt x="2368" y="745"/>
                </a:cubicBezTo>
                <a:cubicBezTo>
                  <a:pt x="2367" y="747"/>
                  <a:pt x="2367" y="749"/>
                  <a:pt x="2368" y="751"/>
                </a:cubicBezTo>
                <a:cubicBezTo>
                  <a:pt x="2372" y="759"/>
                  <a:pt x="2394" y="753"/>
                  <a:pt x="2396" y="753"/>
                </a:cubicBezTo>
                <a:cubicBezTo>
                  <a:pt x="2403" y="751"/>
                  <a:pt x="2412" y="748"/>
                  <a:pt x="2418" y="740"/>
                </a:cubicBezTo>
                <a:cubicBezTo>
                  <a:pt x="2422" y="735"/>
                  <a:pt x="2424" y="730"/>
                  <a:pt x="2426" y="730"/>
                </a:cubicBezTo>
                <a:cubicBezTo>
                  <a:pt x="2428" y="730"/>
                  <a:pt x="2428" y="735"/>
                  <a:pt x="2432" y="740"/>
                </a:cubicBezTo>
                <a:cubicBezTo>
                  <a:pt x="2438" y="747"/>
                  <a:pt x="2448" y="747"/>
                  <a:pt x="2449" y="747"/>
                </a:cubicBezTo>
                <a:cubicBezTo>
                  <a:pt x="2458" y="747"/>
                  <a:pt x="2467" y="743"/>
                  <a:pt x="2467" y="739"/>
                </a:cubicBezTo>
                <a:cubicBezTo>
                  <a:pt x="2467" y="736"/>
                  <a:pt x="2462" y="736"/>
                  <a:pt x="2449" y="729"/>
                </a:cubicBezTo>
                <a:cubicBezTo>
                  <a:pt x="2436" y="723"/>
                  <a:pt x="2434" y="720"/>
                  <a:pt x="2434" y="718"/>
                </a:cubicBezTo>
                <a:cubicBezTo>
                  <a:pt x="2434" y="714"/>
                  <a:pt x="2441" y="712"/>
                  <a:pt x="2441" y="708"/>
                </a:cubicBezTo>
                <a:cubicBezTo>
                  <a:pt x="2440" y="706"/>
                  <a:pt x="2437" y="705"/>
                  <a:pt x="2437" y="703"/>
                </a:cubicBezTo>
                <a:cubicBezTo>
                  <a:pt x="2437" y="699"/>
                  <a:pt x="2444" y="697"/>
                  <a:pt x="2448" y="695"/>
                </a:cubicBezTo>
                <a:cubicBezTo>
                  <a:pt x="2460" y="691"/>
                  <a:pt x="2460" y="688"/>
                  <a:pt x="2474" y="679"/>
                </a:cubicBezTo>
                <a:cubicBezTo>
                  <a:pt x="2486" y="673"/>
                  <a:pt x="2497" y="666"/>
                  <a:pt x="2511" y="665"/>
                </a:cubicBezTo>
                <a:cubicBezTo>
                  <a:pt x="2529" y="663"/>
                  <a:pt x="2533" y="670"/>
                  <a:pt x="2548" y="665"/>
                </a:cubicBezTo>
                <a:cubicBezTo>
                  <a:pt x="2557" y="661"/>
                  <a:pt x="2562" y="656"/>
                  <a:pt x="2567" y="659"/>
                </a:cubicBezTo>
                <a:cubicBezTo>
                  <a:pt x="2571" y="661"/>
                  <a:pt x="2569" y="667"/>
                  <a:pt x="2575" y="675"/>
                </a:cubicBezTo>
                <a:cubicBezTo>
                  <a:pt x="2576" y="676"/>
                  <a:pt x="2583" y="686"/>
                  <a:pt x="2590" y="685"/>
                </a:cubicBezTo>
                <a:cubicBezTo>
                  <a:pt x="2596" y="684"/>
                  <a:pt x="2598" y="678"/>
                  <a:pt x="2601" y="679"/>
                </a:cubicBezTo>
                <a:cubicBezTo>
                  <a:pt x="2604" y="680"/>
                  <a:pt x="2604" y="686"/>
                  <a:pt x="2603" y="692"/>
                </a:cubicBezTo>
                <a:cubicBezTo>
                  <a:pt x="2602" y="701"/>
                  <a:pt x="2597" y="702"/>
                  <a:pt x="2597" y="708"/>
                </a:cubicBezTo>
                <a:cubicBezTo>
                  <a:pt x="2597" y="714"/>
                  <a:pt x="2603" y="722"/>
                  <a:pt x="2611" y="723"/>
                </a:cubicBezTo>
                <a:cubicBezTo>
                  <a:pt x="2621" y="726"/>
                  <a:pt x="2630" y="718"/>
                  <a:pt x="2634" y="711"/>
                </a:cubicBezTo>
                <a:cubicBezTo>
                  <a:pt x="2637" y="706"/>
                  <a:pt x="2637" y="701"/>
                  <a:pt x="2639" y="701"/>
                </a:cubicBezTo>
                <a:cubicBezTo>
                  <a:pt x="2642" y="700"/>
                  <a:pt x="2643" y="712"/>
                  <a:pt x="2650" y="715"/>
                </a:cubicBezTo>
                <a:cubicBezTo>
                  <a:pt x="2658" y="718"/>
                  <a:pt x="2664" y="711"/>
                  <a:pt x="2669" y="714"/>
                </a:cubicBezTo>
                <a:cubicBezTo>
                  <a:pt x="2674" y="717"/>
                  <a:pt x="2670" y="724"/>
                  <a:pt x="2675" y="729"/>
                </a:cubicBezTo>
                <a:cubicBezTo>
                  <a:pt x="2681" y="734"/>
                  <a:pt x="2688" y="730"/>
                  <a:pt x="2691" y="735"/>
                </a:cubicBezTo>
                <a:cubicBezTo>
                  <a:pt x="2693" y="739"/>
                  <a:pt x="2691" y="743"/>
                  <a:pt x="2693" y="745"/>
                </a:cubicBezTo>
                <a:cubicBezTo>
                  <a:pt x="2695" y="746"/>
                  <a:pt x="2699" y="746"/>
                  <a:pt x="2700" y="744"/>
                </a:cubicBezTo>
                <a:cubicBezTo>
                  <a:pt x="2702" y="741"/>
                  <a:pt x="2696" y="737"/>
                  <a:pt x="2697" y="732"/>
                </a:cubicBezTo>
                <a:cubicBezTo>
                  <a:pt x="2699" y="729"/>
                  <a:pt x="2703" y="730"/>
                  <a:pt x="2708" y="725"/>
                </a:cubicBezTo>
                <a:cubicBezTo>
                  <a:pt x="2712" y="721"/>
                  <a:pt x="2713" y="714"/>
                  <a:pt x="2713" y="710"/>
                </a:cubicBezTo>
                <a:cubicBezTo>
                  <a:pt x="2714" y="700"/>
                  <a:pt x="2711" y="698"/>
                  <a:pt x="2714" y="694"/>
                </a:cubicBezTo>
                <a:cubicBezTo>
                  <a:pt x="2716" y="689"/>
                  <a:pt x="2722" y="689"/>
                  <a:pt x="2723" y="684"/>
                </a:cubicBezTo>
                <a:cubicBezTo>
                  <a:pt x="2724" y="681"/>
                  <a:pt x="2721" y="680"/>
                  <a:pt x="2722" y="676"/>
                </a:cubicBezTo>
                <a:cubicBezTo>
                  <a:pt x="2722" y="672"/>
                  <a:pt x="2725" y="670"/>
                  <a:pt x="2730" y="666"/>
                </a:cubicBezTo>
                <a:cubicBezTo>
                  <a:pt x="2734" y="662"/>
                  <a:pt x="2735" y="662"/>
                  <a:pt x="2736" y="660"/>
                </a:cubicBezTo>
                <a:cubicBezTo>
                  <a:pt x="2738" y="655"/>
                  <a:pt x="2734" y="650"/>
                  <a:pt x="2736" y="649"/>
                </a:cubicBezTo>
                <a:cubicBezTo>
                  <a:pt x="2738" y="647"/>
                  <a:pt x="2742" y="652"/>
                  <a:pt x="2748" y="651"/>
                </a:cubicBezTo>
                <a:cubicBezTo>
                  <a:pt x="2754" y="651"/>
                  <a:pt x="2759" y="646"/>
                  <a:pt x="2761" y="641"/>
                </a:cubicBezTo>
                <a:cubicBezTo>
                  <a:pt x="2762" y="635"/>
                  <a:pt x="2758" y="632"/>
                  <a:pt x="2760" y="628"/>
                </a:cubicBezTo>
                <a:cubicBezTo>
                  <a:pt x="2762" y="623"/>
                  <a:pt x="2767" y="625"/>
                  <a:pt x="2774" y="620"/>
                </a:cubicBezTo>
                <a:cubicBezTo>
                  <a:pt x="2775" y="619"/>
                  <a:pt x="2785" y="612"/>
                  <a:pt x="2783" y="606"/>
                </a:cubicBezTo>
                <a:cubicBezTo>
                  <a:pt x="2782" y="601"/>
                  <a:pt x="2777" y="600"/>
                  <a:pt x="2776" y="596"/>
                </a:cubicBezTo>
                <a:cubicBezTo>
                  <a:pt x="2775" y="591"/>
                  <a:pt x="2780" y="587"/>
                  <a:pt x="2784" y="583"/>
                </a:cubicBezTo>
                <a:cubicBezTo>
                  <a:pt x="2798" y="570"/>
                  <a:pt x="2805" y="563"/>
                  <a:pt x="2812" y="561"/>
                </a:cubicBezTo>
                <a:cubicBezTo>
                  <a:pt x="2826" y="555"/>
                  <a:pt x="2839" y="558"/>
                  <a:pt x="2858" y="561"/>
                </a:cubicBezTo>
                <a:cubicBezTo>
                  <a:pt x="2876" y="565"/>
                  <a:pt x="2874" y="568"/>
                  <a:pt x="2885" y="568"/>
                </a:cubicBezTo>
                <a:cubicBezTo>
                  <a:pt x="2894" y="568"/>
                  <a:pt x="2898" y="566"/>
                  <a:pt x="2930" y="554"/>
                </a:cubicBezTo>
                <a:cubicBezTo>
                  <a:pt x="2958" y="544"/>
                  <a:pt x="2961" y="544"/>
                  <a:pt x="2964" y="544"/>
                </a:cubicBezTo>
                <a:cubicBezTo>
                  <a:pt x="2975" y="544"/>
                  <a:pt x="2981" y="548"/>
                  <a:pt x="2992" y="544"/>
                </a:cubicBezTo>
                <a:cubicBezTo>
                  <a:pt x="2997" y="542"/>
                  <a:pt x="3001" y="539"/>
                  <a:pt x="3003" y="541"/>
                </a:cubicBezTo>
                <a:cubicBezTo>
                  <a:pt x="3007" y="543"/>
                  <a:pt x="3006" y="551"/>
                  <a:pt x="3005" y="556"/>
                </a:cubicBezTo>
                <a:cubicBezTo>
                  <a:pt x="3004" y="564"/>
                  <a:pt x="3002" y="566"/>
                  <a:pt x="3000" y="572"/>
                </a:cubicBezTo>
                <a:cubicBezTo>
                  <a:pt x="3000" y="575"/>
                  <a:pt x="2998" y="585"/>
                  <a:pt x="3004" y="595"/>
                </a:cubicBezTo>
                <a:cubicBezTo>
                  <a:pt x="3009" y="603"/>
                  <a:pt x="3019" y="607"/>
                  <a:pt x="3027" y="607"/>
                </a:cubicBezTo>
                <a:cubicBezTo>
                  <a:pt x="3031" y="607"/>
                  <a:pt x="3036" y="606"/>
                  <a:pt x="3036" y="605"/>
                </a:cubicBezTo>
                <a:cubicBezTo>
                  <a:pt x="3036" y="603"/>
                  <a:pt x="3027" y="603"/>
                  <a:pt x="3020" y="597"/>
                </a:cubicBezTo>
                <a:cubicBezTo>
                  <a:pt x="3014" y="591"/>
                  <a:pt x="3013" y="584"/>
                  <a:pt x="3013" y="582"/>
                </a:cubicBezTo>
                <a:cubicBezTo>
                  <a:pt x="3012" y="579"/>
                  <a:pt x="3011" y="571"/>
                  <a:pt x="3016" y="565"/>
                </a:cubicBezTo>
                <a:cubicBezTo>
                  <a:pt x="3020" y="560"/>
                  <a:pt x="3026" y="561"/>
                  <a:pt x="3028" y="556"/>
                </a:cubicBezTo>
                <a:cubicBezTo>
                  <a:pt x="3030" y="553"/>
                  <a:pt x="3031" y="549"/>
                  <a:pt x="3029" y="547"/>
                </a:cubicBezTo>
                <a:cubicBezTo>
                  <a:pt x="3026" y="543"/>
                  <a:pt x="3020" y="545"/>
                  <a:pt x="3019" y="543"/>
                </a:cubicBezTo>
                <a:cubicBezTo>
                  <a:pt x="3018" y="540"/>
                  <a:pt x="3025" y="536"/>
                  <a:pt x="3031" y="531"/>
                </a:cubicBezTo>
                <a:cubicBezTo>
                  <a:pt x="3040" y="521"/>
                  <a:pt x="3039" y="516"/>
                  <a:pt x="3046" y="507"/>
                </a:cubicBezTo>
                <a:cubicBezTo>
                  <a:pt x="3052" y="499"/>
                  <a:pt x="3058" y="495"/>
                  <a:pt x="3070" y="487"/>
                </a:cubicBezTo>
                <a:cubicBezTo>
                  <a:pt x="3091" y="475"/>
                  <a:pt x="3095" y="479"/>
                  <a:pt x="3109" y="468"/>
                </a:cubicBezTo>
                <a:cubicBezTo>
                  <a:pt x="3114" y="465"/>
                  <a:pt x="3125" y="457"/>
                  <a:pt x="3133" y="443"/>
                </a:cubicBezTo>
                <a:cubicBezTo>
                  <a:pt x="3140" y="432"/>
                  <a:pt x="3138" y="429"/>
                  <a:pt x="3146" y="417"/>
                </a:cubicBezTo>
                <a:cubicBezTo>
                  <a:pt x="3148" y="413"/>
                  <a:pt x="3149" y="411"/>
                  <a:pt x="3164" y="393"/>
                </a:cubicBezTo>
                <a:cubicBezTo>
                  <a:pt x="3184" y="369"/>
                  <a:pt x="3183" y="370"/>
                  <a:pt x="3185" y="368"/>
                </a:cubicBezTo>
                <a:cubicBezTo>
                  <a:pt x="3192" y="355"/>
                  <a:pt x="3190" y="349"/>
                  <a:pt x="3200" y="333"/>
                </a:cubicBezTo>
                <a:cubicBezTo>
                  <a:pt x="3205" y="324"/>
                  <a:pt x="3209" y="320"/>
                  <a:pt x="3213" y="320"/>
                </a:cubicBezTo>
                <a:cubicBezTo>
                  <a:pt x="3217" y="320"/>
                  <a:pt x="3221" y="322"/>
                  <a:pt x="3221" y="324"/>
                </a:cubicBezTo>
                <a:cubicBezTo>
                  <a:pt x="3221" y="327"/>
                  <a:pt x="3216" y="327"/>
                  <a:pt x="3216" y="330"/>
                </a:cubicBezTo>
                <a:cubicBezTo>
                  <a:pt x="3215" y="334"/>
                  <a:pt x="3225" y="339"/>
                  <a:pt x="3225" y="339"/>
                </a:cubicBezTo>
                <a:cubicBezTo>
                  <a:pt x="3244" y="349"/>
                  <a:pt x="3271" y="347"/>
                  <a:pt x="3291" y="347"/>
                </a:cubicBezTo>
                <a:cubicBezTo>
                  <a:pt x="3307" y="347"/>
                  <a:pt x="3321" y="350"/>
                  <a:pt x="3343" y="349"/>
                </a:cubicBezTo>
                <a:cubicBezTo>
                  <a:pt x="3355" y="348"/>
                  <a:pt x="3376" y="348"/>
                  <a:pt x="3401" y="347"/>
                </a:cubicBezTo>
                <a:cubicBezTo>
                  <a:pt x="3402" y="347"/>
                  <a:pt x="3403" y="349"/>
                  <a:pt x="3405" y="350"/>
                </a:cubicBezTo>
                <a:cubicBezTo>
                  <a:pt x="3408" y="351"/>
                  <a:pt x="3411" y="348"/>
                  <a:pt x="3416" y="348"/>
                </a:cubicBezTo>
                <a:cubicBezTo>
                  <a:pt x="3420" y="347"/>
                  <a:pt x="3424" y="348"/>
                  <a:pt x="3425" y="350"/>
                </a:cubicBezTo>
                <a:cubicBezTo>
                  <a:pt x="3425" y="351"/>
                  <a:pt x="3418" y="353"/>
                  <a:pt x="3409" y="359"/>
                </a:cubicBezTo>
                <a:cubicBezTo>
                  <a:pt x="3404" y="364"/>
                  <a:pt x="3403" y="366"/>
                  <a:pt x="3398" y="367"/>
                </a:cubicBezTo>
                <a:cubicBezTo>
                  <a:pt x="3393" y="369"/>
                  <a:pt x="3388" y="368"/>
                  <a:pt x="3387" y="368"/>
                </a:cubicBezTo>
                <a:cubicBezTo>
                  <a:pt x="3380" y="367"/>
                  <a:pt x="3380" y="365"/>
                  <a:pt x="3373" y="364"/>
                </a:cubicBezTo>
                <a:cubicBezTo>
                  <a:pt x="3372" y="364"/>
                  <a:pt x="3368" y="364"/>
                  <a:pt x="3364" y="365"/>
                </a:cubicBezTo>
                <a:cubicBezTo>
                  <a:pt x="3357" y="368"/>
                  <a:pt x="3357" y="373"/>
                  <a:pt x="3352" y="373"/>
                </a:cubicBezTo>
                <a:cubicBezTo>
                  <a:pt x="3347" y="374"/>
                  <a:pt x="3346" y="368"/>
                  <a:pt x="3339" y="368"/>
                </a:cubicBezTo>
                <a:cubicBezTo>
                  <a:pt x="3333" y="368"/>
                  <a:pt x="3333" y="372"/>
                  <a:pt x="3327" y="372"/>
                </a:cubicBezTo>
                <a:cubicBezTo>
                  <a:pt x="3323" y="372"/>
                  <a:pt x="3323" y="369"/>
                  <a:pt x="3314" y="365"/>
                </a:cubicBezTo>
                <a:cubicBezTo>
                  <a:pt x="3310" y="363"/>
                  <a:pt x="3308" y="362"/>
                  <a:pt x="3305" y="361"/>
                </a:cubicBezTo>
                <a:cubicBezTo>
                  <a:pt x="3302" y="360"/>
                  <a:pt x="3292" y="358"/>
                  <a:pt x="3287" y="363"/>
                </a:cubicBezTo>
                <a:cubicBezTo>
                  <a:pt x="3283" y="366"/>
                  <a:pt x="3284" y="373"/>
                  <a:pt x="3281" y="373"/>
                </a:cubicBezTo>
                <a:cubicBezTo>
                  <a:pt x="3279" y="374"/>
                  <a:pt x="3278" y="367"/>
                  <a:pt x="3273" y="365"/>
                </a:cubicBezTo>
                <a:cubicBezTo>
                  <a:pt x="3272" y="365"/>
                  <a:pt x="3270" y="365"/>
                  <a:pt x="3264" y="367"/>
                </a:cubicBezTo>
                <a:cubicBezTo>
                  <a:pt x="3256" y="369"/>
                  <a:pt x="3248" y="372"/>
                  <a:pt x="3247" y="377"/>
                </a:cubicBezTo>
                <a:cubicBezTo>
                  <a:pt x="3247" y="379"/>
                  <a:pt x="3249" y="380"/>
                  <a:pt x="3248" y="383"/>
                </a:cubicBezTo>
                <a:cubicBezTo>
                  <a:pt x="3247" y="387"/>
                  <a:pt x="3239" y="387"/>
                  <a:pt x="3236" y="387"/>
                </a:cubicBezTo>
                <a:cubicBezTo>
                  <a:pt x="3229" y="388"/>
                  <a:pt x="3229" y="385"/>
                  <a:pt x="3225" y="387"/>
                </a:cubicBezTo>
                <a:cubicBezTo>
                  <a:pt x="3218" y="389"/>
                  <a:pt x="3218" y="400"/>
                  <a:pt x="3214" y="400"/>
                </a:cubicBezTo>
                <a:cubicBezTo>
                  <a:pt x="3211" y="400"/>
                  <a:pt x="3211" y="395"/>
                  <a:pt x="3206" y="393"/>
                </a:cubicBezTo>
                <a:cubicBezTo>
                  <a:pt x="3203" y="391"/>
                  <a:pt x="3199" y="392"/>
                  <a:pt x="3191" y="394"/>
                </a:cubicBezTo>
                <a:cubicBezTo>
                  <a:pt x="3184" y="395"/>
                  <a:pt x="3180" y="396"/>
                  <a:pt x="3178" y="398"/>
                </a:cubicBezTo>
                <a:cubicBezTo>
                  <a:pt x="3176" y="398"/>
                  <a:pt x="3170" y="402"/>
                  <a:pt x="3167" y="410"/>
                </a:cubicBezTo>
                <a:cubicBezTo>
                  <a:pt x="3165" y="417"/>
                  <a:pt x="3168" y="421"/>
                  <a:pt x="3165" y="423"/>
                </a:cubicBezTo>
                <a:cubicBezTo>
                  <a:pt x="3162" y="426"/>
                  <a:pt x="3158" y="422"/>
                  <a:pt x="3155" y="424"/>
                </a:cubicBezTo>
                <a:cubicBezTo>
                  <a:pt x="3152" y="427"/>
                  <a:pt x="3156" y="431"/>
                  <a:pt x="3153" y="436"/>
                </a:cubicBezTo>
                <a:cubicBezTo>
                  <a:pt x="3151" y="441"/>
                  <a:pt x="3147" y="439"/>
                  <a:pt x="3143" y="445"/>
                </a:cubicBezTo>
                <a:cubicBezTo>
                  <a:pt x="3142" y="445"/>
                  <a:pt x="3137" y="453"/>
                  <a:pt x="3139" y="458"/>
                </a:cubicBezTo>
                <a:cubicBezTo>
                  <a:pt x="3141" y="462"/>
                  <a:pt x="3146" y="462"/>
                  <a:pt x="3147" y="465"/>
                </a:cubicBezTo>
                <a:cubicBezTo>
                  <a:pt x="3147" y="468"/>
                  <a:pt x="3139" y="470"/>
                  <a:pt x="3138" y="474"/>
                </a:cubicBezTo>
                <a:cubicBezTo>
                  <a:pt x="3138" y="478"/>
                  <a:pt x="3145" y="482"/>
                  <a:pt x="3149" y="485"/>
                </a:cubicBezTo>
                <a:cubicBezTo>
                  <a:pt x="3159" y="490"/>
                  <a:pt x="3167" y="491"/>
                  <a:pt x="3175" y="492"/>
                </a:cubicBezTo>
                <a:cubicBezTo>
                  <a:pt x="3177" y="493"/>
                  <a:pt x="3189" y="494"/>
                  <a:pt x="3189" y="492"/>
                </a:cubicBezTo>
                <a:cubicBezTo>
                  <a:pt x="3190" y="491"/>
                  <a:pt x="3179" y="486"/>
                  <a:pt x="3173" y="483"/>
                </a:cubicBezTo>
                <a:cubicBezTo>
                  <a:pt x="3168" y="481"/>
                  <a:pt x="3165" y="481"/>
                  <a:pt x="3164" y="478"/>
                </a:cubicBezTo>
                <a:cubicBezTo>
                  <a:pt x="3161" y="474"/>
                  <a:pt x="3162" y="468"/>
                  <a:pt x="3165" y="463"/>
                </a:cubicBezTo>
                <a:cubicBezTo>
                  <a:pt x="3168" y="460"/>
                  <a:pt x="3170" y="460"/>
                  <a:pt x="3183" y="453"/>
                </a:cubicBezTo>
                <a:cubicBezTo>
                  <a:pt x="3190" y="449"/>
                  <a:pt x="3191" y="448"/>
                  <a:pt x="3192" y="446"/>
                </a:cubicBezTo>
                <a:cubicBezTo>
                  <a:pt x="3194" y="441"/>
                  <a:pt x="3188" y="437"/>
                  <a:pt x="3190" y="433"/>
                </a:cubicBezTo>
                <a:cubicBezTo>
                  <a:pt x="3191" y="431"/>
                  <a:pt x="3194" y="431"/>
                  <a:pt x="3204" y="430"/>
                </a:cubicBezTo>
                <a:cubicBezTo>
                  <a:pt x="3218" y="429"/>
                  <a:pt x="3221" y="429"/>
                  <a:pt x="3222" y="427"/>
                </a:cubicBezTo>
                <a:cubicBezTo>
                  <a:pt x="3224" y="423"/>
                  <a:pt x="3220" y="420"/>
                  <a:pt x="3223" y="416"/>
                </a:cubicBezTo>
                <a:cubicBezTo>
                  <a:pt x="3225" y="413"/>
                  <a:pt x="3229" y="413"/>
                  <a:pt x="3230" y="411"/>
                </a:cubicBezTo>
                <a:cubicBezTo>
                  <a:pt x="3230" y="409"/>
                  <a:pt x="3227" y="408"/>
                  <a:pt x="3227" y="405"/>
                </a:cubicBezTo>
                <a:cubicBezTo>
                  <a:pt x="3227" y="403"/>
                  <a:pt x="3232" y="400"/>
                  <a:pt x="3235" y="401"/>
                </a:cubicBezTo>
                <a:cubicBezTo>
                  <a:pt x="3237" y="402"/>
                  <a:pt x="3236" y="406"/>
                  <a:pt x="3239" y="409"/>
                </a:cubicBezTo>
                <a:cubicBezTo>
                  <a:pt x="3242" y="411"/>
                  <a:pt x="3245" y="411"/>
                  <a:pt x="3246" y="411"/>
                </a:cubicBezTo>
                <a:cubicBezTo>
                  <a:pt x="3250" y="411"/>
                  <a:pt x="3252" y="407"/>
                  <a:pt x="3258" y="402"/>
                </a:cubicBezTo>
                <a:cubicBezTo>
                  <a:pt x="3265" y="397"/>
                  <a:pt x="3266" y="399"/>
                  <a:pt x="3275" y="392"/>
                </a:cubicBezTo>
                <a:cubicBezTo>
                  <a:pt x="3281" y="387"/>
                  <a:pt x="3283" y="385"/>
                  <a:pt x="3283" y="385"/>
                </a:cubicBezTo>
                <a:cubicBezTo>
                  <a:pt x="3288" y="381"/>
                  <a:pt x="3289" y="379"/>
                  <a:pt x="3291" y="380"/>
                </a:cubicBezTo>
                <a:cubicBezTo>
                  <a:pt x="3293" y="380"/>
                  <a:pt x="3291" y="387"/>
                  <a:pt x="3294" y="391"/>
                </a:cubicBezTo>
                <a:cubicBezTo>
                  <a:pt x="3296" y="393"/>
                  <a:pt x="3299" y="395"/>
                  <a:pt x="3301" y="394"/>
                </a:cubicBezTo>
                <a:cubicBezTo>
                  <a:pt x="3303" y="393"/>
                  <a:pt x="3303" y="388"/>
                  <a:pt x="3305" y="388"/>
                </a:cubicBezTo>
                <a:cubicBezTo>
                  <a:pt x="3306" y="388"/>
                  <a:pt x="3307" y="394"/>
                  <a:pt x="3312" y="398"/>
                </a:cubicBezTo>
                <a:cubicBezTo>
                  <a:pt x="3314" y="400"/>
                  <a:pt x="3318" y="401"/>
                  <a:pt x="3321" y="400"/>
                </a:cubicBezTo>
                <a:cubicBezTo>
                  <a:pt x="3323" y="398"/>
                  <a:pt x="3322" y="395"/>
                  <a:pt x="3324" y="395"/>
                </a:cubicBezTo>
                <a:cubicBezTo>
                  <a:pt x="3327" y="394"/>
                  <a:pt x="3330" y="401"/>
                  <a:pt x="3333" y="400"/>
                </a:cubicBezTo>
                <a:cubicBezTo>
                  <a:pt x="3336" y="400"/>
                  <a:pt x="3336" y="391"/>
                  <a:pt x="3339" y="391"/>
                </a:cubicBezTo>
                <a:cubicBezTo>
                  <a:pt x="3343" y="390"/>
                  <a:pt x="3348" y="396"/>
                  <a:pt x="3350" y="402"/>
                </a:cubicBezTo>
                <a:cubicBezTo>
                  <a:pt x="3353" y="410"/>
                  <a:pt x="3349" y="415"/>
                  <a:pt x="3352" y="418"/>
                </a:cubicBezTo>
                <a:cubicBezTo>
                  <a:pt x="3356" y="421"/>
                  <a:pt x="3363" y="419"/>
                  <a:pt x="3368" y="417"/>
                </a:cubicBezTo>
                <a:cubicBezTo>
                  <a:pt x="3373" y="415"/>
                  <a:pt x="3377" y="412"/>
                  <a:pt x="3381" y="409"/>
                </a:cubicBezTo>
                <a:cubicBezTo>
                  <a:pt x="3386" y="405"/>
                  <a:pt x="3389" y="403"/>
                  <a:pt x="3391" y="400"/>
                </a:cubicBezTo>
                <a:cubicBezTo>
                  <a:pt x="3393" y="396"/>
                  <a:pt x="3391" y="394"/>
                  <a:pt x="3393" y="389"/>
                </a:cubicBezTo>
                <a:cubicBezTo>
                  <a:pt x="3395" y="384"/>
                  <a:pt x="3399" y="382"/>
                  <a:pt x="3405" y="377"/>
                </a:cubicBezTo>
                <a:cubicBezTo>
                  <a:pt x="3408" y="376"/>
                  <a:pt x="3415" y="372"/>
                  <a:pt x="3424" y="369"/>
                </a:cubicBezTo>
                <a:cubicBezTo>
                  <a:pt x="3431" y="367"/>
                  <a:pt x="3433" y="369"/>
                  <a:pt x="3437" y="366"/>
                </a:cubicBezTo>
                <a:cubicBezTo>
                  <a:pt x="3441" y="364"/>
                  <a:pt x="3441" y="362"/>
                  <a:pt x="3448" y="358"/>
                </a:cubicBezTo>
                <a:cubicBezTo>
                  <a:pt x="3453" y="354"/>
                  <a:pt x="3455" y="353"/>
                  <a:pt x="3456" y="354"/>
                </a:cubicBezTo>
                <a:cubicBezTo>
                  <a:pt x="3459" y="354"/>
                  <a:pt x="3461" y="357"/>
                  <a:pt x="3461" y="360"/>
                </a:cubicBezTo>
                <a:cubicBezTo>
                  <a:pt x="3461" y="365"/>
                  <a:pt x="3454" y="365"/>
                  <a:pt x="3453" y="370"/>
                </a:cubicBezTo>
                <a:cubicBezTo>
                  <a:pt x="3451" y="375"/>
                  <a:pt x="3456" y="380"/>
                  <a:pt x="3459" y="384"/>
                </a:cubicBezTo>
                <a:cubicBezTo>
                  <a:pt x="3460" y="386"/>
                  <a:pt x="3467" y="394"/>
                  <a:pt x="3475" y="394"/>
                </a:cubicBezTo>
                <a:cubicBezTo>
                  <a:pt x="3479" y="394"/>
                  <a:pt x="3479" y="392"/>
                  <a:pt x="3482" y="393"/>
                </a:cubicBezTo>
                <a:cubicBezTo>
                  <a:pt x="3487" y="394"/>
                  <a:pt x="3492" y="400"/>
                  <a:pt x="3491" y="404"/>
                </a:cubicBezTo>
                <a:cubicBezTo>
                  <a:pt x="3490" y="409"/>
                  <a:pt x="3486" y="409"/>
                  <a:pt x="3483" y="415"/>
                </a:cubicBezTo>
                <a:cubicBezTo>
                  <a:pt x="3480" y="421"/>
                  <a:pt x="3482" y="427"/>
                  <a:pt x="3482" y="428"/>
                </a:cubicBezTo>
                <a:cubicBezTo>
                  <a:pt x="3483" y="434"/>
                  <a:pt x="3488" y="440"/>
                  <a:pt x="3494" y="441"/>
                </a:cubicBezTo>
                <a:cubicBezTo>
                  <a:pt x="3498" y="443"/>
                  <a:pt x="3502" y="442"/>
                  <a:pt x="3503" y="445"/>
                </a:cubicBezTo>
                <a:cubicBezTo>
                  <a:pt x="3504" y="446"/>
                  <a:pt x="3505" y="448"/>
                  <a:pt x="3504" y="449"/>
                </a:cubicBezTo>
                <a:cubicBezTo>
                  <a:pt x="3503" y="452"/>
                  <a:pt x="3499" y="451"/>
                  <a:pt x="3497" y="454"/>
                </a:cubicBezTo>
                <a:cubicBezTo>
                  <a:pt x="3494" y="457"/>
                  <a:pt x="3496" y="463"/>
                  <a:pt x="3497" y="465"/>
                </a:cubicBezTo>
                <a:cubicBezTo>
                  <a:pt x="3498" y="467"/>
                  <a:pt x="3500" y="472"/>
                  <a:pt x="3505" y="474"/>
                </a:cubicBezTo>
                <a:cubicBezTo>
                  <a:pt x="3508" y="476"/>
                  <a:pt x="3509" y="474"/>
                  <a:pt x="3515" y="476"/>
                </a:cubicBezTo>
                <a:cubicBezTo>
                  <a:pt x="3518" y="476"/>
                  <a:pt x="3521" y="477"/>
                  <a:pt x="3521" y="479"/>
                </a:cubicBezTo>
                <a:cubicBezTo>
                  <a:pt x="3522" y="481"/>
                  <a:pt x="3513" y="483"/>
                  <a:pt x="3513" y="486"/>
                </a:cubicBezTo>
                <a:cubicBezTo>
                  <a:pt x="3513" y="489"/>
                  <a:pt x="3516" y="492"/>
                  <a:pt x="3520" y="492"/>
                </a:cubicBezTo>
                <a:cubicBezTo>
                  <a:pt x="3526" y="492"/>
                  <a:pt x="3528" y="480"/>
                  <a:pt x="3534" y="480"/>
                </a:cubicBezTo>
                <a:cubicBezTo>
                  <a:pt x="3536" y="479"/>
                  <a:pt x="3540" y="480"/>
                  <a:pt x="3544" y="487"/>
                </a:cubicBezTo>
                <a:cubicBezTo>
                  <a:pt x="3547" y="492"/>
                  <a:pt x="3545" y="502"/>
                  <a:pt x="3558" y="499"/>
                </a:cubicBezTo>
                <a:cubicBezTo>
                  <a:pt x="3561" y="499"/>
                  <a:pt x="3565" y="497"/>
                  <a:pt x="3571" y="497"/>
                </a:cubicBezTo>
                <a:cubicBezTo>
                  <a:pt x="3573" y="498"/>
                  <a:pt x="3579" y="498"/>
                  <a:pt x="3584" y="502"/>
                </a:cubicBezTo>
                <a:cubicBezTo>
                  <a:pt x="3591" y="507"/>
                  <a:pt x="3586" y="512"/>
                  <a:pt x="3593" y="522"/>
                </a:cubicBezTo>
                <a:cubicBezTo>
                  <a:pt x="3597" y="529"/>
                  <a:pt x="3602" y="530"/>
                  <a:pt x="3607" y="539"/>
                </a:cubicBezTo>
                <a:cubicBezTo>
                  <a:pt x="3608" y="543"/>
                  <a:pt x="3609" y="545"/>
                  <a:pt x="3608" y="546"/>
                </a:cubicBezTo>
                <a:cubicBezTo>
                  <a:pt x="3606" y="551"/>
                  <a:pt x="3596" y="551"/>
                  <a:pt x="3596" y="554"/>
                </a:cubicBezTo>
                <a:cubicBezTo>
                  <a:pt x="3595" y="556"/>
                  <a:pt x="3598" y="558"/>
                  <a:pt x="3599" y="559"/>
                </a:cubicBezTo>
                <a:cubicBezTo>
                  <a:pt x="3605" y="562"/>
                  <a:pt x="3614" y="556"/>
                  <a:pt x="3617" y="555"/>
                </a:cubicBezTo>
                <a:cubicBezTo>
                  <a:pt x="3625" y="549"/>
                  <a:pt x="3626" y="544"/>
                  <a:pt x="3631" y="544"/>
                </a:cubicBezTo>
                <a:cubicBezTo>
                  <a:pt x="3634" y="544"/>
                  <a:pt x="3638" y="547"/>
                  <a:pt x="3638" y="550"/>
                </a:cubicBezTo>
                <a:cubicBezTo>
                  <a:pt x="3638" y="553"/>
                  <a:pt x="3632" y="554"/>
                  <a:pt x="3629" y="560"/>
                </a:cubicBezTo>
                <a:cubicBezTo>
                  <a:pt x="3628" y="563"/>
                  <a:pt x="3627" y="568"/>
                  <a:pt x="3629" y="569"/>
                </a:cubicBezTo>
                <a:cubicBezTo>
                  <a:pt x="3631" y="571"/>
                  <a:pt x="3637" y="563"/>
                  <a:pt x="3643" y="565"/>
                </a:cubicBezTo>
                <a:cubicBezTo>
                  <a:pt x="3646" y="566"/>
                  <a:pt x="3648" y="569"/>
                  <a:pt x="3650" y="574"/>
                </a:cubicBezTo>
                <a:cubicBezTo>
                  <a:pt x="3658" y="596"/>
                  <a:pt x="3657" y="599"/>
                  <a:pt x="3661" y="604"/>
                </a:cubicBezTo>
                <a:cubicBezTo>
                  <a:pt x="3668" y="612"/>
                  <a:pt x="3681" y="615"/>
                  <a:pt x="3684" y="612"/>
                </a:cubicBezTo>
                <a:cubicBezTo>
                  <a:pt x="3686" y="610"/>
                  <a:pt x="3684" y="606"/>
                  <a:pt x="3681" y="599"/>
                </a:cubicBezTo>
                <a:cubicBezTo>
                  <a:pt x="3677" y="589"/>
                  <a:pt x="3674" y="587"/>
                  <a:pt x="3675" y="584"/>
                </a:cubicBezTo>
                <a:cubicBezTo>
                  <a:pt x="3676" y="581"/>
                  <a:pt x="3683" y="580"/>
                  <a:pt x="3690" y="580"/>
                </a:cubicBezTo>
                <a:cubicBezTo>
                  <a:pt x="3712" y="578"/>
                  <a:pt x="3723" y="578"/>
                  <a:pt x="3731" y="576"/>
                </a:cubicBezTo>
                <a:cubicBezTo>
                  <a:pt x="3736" y="574"/>
                  <a:pt x="3747" y="572"/>
                  <a:pt x="3757" y="563"/>
                </a:cubicBezTo>
                <a:cubicBezTo>
                  <a:pt x="3769" y="554"/>
                  <a:pt x="3772" y="545"/>
                  <a:pt x="3781" y="545"/>
                </a:cubicBezTo>
                <a:cubicBezTo>
                  <a:pt x="3786" y="545"/>
                  <a:pt x="3791" y="548"/>
                  <a:pt x="3792" y="550"/>
                </a:cubicBezTo>
                <a:cubicBezTo>
                  <a:pt x="3792" y="553"/>
                  <a:pt x="3784" y="555"/>
                  <a:pt x="3783" y="560"/>
                </a:cubicBezTo>
                <a:cubicBezTo>
                  <a:pt x="3783" y="563"/>
                  <a:pt x="3787" y="567"/>
                  <a:pt x="3790" y="569"/>
                </a:cubicBezTo>
                <a:cubicBezTo>
                  <a:pt x="3795" y="572"/>
                  <a:pt x="3798" y="569"/>
                  <a:pt x="3803" y="572"/>
                </a:cubicBezTo>
                <a:cubicBezTo>
                  <a:pt x="3807" y="575"/>
                  <a:pt x="3805" y="578"/>
                  <a:pt x="3809" y="582"/>
                </a:cubicBezTo>
                <a:cubicBezTo>
                  <a:pt x="3814" y="587"/>
                  <a:pt x="3817" y="586"/>
                  <a:pt x="3821" y="590"/>
                </a:cubicBezTo>
                <a:cubicBezTo>
                  <a:pt x="3826" y="595"/>
                  <a:pt x="3827" y="601"/>
                  <a:pt x="3827" y="604"/>
                </a:cubicBezTo>
                <a:cubicBezTo>
                  <a:pt x="3829" y="613"/>
                  <a:pt x="3825" y="620"/>
                  <a:pt x="3823" y="624"/>
                </a:cubicBezTo>
                <a:cubicBezTo>
                  <a:pt x="3821" y="628"/>
                  <a:pt x="3818" y="631"/>
                  <a:pt x="3814" y="636"/>
                </a:cubicBezTo>
                <a:cubicBezTo>
                  <a:pt x="3806" y="646"/>
                  <a:pt x="3803" y="646"/>
                  <a:pt x="3803" y="650"/>
                </a:cubicBezTo>
                <a:cubicBezTo>
                  <a:pt x="3803" y="652"/>
                  <a:pt x="3803" y="653"/>
                  <a:pt x="3814" y="665"/>
                </a:cubicBezTo>
                <a:cubicBezTo>
                  <a:pt x="3824" y="676"/>
                  <a:pt x="3827" y="678"/>
                  <a:pt x="3831" y="678"/>
                </a:cubicBezTo>
                <a:cubicBezTo>
                  <a:pt x="3836" y="680"/>
                  <a:pt x="3837" y="677"/>
                  <a:pt x="3841" y="678"/>
                </a:cubicBezTo>
                <a:cubicBezTo>
                  <a:pt x="3850" y="682"/>
                  <a:pt x="3845" y="699"/>
                  <a:pt x="3855" y="705"/>
                </a:cubicBezTo>
                <a:cubicBezTo>
                  <a:pt x="3860" y="707"/>
                  <a:pt x="3862" y="704"/>
                  <a:pt x="3868" y="707"/>
                </a:cubicBezTo>
                <a:cubicBezTo>
                  <a:pt x="3872" y="709"/>
                  <a:pt x="3874" y="713"/>
                  <a:pt x="3879" y="721"/>
                </a:cubicBezTo>
                <a:cubicBezTo>
                  <a:pt x="3883" y="728"/>
                  <a:pt x="3883" y="730"/>
                  <a:pt x="3883" y="731"/>
                </a:cubicBezTo>
                <a:cubicBezTo>
                  <a:pt x="3881" y="733"/>
                  <a:pt x="3878" y="732"/>
                  <a:pt x="3872" y="735"/>
                </a:cubicBezTo>
                <a:cubicBezTo>
                  <a:pt x="3868" y="736"/>
                  <a:pt x="3859" y="739"/>
                  <a:pt x="3856" y="746"/>
                </a:cubicBezTo>
                <a:cubicBezTo>
                  <a:pt x="3853" y="751"/>
                  <a:pt x="3856" y="755"/>
                  <a:pt x="3853" y="757"/>
                </a:cubicBezTo>
                <a:cubicBezTo>
                  <a:pt x="3850" y="760"/>
                  <a:pt x="3847" y="757"/>
                  <a:pt x="3843" y="759"/>
                </a:cubicBezTo>
                <a:cubicBezTo>
                  <a:pt x="3837" y="761"/>
                  <a:pt x="3832" y="768"/>
                  <a:pt x="3833" y="776"/>
                </a:cubicBezTo>
                <a:cubicBezTo>
                  <a:pt x="3834" y="781"/>
                  <a:pt x="3837" y="786"/>
                  <a:pt x="3841" y="788"/>
                </a:cubicBezTo>
                <a:cubicBezTo>
                  <a:pt x="3846" y="792"/>
                  <a:pt x="3849" y="789"/>
                  <a:pt x="3855" y="791"/>
                </a:cubicBezTo>
                <a:cubicBezTo>
                  <a:pt x="3865" y="795"/>
                  <a:pt x="3864" y="808"/>
                  <a:pt x="3876" y="813"/>
                </a:cubicBezTo>
                <a:cubicBezTo>
                  <a:pt x="3881" y="815"/>
                  <a:pt x="3881" y="813"/>
                  <a:pt x="3887" y="815"/>
                </a:cubicBezTo>
                <a:cubicBezTo>
                  <a:pt x="3899" y="819"/>
                  <a:pt x="3898" y="828"/>
                  <a:pt x="3909" y="835"/>
                </a:cubicBezTo>
                <a:cubicBezTo>
                  <a:pt x="3921" y="841"/>
                  <a:pt x="3928" y="835"/>
                  <a:pt x="3936" y="843"/>
                </a:cubicBezTo>
                <a:cubicBezTo>
                  <a:pt x="3942" y="848"/>
                  <a:pt x="3941" y="851"/>
                  <a:pt x="3947" y="855"/>
                </a:cubicBezTo>
                <a:cubicBezTo>
                  <a:pt x="3952" y="858"/>
                  <a:pt x="3955" y="855"/>
                  <a:pt x="3964" y="857"/>
                </a:cubicBezTo>
                <a:cubicBezTo>
                  <a:pt x="3973" y="859"/>
                  <a:pt x="3974" y="861"/>
                  <a:pt x="3982" y="863"/>
                </a:cubicBezTo>
                <a:cubicBezTo>
                  <a:pt x="3983" y="863"/>
                  <a:pt x="3996" y="867"/>
                  <a:pt x="4010" y="862"/>
                </a:cubicBezTo>
                <a:cubicBezTo>
                  <a:pt x="4027" y="856"/>
                  <a:pt x="4029" y="842"/>
                  <a:pt x="4040" y="843"/>
                </a:cubicBezTo>
                <a:cubicBezTo>
                  <a:pt x="4045" y="843"/>
                  <a:pt x="4050" y="847"/>
                  <a:pt x="4052" y="851"/>
                </a:cubicBezTo>
                <a:cubicBezTo>
                  <a:pt x="4053" y="851"/>
                  <a:pt x="4057" y="858"/>
                  <a:pt x="4055" y="864"/>
                </a:cubicBezTo>
                <a:cubicBezTo>
                  <a:pt x="4053" y="872"/>
                  <a:pt x="4044" y="875"/>
                  <a:pt x="4040" y="877"/>
                </a:cubicBezTo>
                <a:cubicBezTo>
                  <a:pt x="4035" y="879"/>
                  <a:pt x="4033" y="879"/>
                  <a:pt x="4030" y="881"/>
                </a:cubicBezTo>
                <a:cubicBezTo>
                  <a:pt x="4028" y="885"/>
                  <a:pt x="4027" y="890"/>
                  <a:pt x="4030" y="893"/>
                </a:cubicBezTo>
                <a:cubicBezTo>
                  <a:pt x="4032" y="897"/>
                  <a:pt x="4039" y="897"/>
                  <a:pt x="4053" y="896"/>
                </a:cubicBezTo>
                <a:cubicBezTo>
                  <a:pt x="4055" y="896"/>
                  <a:pt x="4057" y="896"/>
                  <a:pt x="4059" y="896"/>
                </a:cubicBezTo>
                <a:lnTo>
                  <a:pt x="4061" y="896"/>
                </a:ln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de-DE"/>
          </a:p>
        </p:txBody>
      </p:sp>
      <p:grpSp>
        <p:nvGrpSpPr>
          <p:cNvPr id="91" name="Group 318">
            <a:extLst>
              <a:ext uri="{FF2B5EF4-FFF2-40B4-BE49-F238E27FC236}">
                <a16:creationId xmlns:a16="http://schemas.microsoft.com/office/drawing/2014/main" id="{5E71767A-F063-4725-B962-4CA12378E5E2}"/>
              </a:ext>
            </a:extLst>
          </p:cNvPr>
          <p:cNvGrpSpPr>
            <a:grpSpLocks noChangeAspect="1"/>
          </p:cNvGrpSpPr>
          <p:nvPr/>
        </p:nvGrpSpPr>
        <p:grpSpPr bwMode="auto">
          <a:xfrm>
            <a:off x="11356313" y="3902059"/>
            <a:ext cx="572335" cy="463045"/>
            <a:chOff x="6496" y="1276"/>
            <a:chExt cx="398" cy="322"/>
          </a:xfrm>
          <a:solidFill>
            <a:schemeClr val="tx1"/>
          </a:solidFill>
        </p:grpSpPr>
        <p:sp>
          <p:nvSpPr>
            <p:cNvPr id="92" name="Freeform 319">
              <a:extLst>
                <a:ext uri="{FF2B5EF4-FFF2-40B4-BE49-F238E27FC236}">
                  <a16:creationId xmlns:a16="http://schemas.microsoft.com/office/drawing/2014/main" id="{E1517CD1-F34E-49B9-841F-3D212339D861}"/>
                </a:ext>
              </a:extLst>
            </p:cNvPr>
            <p:cNvSpPr>
              <a:spLocks/>
            </p:cNvSpPr>
            <p:nvPr/>
          </p:nvSpPr>
          <p:spPr bwMode="auto">
            <a:xfrm>
              <a:off x="6496" y="1276"/>
              <a:ext cx="378" cy="262"/>
            </a:xfrm>
            <a:custGeom>
              <a:avLst/>
              <a:gdLst>
                <a:gd name="T0" fmla="*/ 284 w 502"/>
                <a:gd name="T1" fmla="*/ 347 h 347"/>
                <a:gd name="T2" fmla="*/ 6 w 502"/>
                <a:gd name="T3" fmla="*/ 347 h 347"/>
                <a:gd name="T4" fmla="*/ 0 w 502"/>
                <a:gd name="T5" fmla="*/ 341 h 347"/>
                <a:gd name="T6" fmla="*/ 0 w 502"/>
                <a:gd name="T7" fmla="*/ 6 h 347"/>
                <a:gd name="T8" fmla="*/ 6 w 502"/>
                <a:gd name="T9" fmla="*/ 0 h 347"/>
                <a:gd name="T10" fmla="*/ 405 w 502"/>
                <a:gd name="T11" fmla="*/ 0 h 347"/>
                <a:gd name="T12" fmla="*/ 409 w 502"/>
                <a:gd name="T13" fmla="*/ 1 h 347"/>
                <a:gd name="T14" fmla="*/ 500 w 502"/>
                <a:gd name="T15" fmla="*/ 72 h 347"/>
                <a:gd name="T16" fmla="*/ 502 w 502"/>
                <a:gd name="T17" fmla="*/ 77 h 347"/>
                <a:gd name="T18" fmla="*/ 502 w 502"/>
                <a:gd name="T19" fmla="*/ 223 h 347"/>
                <a:gd name="T20" fmla="*/ 496 w 502"/>
                <a:gd name="T21" fmla="*/ 229 h 347"/>
                <a:gd name="T22" fmla="*/ 490 w 502"/>
                <a:gd name="T23" fmla="*/ 223 h 347"/>
                <a:gd name="T24" fmla="*/ 490 w 502"/>
                <a:gd name="T25" fmla="*/ 80 h 347"/>
                <a:gd name="T26" fmla="*/ 403 w 502"/>
                <a:gd name="T27" fmla="*/ 12 h 347"/>
                <a:gd name="T28" fmla="*/ 12 w 502"/>
                <a:gd name="T29" fmla="*/ 12 h 347"/>
                <a:gd name="T30" fmla="*/ 12 w 502"/>
                <a:gd name="T31" fmla="*/ 335 h 347"/>
                <a:gd name="T32" fmla="*/ 284 w 502"/>
                <a:gd name="T33" fmla="*/ 335 h 347"/>
                <a:gd name="T34" fmla="*/ 290 w 502"/>
                <a:gd name="T35" fmla="*/ 341 h 347"/>
                <a:gd name="T36" fmla="*/ 284 w 502"/>
                <a:gd name="T37"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2" h="347">
                  <a:moveTo>
                    <a:pt x="284" y="347"/>
                  </a:moveTo>
                  <a:cubicBezTo>
                    <a:pt x="6" y="347"/>
                    <a:pt x="6" y="347"/>
                    <a:pt x="6" y="347"/>
                  </a:cubicBezTo>
                  <a:cubicBezTo>
                    <a:pt x="3" y="347"/>
                    <a:pt x="0" y="345"/>
                    <a:pt x="0" y="341"/>
                  </a:cubicBezTo>
                  <a:cubicBezTo>
                    <a:pt x="0" y="6"/>
                    <a:pt x="0" y="6"/>
                    <a:pt x="0" y="6"/>
                  </a:cubicBezTo>
                  <a:cubicBezTo>
                    <a:pt x="0" y="3"/>
                    <a:pt x="3" y="0"/>
                    <a:pt x="6" y="0"/>
                  </a:cubicBezTo>
                  <a:cubicBezTo>
                    <a:pt x="405" y="0"/>
                    <a:pt x="405" y="0"/>
                    <a:pt x="405" y="0"/>
                  </a:cubicBezTo>
                  <a:cubicBezTo>
                    <a:pt x="407" y="0"/>
                    <a:pt x="408" y="1"/>
                    <a:pt x="409" y="1"/>
                  </a:cubicBezTo>
                  <a:cubicBezTo>
                    <a:pt x="500" y="72"/>
                    <a:pt x="500" y="72"/>
                    <a:pt x="500" y="72"/>
                  </a:cubicBezTo>
                  <a:cubicBezTo>
                    <a:pt x="501" y="74"/>
                    <a:pt x="502" y="75"/>
                    <a:pt x="502" y="77"/>
                  </a:cubicBezTo>
                  <a:cubicBezTo>
                    <a:pt x="502" y="223"/>
                    <a:pt x="502" y="223"/>
                    <a:pt x="502" y="223"/>
                  </a:cubicBezTo>
                  <a:cubicBezTo>
                    <a:pt x="502" y="226"/>
                    <a:pt x="499" y="229"/>
                    <a:pt x="496" y="229"/>
                  </a:cubicBezTo>
                  <a:cubicBezTo>
                    <a:pt x="493" y="229"/>
                    <a:pt x="490" y="226"/>
                    <a:pt x="490" y="223"/>
                  </a:cubicBezTo>
                  <a:cubicBezTo>
                    <a:pt x="490" y="80"/>
                    <a:pt x="490" y="80"/>
                    <a:pt x="490" y="80"/>
                  </a:cubicBezTo>
                  <a:cubicBezTo>
                    <a:pt x="403" y="12"/>
                    <a:pt x="403" y="12"/>
                    <a:pt x="403" y="12"/>
                  </a:cubicBezTo>
                  <a:cubicBezTo>
                    <a:pt x="12" y="12"/>
                    <a:pt x="12" y="12"/>
                    <a:pt x="12" y="12"/>
                  </a:cubicBezTo>
                  <a:cubicBezTo>
                    <a:pt x="12" y="335"/>
                    <a:pt x="12" y="335"/>
                    <a:pt x="12" y="335"/>
                  </a:cubicBezTo>
                  <a:cubicBezTo>
                    <a:pt x="284" y="335"/>
                    <a:pt x="284" y="335"/>
                    <a:pt x="284" y="335"/>
                  </a:cubicBezTo>
                  <a:cubicBezTo>
                    <a:pt x="287" y="335"/>
                    <a:pt x="290" y="338"/>
                    <a:pt x="290" y="341"/>
                  </a:cubicBezTo>
                  <a:cubicBezTo>
                    <a:pt x="290" y="345"/>
                    <a:pt x="287" y="347"/>
                    <a:pt x="284" y="3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3" name="Freeform 320">
              <a:extLst>
                <a:ext uri="{FF2B5EF4-FFF2-40B4-BE49-F238E27FC236}">
                  <a16:creationId xmlns:a16="http://schemas.microsoft.com/office/drawing/2014/main" id="{63E687B0-552E-416B-8926-98C4E42DB693}"/>
                </a:ext>
              </a:extLst>
            </p:cNvPr>
            <p:cNvSpPr>
              <a:spLocks/>
            </p:cNvSpPr>
            <p:nvPr/>
          </p:nvSpPr>
          <p:spPr bwMode="auto">
            <a:xfrm>
              <a:off x="6797" y="1276"/>
              <a:ext cx="77" cy="71"/>
            </a:xfrm>
            <a:custGeom>
              <a:avLst/>
              <a:gdLst>
                <a:gd name="T0" fmla="*/ 6 w 103"/>
                <a:gd name="T1" fmla="*/ 94 h 94"/>
                <a:gd name="T2" fmla="*/ 2 w 103"/>
                <a:gd name="T3" fmla="*/ 92 h 94"/>
                <a:gd name="T4" fmla="*/ 0 w 103"/>
                <a:gd name="T5" fmla="*/ 88 h 94"/>
                <a:gd name="T6" fmla="*/ 0 w 103"/>
                <a:gd name="T7" fmla="*/ 6 h 94"/>
                <a:gd name="T8" fmla="*/ 6 w 103"/>
                <a:gd name="T9" fmla="*/ 0 h 94"/>
                <a:gd name="T10" fmla="*/ 12 w 103"/>
                <a:gd name="T11" fmla="*/ 6 h 94"/>
                <a:gd name="T12" fmla="*/ 12 w 103"/>
                <a:gd name="T13" fmla="*/ 81 h 94"/>
                <a:gd name="T14" fmla="*/ 96 w 103"/>
                <a:gd name="T15" fmla="*/ 71 h 94"/>
                <a:gd name="T16" fmla="*/ 103 w 103"/>
                <a:gd name="T17" fmla="*/ 76 h 94"/>
                <a:gd name="T18" fmla="*/ 98 w 103"/>
                <a:gd name="T19" fmla="*/ 83 h 94"/>
                <a:gd name="T20" fmla="*/ 7 w 103"/>
                <a:gd name="T21" fmla="*/ 94 h 94"/>
                <a:gd name="T22" fmla="*/ 6 w 103"/>
                <a:gd name="T23"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94">
                  <a:moveTo>
                    <a:pt x="6" y="94"/>
                  </a:moveTo>
                  <a:cubicBezTo>
                    <a:pt x="5" y="94"/>
                    <a:pt x="4" y="93"/>
                    <a:pt x="2" y="92"/>
                  </a:cubicBezTo>
                  <a:cubicBezTo>
                    <a:pt x="1" y="91"/>
                    <a:pt x="0" y="89"/>
                    <a:pt x="0" y="88"/>
                  </a:cubicBezTo>
                  <a:cubicBezTo>
                    <a:pt x="0" y="6"/>
                    <a:pt x="0" y="6"/>
                    <a:pt x="0" y="6"/>
                  </a:cubicBezTo>
                  <a:cubicBezTo>
                    <a:pt x="0" y="3"/>
                    <a:pt x="3" y="0"/>
                    <a:pt x="6" y="0"/>
                  </a:cubicBezTo>
                  <a:cubicBezTo>
                    <a:pt x="10" y="0"/>
                    <a:pt x="12" y="3"/>
                    <a:pt x="12" y="6"/>
                  </a:cubicBezTo>
                  <a:cubicBezTo>
                    <a:pt x="12" y="81"/>
                    <a:pt x="12" y="81"/>
                    <a:pt x="12" y="81"/>
                  </a:cubicBezTo>
                  <a:cubicBezTo>
                    <a:pt x="96" y="71"/>
                    <a:pt x="96" y="71"/>
                    <a:pt x="96" y="71"/>
                  </a:cubicBezTo>
                  <a:cubicBezTo>
                    <a:pt x="100" y="71"/>
                    <a:pt x="103" y="73"/>
                    <a:pt x="103" y="76"/>
                  </a:cubicBezTo>
                  <a:cubicBezTo>
                    <a:pt x="103" y="80"/>
                    <a:pt x="101" y="83"/>
                    <a:pt x="98" y="83"/>
                  </a:cubicBezTo>
                  <a:cubicBezTo>
                    <a:pt x="7" y="94"/>
                    <a:pt x="7" y="94"/>
                    <a:pt x="7" y="94"/>
                  </a:cubicBezTo>
                  <a:cubicBezTo>
                    <a:pt x="7" y="94"/>
                    <a:pt x="7" y="94"/>
                    <a:pt x="6"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4" name="Freeform 321">
              <a:extLst>
                <a:ext uri="{FF2B5EF4-FFF2-40B4-BE49-F238E27FC236}">
                  <a16:creationId xmlns:a16="http://schemas.microsoft.com/office/drawing/2014/main" id="{222AE9AE-6E19-48F7-A2E8-93A08B225BAD}"/>
                </a:ext>
              </a:extLst>
            </p:cNvPr>
            <p:cNvSpPr>
              <a:spLocks noEditPoints="1"/>
            </p:cNvSpPr>
            <p:nvPr/>
          </p:nvSpPr>
          <p:spPr bwMode="auto">
            <a:xfrm>
              <a:off x="6521" y="1276"/>
              <a:ext cx="84" cy="128"/>
            </a:xfrm>
            <a:custGeom>
              <a:avLst/>
              <a:gdLst>
                <a:gd name="T0" fmla="*/ 105 w 111"/>
                <a:gd name="T1" fmla="*/ 170 h 170"/>
                <a:gd name="T2" fmla="*/ 102 w 111"/>
                <a:gd name="T3" fmla="*/ 169 h 170"/>
                <a:gd name="T4" fmla="*/ 55 w 111"/>
                <a:gd name="T5" fmla="*/ 138 h 170"/>
                <a:gd name="T6" fmla="*/ 9 w 111"/>
                <a:gd name="T7" fmla="*/ 169 h 170"/>
                <a:gd name="T8" fmla="*/ 3 w 111"/>
                <a:gd name="T9" fmla="*/ 169 h 170"/>
                <a:gd name="T10" fmla="*/ 0 w 111"/>
                <a:gd name="T11" fmla="*/ 164 h 170"/>
                <a:gd name="T12" fmla="*/ 0 w 111"/>
                <a:gd name="T13" fmla="*/ 6 h 170"/>
                <a:gd name="T14" fmla="*/ 6 w 111"/>
                <a:gd name="T15" fmla="*/ 0 h 170"/>
                <a:gd name="T16" fmla="*/ 105 w 111"/>
                <a:gd name="T17" fmla="*/ 0 h 170"/>
                <a:gd name="T18" fmla="*/ 111 w 111"/>
                <a:gd name="T19" fmla="*/ 6 h 170"/>
                <a:gd name="T20" fmla="*/ 111 w 111"/>
                <a:gd name="T21" fmla="*/ 164 h 170"/>
                <a:gd name="T22" fmla="*/ 108 w 111"/>
                <a:gd name="T23" fmla="*/ 169 h 170"/>
                <a:gd name="T24" fmla="*/ 105 w 111"/>
                <a:gd name="T25" fmla="*/ 170 h 170"/>
                <a:gd name="T26" fmla="*/ 55 w 111"/>
                <a:gd name="T27" fmla="*/ 125 h 170"/>
                <a:gd name="T28" fmla="*/ 58 w 111"/>
                <a:gd name="T29" fmla="*/ 126 h 170"/>
                <a:gd name="T30" fmla="*/ 99 w 111"/>
                <a:gd name="T31" fmla="*/ 153 h 170"/>
                <a:gd name="T32" fmla="*/ 99 w 111"/>
                <a:gd name="T33" fmla="*/ 12 h 170"/>
                <a:gd name="T34" fmla="*/ 12 w 111"/>
                <a:gd name="T35" fmla="*/ 12 h 170"/>
                <a:gd name="T36" fmla="*/ 12 w 111"/>
                <a:gd name="T37" fmla="*/ 152 h 170"/>
                <a:gd name="T38" fmla="*/ 51 w 111"/>
                <a:gd name="T39" fmla="*/ 126 h 170"/>
                <a:gd name="T40" fmla="*/ 55 w 111"/>
                <a:gd name="T41" fmla="*/ 12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 h="170">
                  <a:moveTo>
                    <a:pt x="105" y="170"/>
                  </a:moveTo>
                  <a:cubicBezTo>
                    <a:pt x="104" y="170"/>
                    <a:pt x="103" y="169"/>
                    <a:pt x="102" y="169"/>
                  </a:cubicBezTo>
                  <a:cubicBezTo>
                    <a:pt x="55" y="138"/>
                    <a:pt x="55" y="138"/>
                    <a:pt x="55" y="138"/>
                  </a:cubicBezTo>
                  <a:cubicBezTo>
                    <a:pt x="9" y="169"/>
                    <a:pt x="9" y="169"/>
                    <a:pt x="9" y="169"/>
                  </a:cubicBezTo>
                  <a:cubicBezTo>
                    <a:pt x="7" y="170"/>
                    <a:pt x="5" y="170"/>
                    <a:pt x="3" y="169"/>
                  </a:cubicBezTo>
                  <a:cubicBezTo>
                    <a:pt x="1" y="168"/>
                    <a:pt x="0" y="166"/>
                    <a:pt x="0" y="164"/>
                  </a:cubicBezTo>
                  <a:cubicBezTo>
                    <a:pt x="0" y="6"/>
                    <a:pt x="0" y="6"/>
                    <a:pt x="0" y="6"/>
                  </a:cubicBezTo>
                  <a:cubicBezTo>
                    <a:pt x="0" y="3"/>
                    <a:pt x="3" y="0"/>
                    <a:pt x="6" y="0"/>
                  </a:cubicBezTo>
                  <a:cubicBezTo>
                    <a:pt x="105" y="0"/>
                    <a:pt x="105" y="0"/>
                    <a:pt x="105" y="0"/>
                  </a:cubicBezTo>
                  <a:cubicBezTo>
                    <a:pt x="108" y="0"/>
                    <a:pt x="111" y="3"/>
                    <a:pt x="111" y="6"/>
                  </a:cubicBezTo>
                  <a:cubicBezTo>
                    <a:pt x="111" y="164"/>
                    <a:pt x="111" y="164"/>
                    <a:pt x="111" y="164"/>
                  </a:cubicBezTo>
                  <a:cubicBezTo>
                    <a:pt x="111" y="166"/>
                    <a:pt x="110" y="168"/>
                    <a:pt x="108" y="169"/>
                  </a:cubicBezTo>
                  <a:cubicBezTo>
                    <a:pt x="107" y="169"/>
                    <a:pt x="106" y="170"/>
                    <a:pt x="105" y="170"/>
                  </a:cubicBezTo>
                  <a:close/>
                  <a:moveTo>
                    <a:pt x="55" y="125"/>
                  </a:moveTo>
                  <a:cubicBezTo>
                    <a:pt x="56" y="125"/>
                    <a:pt x="57" y="125"/>
                    <a:pt x="58" y="126"/>
                  </a:cubicBezTo>
                  <a:cubicBezTo>
                    <a:pt x="99" y="153"/>
                    <a:pt x="99" y="153"/>
                    <a:pt x="99" y="153"/>
                  </a:cubicBezTo>
                  <a:cubicBezTo>
                    <a:pt x="99" y="12"/>
                    <a:pt x="99" y="12"/>
                    <a:pt x="99" y="12"/>
                  </a:cubicBezTo>
                  <a:cubicBezTo>
                    <a:pt x="12" y="12"/>
                    <a:pt x="12" y="12"/>
                    <a:pt x="12" y="12"/>
                  </a:cubicBezTo>
                  <a:cubicBezTo>
                    <a:pt x="12" y="152"/>
                    <a:pt x="12" y="152"/>
                    <a:pt x="12" y="152"/>
                  </a:cubicBezTo>
                  <a:cubicBezTo>
                    <a:pt x="51" y="126"/>
                    <a:pt x="51" y="126"/>
                    <a:pt x="51" y="126"/>
                  </a:cubicBezTo>
                  <a:cubicBezTo>
                    <a:pt x="52" y="125"/>
                    <a:pt x="53" y="125"/>
                    <a:pt x="55"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5" name="Freeform 322">
              <a:extLst>
                <a:ext uri="{FF2B5EF4-FFF2-40B4-BE49-F238E27FC236}">
                  <a16:creationId xmlns:a16="http://schemas.microsoft.com/office/drawing/2014/main" id="{A8C34CF4-8818-44CC-9AEC-CE88814ABFBA}"/>
                </a:ext>
              </a:extLst>
            </p:cNvPr>
            <p:cNvSpPr>
              <a:spLocks/>
            </p:cNvSpPr>
            <p:nvPr/>
          </p:nvSpPr>
          <p:spPr bwMode="auto">
            <a:xfrm>
              <a:off x="6630" y="1356"/>
              <a:ext cx="137" cy="0"/>
            </a:xfrm>
            <a:custGeom>
              <a:avLst/>
              <a:gdLst>
                <a:gd name="T0" fmla="*/ 0 w 137"/>
                <a:gd name="T1" fmla="*/ 137 w 137"/>
                <a:gd name="T2" fmla="*/ 0 w 137"/>
              </a:gdLst>
              <a:ahLst/>
              <a:cxnLst>
                <a:cxn ang="0">
                  <a:pos x="T0" y="0"/>
                </a:cxn>
                <a:cxn ang="0">
                  <a:pos x="T1" y="0"/>
                </a:cxn>
                <a:cxn ang="0">
                  <a:pos x="T2" y="0"/>
                </a:cxn>
              </a:cxnLst>
              <a:rect l="0" t="0" r="r" b="b"/>
              <a:pathLst>
                <a:path w="137">
                  <a:moveTo>
                    <a:pt x="0" y="0"/>
                  </a:moveTo>
                  <a:lnTo>
                    <a:pt x="137"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6" name="Line 323">
              <a:extLst>
                <a:ext uri="{FF2B5EF4-FFF2-40B4-BE49-F238E27FC236}">
                  <a16:creationId xmlns:a16="http://schemas.microsoft.com/office/drawing/2014/main" id="{3B31041E-2738-497A-AA61-32747160DA65}"/>
                </a:ext>
              </a:extLst>
            </p:cNvPr>
            <p:cNvSpPr>
              <a:spLocks noChangeShapeType="1"/>
            </p:cNvSpPr>
            <p:nvPr/>
          </p:nvSpPr>
          <p:spPr bwMode="auto">
            <a:xfrm>
              <a:off x="6630" y="1356"/>
              <a:ext cx="137"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7" name="Freeform 324">
              <a:extLst>
                <a:ext uri="{FF2B5EF4-FFF2-40B4-BE49-F238E27FC236}">
                  <a16:creationId xmlns:a16="http://schemas.microsoft.com/office/drawing/2014/main" id="{23814405-93B9-4E38-855D-19B386AF5C58}"/>
                </a:ext>
              </a:extLst>
            </p:cNvPr>
            <p:cNvSpPr>
              <a:spLocks/>
            </p:cNvSpPr>
            <p:nvPr/>
          </p:nvSpPr>
          <p:spPr bwMode="auto">
            <a:xfrm>
              <a:off x="6626" y="1351"/>
              <a:ext cx="145" cy="9"/>
            </a:xfrm>
            <a:custGeom>
              <a:avLst/>
              <a:gdLst>
                <a:gd name="T0" fmla="*/ 187 w 193"/>
                <a:gd name="T1" fmla="*/ 12 h 12"/>
                <a:gd name="T2" fmla="*/ 6 w 193"/>
                <a:gd name="T3" fmla="*/ 12 h 12"/>
                <a:gd name="T4" fmla="*/ 0 w 193"/>
                <a:gd name="T5" fmla="*/ 6 h 12"/>
                <a:gd name="T6" fmla="*/ 6 w 193"/>
                <a:gd name="T7" fmla="*/ 0 h 12"/>
                <a:gd name="T8" fmla="*/ 187 w 193"/>
                <a:gd name="T9" fmla="*/ 0 h 12"/>
                <a:gd name="T10" fmla="*/ 193 w 193"/>
                <a:gd name="T11" fmla="*/ 6 h 12"/>
                <a:gd name="T12" fmla="*/ 187 w 19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3" h="12">
                  <a:moveTo>
                    <a:pt x="187" y="12"/>
                  </a:moveTo>
                  <a:cubicBezTo>
                    <a:pt x="6" y="12"/>
                    <a:pt x="6" y="12"/>
                    <a:pt x="6" y="12"/>
                  </a:cubicBezTo>
                  <a:cubicBezTo>
                    <a:pt x="3" y="12"/>
                    <a:pt x="0" y="9"/>
                    <a:pt x="0" y="6"/>
                  </a:cubicBezTo>
                  <a:cubicBezTo>
                    <a:pt x="0" y="3"/>
                    <a:pt x="3" y="0"/>
                    <a:pt x="6" y="0"/>
                  </a:cubicBezTo>
                  <a:cubicBezTo>
                    <a:pt x="187" y="0"/>
                    <a:pt x="187" y="0"/>
                    <a:pt x="187" y="0"/>
                  </a:cubicBezTo>
                  <a:cubicBezTo>
                    <a:pt x="190" y="0"/>
                    <a:pt x="193" y="3"/>
                    <a:pt x="193" y="6"/>
                  </a:cubicBezTo>
                  <a:cubicBezTo>
                    <a:pt x="193" y="9"/>
                    <a:pt x="190" y="12"/>
                    <a:pt x="18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8" name="Freeform 325">
              <a:extLst>
                <a:ext uri="{FF2B5EF4-FFF2-40B4-BE49-F238E27FC236}">
                  <a16:creationId xmlns:a16="http://schemas.microsoft.com/office/drawing/2014/main" id="{7189A68B-63EE-4CB4-A6AB-365A50CD9278}"/>
                </a:ext>
              </a:extLst>
            </p:cNvPr>
            <p:cNvSpPr>
              <a:spLocks/>
            </p:cNvSpPr>
            <p:nvPr/>
          </p:nvSpPr>
          <p:spPr bwMode="auto">
            <a:xfrm>
              <a:off x="6630" y="1398"/>
              <a:ext cx="137" cy="0"/>
            </a:xfrm>
            <a:custGeom>
              <a:avLst/>
              <a:gdLst>
                <a:gd name="T0" fmla="*/ 0 w 137"/>
                <a:gd name="T1" fmla="*/ 137 w 137"/>
                <a:gd name="T2" fmla="*/ 0 w 137"/>
              </a:gdLst>
              <a:ahLst/>
              <a:cxnLst>
                <a:cxn ang="0">
                  <a:pos x="T0" y="0"/>
                </a:cxn>
                <a:cxn ang="0">
                  <a:pos x="T1" y="0"/>
                </a:cxn>
                <a:cxn ang="0">
                  <a:pos x="T2" y="0"/>
                </a:cxn>
              </a:cxnLst>
              <a:rect l="0" t="0" r="r" b="b"/>
              <a:pathLst>
                <a:path w="137">
                  <a:moveTo>
                    <a:pt x="0" y="0"/>
                  </a:moveTo>
                  <a:lnTo>
                    <a:pt x="137"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9" name="Line 326">
              <a:extLst>
                <a:ext uri="{FF2B5EF4-FFF2-40B4-BE49-F238E27FC236}">
                  <a16:creationId xmlns:a16="http://schemas.microsoft.com/office/drawing/2014/main" id="{B426B8E1-EB2C-44B1-A84A-C0E3B9BB98D8}"/>
                </a:ext>
              </a:extLst>
            </p:cNvPr>
            <p:cNvSpPr>
              <a:spLocks noChangeShapeType="1"/>
            </p:cNvSpPr>
            <p:nvPr/>
          </p:nvSpPr>
          <p:spPr bwMode="auto">
            <a:xfrm>
              <a:off x="6630" y="1398"/>
              <a:ext cx="137"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0" name="Freeform 327">
              <a:extLst>
                <a:ext uri="{FF2B5EF4-FFF2-40B4-BE49-F238E27FC236}">
                  <a16:creationId xmlns:a16="http://schemas.microsoft.com/office/drawing/2014/main" id="{6969A5AC-E19E-4F27-8712-9A4A78DCB8A0}"/>
                </a:ext>
              </a:extLst>
            </p:cNvPr>
            <p:cNvSpPr>
              <a:spLocks/>
            </p:cNvSpPr>
            <p:nvPr/>
          </p:nvSpPr>
          <p:spPr bwMode="auto">
            <a:xfrm>
              <a:off x="6626" y="1394"/>
              <a:ext cx="145" cy="9"/>
            </a:xfrm>
            <a:custGeom>
              <a:avLst/>
              <a:gdLst>
                <a:gd name="T0" fmla="*/ 187 w 193"/>
                <a:gd name="T1" fmla="*/ 12 h 12"/>
                <a:gd name="T2" fmla="*/ 6 w 193"/>
                <a:gd name="T3" fmla="*/ 12 h 12"/>
                <a:gd name="T4" fmla="*/ 0 w 193"/>
                <a:gd name="T5" fmla="*/ 6 h 12"/>
                <a:gd name="T6" fmla="*/ 6 w 193"/>
                <a:gd name="T7" fmla="*/ 0 h 12"/>
                <a:gd name="T8" fmla="*/ 187 w 193"/>
                <a:gd name="T9" fmla="*/ 0 h 12"/>
                <a:gd name="T10" fmla="*/ 193 w 193"/>
                <a:gd name="T11" fmla="*/ 6 h 12"/>
                <a:gd name="T12" fmla="*/ 187 w 19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3" h="12">
                  <a:moveTo>
                    <a:pt x="187" y="12"/>
                  </a:moveTo>
                  <a:cubicBezTo>
                    <a:pt x="6" y="12"/>
                    <a:pt x="6" y="12"/>
                    <a:pt x="6" y="12"/>
                  </a:cubicBezTo>
                  <a:cubicBezTo>
                    <a:pt x="3" y="12"/>
                    <a:pt x="0" y="9"/>
                    <a:pt x="0" y="6"/>
                  </a:cubicBezTo>
                  <a:cubicBezTo>
                    <a:pt x="0" y="3"/>
                    <a:pt x="3" y="0"/>
                    <a:pt x="6" y="0"/>
                  </a:cubicBezTo>
                  <a:cubicBezTo>
                    <a:pt x="187" y="0"/>
                    <a:pt x="187" y="0"/>
                    <a:pt x="187" y="0"/>
                  </a:cubicBezTo>
                  <a:cubicBezTo>
                    <a:pt x="190" y="0"/>
                    <a:pt x="193" y="3"/>
                    <a:pt x="193" y="6"/>
                  </a:cubicBezTo>
                  <a:cubicBezTo>
                    <a:pt x="193" y="9"/>
                    <a:pt x="190" y="12"/>
                    <a:pt x="18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1" name="Freeform 328">
              <a:extLst>
                <a:ext uri="{FF2B5EF4-FFF2-40B4-BE49-F238E27FC236}">
                  <a16:creationId xmlns:a16="http://schemas.microsoft.com/office/drawing/2014/main" id="{ED0769E8-DB76-40C8-8D3E-E69D353DCFF1}"/>
                </a:ext>
              </a:extLst>
            </p:cNvPr>
            <p:cNvSpPr>
              <a:spLocks/>
            </p:cNvSpPr>
            <p:nvPr/>
          </p:nvSpPr>
          <p:spPr bwMode="auto">
            <a:xfrm>
              <a:off x="6630" y="1441"/>
              <a:ext cx="100" cy="0"/>
            </a:xfrm>
            <a:custGeom>
              <a:avLst/>
              <a:gdLst>
                <a:gd name="T0" fmla="*/ 0 w 100"/>
                <a:gd name="T1" fmla="*/ 100 w 100"/>
                <a:gd name="T2" fmla="*/ 0 w 100"/>
              </a:gdLst>
              <a:ahLst/>
              <a:cxnLst>
                <a:cxn ang="0">
                  <a:pos x="T0" y="0"/>
                </a:cxn>
                <a:cxn ang="0">
                  <a:pos x="T1" y="0"/>
                </a:cxn>
                <a:cxn ang="0">
                  <a:pos x="T2" y="0"/>
                </a:cxn>
              </a:cxnLst>
              <a:rect l="0" t="0" r="r" b="b"/>
              <a:pathLst>
                <a:path w="100">
                  <a:moveTo>
                    <a:pt x="0" y="0"/>
                  </a:moveTo>
                  <a:lnTo>
                    <a:pt x="10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2" name="Line 329">
              <a:extLst>
                <a:ext uri="{FF2B5EF4-FFF2-40B4-BE49-F238E27FC236}">
                  <a16:creationId xmlns:a16="http://schemas.microsoft.com/office/drawing/2014/main" id="{977D69D3-6F20-46CC-9EC8-9A06D1798F97}"/>
                </a:ext>
              </a:extLst>
            </p:cNvPr>
            <p:cNvSpPr>
              <a:spLocks noChangeShapeType="1"/>
            </p:cNvSpPr>
            <p:nvPr/>
          </p:nvSpPr>
          <p:spPr bwMode="auto">
            <a:xfrm>
              <a:off x="6630" y="1441"/>
              <a:ext cx="10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3" name="Freeform 330">
              <a:extLst>
                <a:ext uri="{FF2B5EF4-FFF2-40B4-BE49-F238E27FC236}">
                  <a16:creationId xmlns:a16="http://schemas.microsoft.com/office/drawing/2014/main" id="{BDC9FC00-0A7F-498A-9951-B88D1B4427A3}"/>
                </a:ext>
              </a:extLst>
            </p:cNvPr>
            <p:cNvSpPr>
              <a:spLocks/>
            </p:cNvSpPr>
            <p:nvPr/>
          </p:nvSpPr>
          <p:spPr bwMode="auto">
            <a:xfrm>
              <a:off x="6626" y="1436"/>
              <a:ext cx="109" cy="9"/>
            </a:xfrm>
            <a:custGeom>
              <a:avLst/>
              <a:gdLst>
                <a:gd name="T0" fmla="*/ 139 w 145"/>
                <a:gd name="T1" fmla="*/ 12 h 12"/>
                <a:gd name="T2" fmla="*/ 6 w 145"/>
                <a:gd name="T3" fmla="*/ 12 h 12"/>
                <a:gd name="T4" fmla="*/ 0 w 145"/>
                <a:gd name="T5" fmla="*/ 6 h 12"/>
                <a:gd name="T6" fmla="*/ 6 w 145"/>
                <a:gd name="T7" fmla="*/ 0 h 12"/>
                <a:gd name="T8" fmla="*/ 139 w 145"/>
                <a:gd name="T9" fmla="*/ 0 h 12"/>
                <a:gd name="T10" fmla="*/ 145 w 145"/>
                <a:gd name="T11" fmla="*/ 6 h 12"/>
                <a:gd name="T12" fmla="*/ 139 w 14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5" h="12">
                  <a:moveTo>
                    <a:pt x="139" y="12"/>
                  </a:moveTo>
                  <a:cubicBezTo>
                    <a:pt x="6" y="12"/>
                    <a:pt x="6" y="12"/>
                    <a:pt x="6" y="12"/>
                  </a:cubicBezTo>
                  <a:cubicBezTo>
                    <a:pt x="3" y="12"/>
                    <a:pt x="0" y="9"/>
                    <a:pt x="0" y="6"/>
                  </a:cubicBezTo>
                  <a:cubicBezTo>
                    <a:pt x="0" y="2"/>
                    <a:pt x="3" y="0"/>
                    <a:pt x="6" y="0"/>
                  </a:cubicBezTo>
                  <a:cubicBezTo>
                    <a:pt x="139" y="0"/>
                    <a:pt x="139" y="0"/>
                    <a:pt x="139" y="0"/>
                  </a:cubicBezTo>
                  <a:cubicBezTo>
                    <a:pt x="142" y="0"/>
                    <a:pt x="145" y="2"/>
                    <a:pt x="145" y="6"/>
                  </a:cubicBezTo>
                  <a:cubicBezTo>
                    <a:pt x="145" y="9"/>
                    <a:pt x="142" y="12"/>
                    <a:pt x="13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4" name="Freeform 331">
              <a:extLst>
                <a:ext uri="{FF2B5EF4-FFF2-40B4-BE49-F238E27FC236}">
                  <a16:creationId xmlns:a16="http://schemas.microsoft.com/office/drawing/2014/main" id="{B2F8B367-46EA-4AD1-A084-55EF41E19522}"/>
                </a:ext>
              </a:extLst>
            </p:cNvPr>
            <p:cNvSpPr>
              <a:spLocks noEditPoints="1"/>
            </p:cNvSpPr>
            <p:nvPr/>
          </p:nvSpPr>
          <p:spPr bwMode="auto">
            <a:xfrm>
              <a:off x="6703" y="1406"/>
              <a:ext cx="191" cy="192"/>
            </a:xfrm>
            <a:custGeom>
              <a:avLst/>
              <a:gdLst>
                <a:gd name="T0" fmla="*/ 127 w 254"/>
                <a:gd name="T1" fmla="*/ 254 h 254"/>
                <a:gd name="T2" fmla="*/ 0 w 254"/>
                <a:gd name="T3" fmla="*/ 127 h 254"/>
                <a:gd name="T4" fmla="*/ 127 w 254"/>
                <a:gd name="T5" fmla="*/ 0 h 254"/>
                <a:gd name="T6" fmla="*/ 254 w 254"/>
                <a:gd name="T7" fmla="*/ 127 h 254"/>
                <a:gd name="T8" fmla="*/ 127 w 254"/>
                <a:gd name="T9" fmla="*/ 254 h 254"/>
                <a:gd name="T10" fmla="*/ 127 w 254"/>
                <a:gd name="T11" fmla="*/ 12 h 254"/>
                <a:gd name="T12" fmla="*/ 12 w 254"/>
                <a:gd name="T13" fmla="*/ 127 h 254"/>
                <a:gd name="T14" fmla="*/ 127 w 254"/>
                <a:gd name="T15" fmla="*/ 242 h 254"/>
                <a:gd name="T16" fmla="*/ 242 w 254"/>
                <a:gd name="T17" fmla="*/ 127 h 254"/>
                <a:gd name="T18" fmla="*/ 127 w 254"/>
                <a:gd name="T19" fmla="*/ 1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4">
                  <a:moveTo>
                    <a:pt x="127" y="254"/>
                  </a:moveTo>
                  <a:cubicBezTo>
                    <a:pt x="57" y="254"/>
                    <a:pt x="0" y="197"/>
                    <a:pt x="0" y="127"/>
                  </a:cubicBezTo>
                  <a:cubicBezTo>
                    <a:pt x="0" y="57"/>
                    <a:pt x="57" y="0"/>
                    <a:pt x="127" y="0"/>
                  </a:cubicBezTo>
                  <a:cubicBezTo>
                    <a:pt x="197" y="0"/>
                    <a:pt x="254" y="57"/>
                    <a:pt x="254" y="127"/>
                  </a:cubicBezTo>
                  <a:cubicBezTo>
                    <a:pt x="254" y="197"/>
                    <a:pt x="197" y="254"/>
                    <a:pt x="127" y="254"/>
                  </a:cubicBezTo>
                  <a:close/>
                  <a:moveTo>
                    <a:pt x="127" y="12"/>
                  </a:moveTo>
                  <a:cubicBezTo>
                    <a:pt x="64" y="12"/>
                    <a:pt x="12" y="64"/>
                    <a:pt x="12" y="127"/>
                  </a:cubicBezTo>
                  <a:cubicBezTo>
                    <a:pt x="12" y="190"/>
                    <a:pt x="64" y="242"/>
                    <a:pt x="127" y="242"/>
                  </a:cubicBezTo>
                  <a:cubicBezTo>
                    <a:pt x="190" y="242"/>
                    <a:pt x="242" y="190"/>
                    <a:pt x="242" y="127"/>
                  </a:cubicBezTo>
                  <a:cubicBezTo>
                    <a:pt x="242" y="64"/>
                    <a:pt x="190" y="12"/>
                    <a:pt x="12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5" name="Freeform 332">
              <a:extLst>
                <a:ext uri="{FF2B5EF4-FFF2-40B4-BE49-F238E27FC236}">
                  <a16:creationId xmlns:a16="http://schemas.microsoft.com/office/drawing/2014/main" id="{4314D3A3-2082-4858-942D-DF3C07FA0AA1}"/>
                </a:ext>
              </a:extLst>
            </p:cNvPr>
            <p:cNvSpPr>
              <a:spLocks/>
            </p:cNvSpPr>
            <p:nvPr/>
          </p:nvSpPr>
          <p:spPr bwMode="auto">
            <a:xfrm>
              <a:off x="6744" y="1444"/>
              <a:ext cx="84" cy="117"/>
            </a:xfrm>
            <a:custGeom>
              <a:avLst/>
              <a:gdLst>
                <a:gd name="T0" fmla="*/ 112 w 112"/>
                <a:gd name="T1" fmla="*/ 145 h 155"/>
                <a:gd name="T2" fmla="*/ 78 w 112"/>
                <a:gd name="T3" fmla="*/ 155 h 155"/>
                <a:gd name="T4" fmla="*/ 31 w 112"/>
                <a:gd name="T5" fmla="*/ 134 h 155"/>
                <a:gd name="T6" fmla="*/ 14 w 112"/>
                <a:gd name="T7" fmla="*/ 94 h 155"/>
                <a:gd name="T8" fmla="*/ 0 w 112"/>
                <a:gd name="T9" fmla="*/ 94 h 155"/>
                <a:gd name="T10" fmla="*/ 0 w 112"/>
                <a:gd name="T11" fmla="*/ 83 h 155"/>
                <a:gd name="T12" fmla="*/ 13 w 112"/>
                <a:gd name="T13" fmla="*/ 83 h 155"/>
                <a:gd name="T14" fmla="*/ 13 w 112"/>
                <a:gd name="T15" fmla="*/ 80 h 155"/>
                <a:gd name="T16" fmla="*/ 14 w 112"/>
                <a:gd name="T17" fmla="*/ 69 h 155"/>
                <a:gd name="T18" fmla="*/ 0 w 112"/>
                <a:gd name="T19" fmla="*/ 69 h 155"/>
                <a:gd name="T20" fmla="*/ 0 w 112"/>
                <a:gd name="T21" fmla="*/ 58 h 155"/>
                <a:gd name="T22" fmla="*/ 15 w 112"/>
                <a:gd name="T23" fmla="*/ 58 h 155"/>
                <a:gd name="T24" fmla="*/ 34 w 112"/>
                <a:gd name="T25" fmla="*/ 19 h 155"/>
                <a:gd name="T26" fmla="*/ 80 w 112"/>
                <a:gd name="T27" fmla="*/ 0 h 155"/>
                <a:gd name="T28" fmla="*/ 110 w 112"/>
                <a:gd name="T29" fmla="*/ 7 h 155"/>
                <a:gd name="T30" fmla="*/ 106 w 112"/>
                <a:gd name="T31" fmla="*/ 22 h 155"/>
                <a:gd name="T32" fmla="*/ 80 w 112"/>
                <a:gd name="T33" fmla="*/ 16 h 155"/>
                <a:gd name="T34" fmla="*/ 50 w 112"/>
                <a:gd name="T35" fmla="*/ 28 h 155"/>
                <a:gd name="T36" fmla="*/ 36 w 112"/>
                <a:gd name="T37" fmla="*/ 58 h 155"/>
                <a:gd name="T38" fmla="*/ 100 w 112"/>
                <a:gd name="T39" fmla="*/ 58 h 155"/>
                <a:gd name="T40" fmla="*/ 100 w 112"/>
                <a:gd name="T41" fmla="*/ 69 h 155"/>
                <a:gd name="T42" fmla="*/ 34 w 112"/>
                <a:gd name="T43" fmla="*/ 69 h 155"/>
                <a:gd name="T44" fmla="*/ 33 w 112"/>
                <a:gd name="T45" fmla="*/ 79 h 155"/>
                <a:gd name="T46" fmla="*/ 33 w 112"/>
                <a:gd name="T47" fmla="*/ 83 h 155"/>
                <a:gd name="T48" fmla="*/ 100 w 112"/>
                <a:gd name="T49" fmla="*/ 83 h 155"/>
                <a:gd name="T50" fmla="*/ 100 w 112"/>
                <a:gd name="T51" fmla="*/ 94 h 155"/>
                <a:gd name="T52" fmla="*/ 35 w 112"/>
                <a:gd name="T53" fmla="*/ 94 h 155"/>
                <a:gd name="T54" fmla="*/ 47 w 112"/>
                <a:gd name="T55" fmla="*/ 125 h 155"/>
                <a:gd name="T56" fmla="*/ 80 w 112"/>
                <a:gd name="T57" fmla="*/ 138 h 155"/>
                <a:gd name="T58" fmla="*/ 108 w 112"/>
                <a:gd name="T59" fmla="*/ 130 h 155"/>
                <a:gd name="T60" fmla="*/ 112 w 112"/>
                <a:gd name="T61" fmla="*/ 14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2" h="155">
                  <a:moveTo>
                    <a:pt x="112" y="145"/>
                  </a:moveTo>
                  <a:cubicBezTo>
                    <a:pt x="105" y="150"/>
                    <a:pt x="93" y="155"/>
                    <a:pt x="78" y="155"/>
                  </a:cubicBezTo>
                  <a:cubicBezTo>
                    <a:pt x="59" y="155"/>
                    <a:pt x="42" y="147"/>
                    <a:pt x="31" y="134"/>
                  </a:cubicBezTo>
                  <a:cubicBezTo>
                    <a:pt x="22" y="124"/>
                    <a:pt x="16" y="111"/>
                    <a:pt x="14" y="94"/>
                  </a:cubicBezTo>
                  <a:cubicBezTo>
                    <a:pt x="0" y="94"/>
                    <a:pt x="0" y="94"/>
                    <a:pt x="0" y="94"/>
                  </a:cubicBezTo>
                  <a:cubicBezTo>
                    <a:pt x="0" y="83"/>
                    <a:pt x="0" y="83"/>
                    <a:pt x="0" y="83"/>
                  </a:cubicBezTo>
                  <a:cubicBezTo>
                    <a:pt x="13" y="83"/>
                    <a:pt x="13" y="83"/>
                    <a:pt x="13" y="83"/>
                  </a:cubicBezTo>
                  <a:cubicBezTo>
                    <a:pt x="13" y="82"/>
                    <a:pt x="13" y="81"/>
                    <a:pt x="13" y="80"/>
                  </a:cubicBezTo>
                  <a:cubicBezTo>
                    <a:pt x="13" y="76"/>
                    <a:pt x="13" y="72"/>
                    <a:pt x="14" y="69"/>
                  </a:cubicBezTo>
                  <a:cubicBezTo>
                    <a:pt x="0" y="69"/>
                    <a:pt x="0" y="69"/>
                    <a:pt x="0" y="69"/>
                  </a:cubicBezTo>
                  <a:cubicBezTo>
                    <a:pt x="0" y="58"/>
                    <a:pt x="0" y="58"/>
                    <a:pt x="0" y="58"/>
                  </a:cubicBezTo>
                  <a:cubicBezTo>
                    <a:pt x="15" y="58"/>
                    <a:pt x="15" y="58"/>
                    <a:pt x="15" y="58"/>
                  </a:cubicBezTo>
                  <a:cubicBezTo>
                    <a:pt x="18" y="42"/>
                    <a:pt x="25" y="28"/>
                    <a:pt x="34" y="19"/>
                  </a:cubicBezTo>
                  <a:cubicBezTo>
                    <a:pt x="46" y="7"/>
                    <a:pt x="61" y="0"/>
                    <a:pt x="80" y="0"/>
                  </a:cubicBezTo>
                  <a:cubicBezTo>
                    <a:pt x="93" y="0"/>
                    <a:pt x="104" y="4"/>
                    <a:pt x="110" y="7"/>
                  </a:cubicBezTo>
                  <a:cubicBezTo>
                    <a:pt x="106" y="22"/>
                    <a:pt x="106" y="22"/>
                    <a:pt x="106" y="22"/>
                  </a:cubicBezTo>
                  <a:cubicBezTo>
                    <a:pt x="100" y="19"/>
                    <a:pt x="90" y="16"/>
                    <a:pt x="80" y="16"/>
                  </a:cubicBezTo>
                  <a:cubicBezTo>
                    <a:pt x="68" y="16"/>
                    <a:pt x="57" y="20"/>
                    <a:pt x="50" y="28"/>
                  </a:cubicBezTo>
                  <a:cubicBezTo>
                    <a:pt x="43" y="35"/>
                    <a:pt x="38" y="46"/>
                    <a:pt x="36" y="58"/>
                  </a:cubicBezTo>
                  <a:cubicBezTo>
                    <a:pt x="100" y="58"/>
                    <a:pt x="100" y="58"/>
                    <a:pt x="100" y="58"/>
                  </a:cubicBezTo>
                  <a:cubicBezTo>
                    <a:pt x="100" y="69"/>
                    <a:pt x="100" y="69"/>
                    <a:pt x="100" y="69"/>
                  </a:cubicBezTo>
                  <a:cubicBezTo>
                    <a:pt x="34" y="69"/>
                    <a:pt x="34" y="69"/>
                    <a:pt x="34" y="69"/>
                  </a:cubicBezTo>
                  <a:cubicBezTo>
                    <a:pt x="33" y="72"/>
                    <a:pt x="33" y="76"/>
                    <a:pt x="33" y="79"/>
                  </a:cubicBezTo>
                  <a:cubicBezTo>
                    <a:pt x="33" y="80"/>
                    <a:pt x="33" y="81"/>
                    <a:pt x="33" y="83"/>
                  </a:cubicBezTo>
                  <a:cubicBezTo>
                    <a:pt x="100" y="83"/>
                    <a:pt x="100" y="83"/>
                    <a:pt x="100" y="83"/>
                  </a:cubicBezTo>
                  <a:cubicBezTo>
                    <a:pt x="100" y="94"/>
                    <a:pt x="100" y="94"/>
                    <a:pt x="100" y="94"/>
                  </a:cubicBezTo>
                  <a:cubicBezTo>
                    <a:pt x="35" y="94"/>
                    <a:pt x="35" y="94"/>
                    <a:pt x="35" y="94"/>
                  </a:cubicBezTo>
                  <a:cubicBezTo>
                    <a:pt x="37" y="108"/>
                    <a:pt x="41" y="118"/>
                    <a:pt x="47" y="125"/>
                  </a:cubicBezTo>
                  <a:cubicBezTo>
                    <a:pt x="56" y="134"/>
                    <a:pt x="68" y="138"/>
                    <a:pt x="80" y="138"/>
                  </a:cubicBezTo>
                  <a:cubicBezTo>
                    <a:pt x="92" y="138"/>
                    <a:pt x="103" y="133"/>
                    <a:pt x="108" y="130"/>
                  </a:cubicBezTo>
                  <a:lnTo>
                    <a:pt x="112"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1382639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p:cNvSpPr>
            <a:spLocks noGrp="1"/>
          </p:cNvSpPr>
          <p:nvPr>
            <p:ph type="body" sz="quarter" idx="15"/>
          </p:nvPr>
        </p:nvSpPr>
        <p:spPr>
          <a:xfrm>
            <a:off x="912812" y="1773238"/>
            <a:ext cx="5089403" cy="4535487"/>
          </a:xfrm>
        </p:spPr>
        <p:txBody>
          <a:bodyPr/>
          <a:lstStyle/>
          <a:p>
            <a:pPr marL="0" indent="0" algn="ctr">
              <a:lnSpc>
                <a:spcPct val="100000"/>
              </a:lnSpc>
              <a:spcBef>
                <a:spcPts val="0"/>
              </a:spcBef>
              <a:buNone/>
            </a:pPr>
            <a:r>
              <a:rPr lang="de-DE" b="1" u="none" dirty="0">
                <a:solidFill>
                  <a:schemeClr val="tx1"/>
                </a:solidFill>
              </a:rPr>
              <a:t>IPCEI Mikroelektronik (ME)</a:t>
            </a:r>
          </a:p>
          <a:p>
            <a:pPr marL="0" indent="0" algn="ctr">
              <a:lnSpc>
                <a:spcPct val="100000"/>
              </a:lnSpc>
              <a:spcBef>
                <a:spcPts val="0"/>
              </a:spcBef>
              <a:buNone/>
            </a:pPr>
            <a:endParaRPr lang="de-DE" b="1" u="none" dirty="0">
              <a:solidFill>
                <a:schemeClr val="tx1"/>
              </a:solidFill>
            </a:endParaRPr>
          </a:p>
          <a:p>
            <a:pPr marL="0" indent="0" algn="ctr">
              <a:lnSpc>
                <a:spcPct val="100000"/>
              </a:lnSpc>
              <a:spcBef>
                <a:spcPts val="0"/>
              </a:spcBef>
              <a:buNone/>
            </a:pPr>
            <a:endParaRPr lang="de-DE" b="1" u="none" dirty="0">
              <a:solidFill>
                <a:schemeClr val="tx1"/>
              </a:solidFill>
            </a:endParaRPr>
          </a:p>
          <a:p>
            <a:pPr lvl="1">
              <a:lnSpc>
                <a:spcPct val="100000"/>
              </a:lnSpc>
              <a:spcBef>
                <a:spcPts val="1000"/>
              </a:spcBef>
            </a:pPr>
            <a:r>
              <a:rPr lang="de-DE" dirty="0">
                <a:solidFill>
                  <a:schemeClr val="tx1"/>
                </a:solidFill>
              </a:rPr>
              <a:t>Unternehmen: 18</a:t>
            </a:r>
          </a:p>
          <a:p>
            <a:pPr lvl="1">
              <a:lnSpc>
                <a:spcPct val="100000"/>
              </a:lnSpc>
              <a:spcBef>
                <a:spcPts val="1000"/>
              </a:spcBef>
            </a:pPr>
            <a:r>
              <a:rPr lang="de-DE" dirty="0">
                <a:solidFill>
                  <a:schemeClr val="tx1"/>
                </a:solidFill>
              </a:rPr>
              <a:t>Arbeitsplätze: 2.500 (+12.500 indirekt)</a:t>
            </a:r>
          </a:p>
          <a:p>
            <a:pPr lvl="1">
              <a:lnSpc>
                <a:spcPct val="100000"/>
              </a:lnSpc>
              <a:spcBef>
                <a:spcPts val="1000"/>
              </a:spcBef>
            </a:pPr>
            <a:r>
              <a:rPr lang="de-DE" u="none" dirty="0">
                <a:solidFill>
                  <a:schemeClr val="tx1"/>
                </a:solidFill>
              </a:rPr>
              <a:t>Investitionen: 2,6 Mrd. EUR</a:t>
            </a:r>
          </a:p>
          <a:p>
            <a:pPr lvl="1">
              <a:lnSpc>
                <a:spcPct val="100000"/>
              </a:lnSpc>
              <a:spcBef>
                <a:spcPts val="1000"/>
              </a:spcBef>
            </a:pPr>
            <a:r>
              <a:rPr lang="de-DE" dirty="0">
                <a:solidFill>
                  <a:schemeClr val="tx1"/>
                </a:solidFill>
              </a:rPr>
              <a:t>Erfolgte Spill-</a:t>
            </a:r>
            <a:r>
              <a:rPr lang="de-DE" dirty="0" err="1">
                <a:solidFill>
                  <a:schemeClr val="tx1"/>
                </a:solidFill>
              </a:rPr>
              <a:t>over</a:t>
            </a:r>
            <a:r>
              <a:rPr lang="de-DE" dirty="0">
                <a:solidFill>
                  <a:schemeClr val="tx1"/>
                </a:solidFill>
              </a:rPr>
              <a:t> (Auswahl, Gesamt-EU): </a:t>
            </a:r>
          </a:p>
          <a:p>
            <a:pPr marL="716400" lvl="2">
              <a:lnSpc>
                <a:spcPct val="100000"/>
              </a:lnSpc>
              <a:spcBef>
                <a:spcPts val="300"/>
              </a:spcBef>
              <a:buFont typeface="Symbol" panose="05050102010706020507" pitchFamily="18" charset="2"/>
              <a:buChar char="-"/>
            </a:pPr>
            <a:r>
              <a:rPr lang="de-DE" sz="1400" b="1" dirty="0">
                <a:solidFill>
                  <a:schemeClr val="tx1"/>
                </a:solidFill>
              </a:rPr>
              <a:t>Verbreitung von IP</a:t>
            </a:r>
            <a:r>
              <a:rPr lang="de-DE" sz="1400" dirty="0">
                <a:solidFill>
                  <a:schemeClr val="tx1"/>
                </a:solidFill>
              </a:rPr>
              <a:t>: </a:t>
            </a:r>
            <a:r>
              <a:rPr lang="de-DE" sz="1400" b="1" dirty="0">
                <a:solidFill>
                  <a:schemeClr val="tx1"/>
                </a:solidFill>
              </a:rPr>
              <a:t>&gt;600</a:t>
            </a:r>
          </a:p>
          <a:p>
            <a:pPr marL="716400" lvl="2">
              <a:lnSpc>
                <a:spcPct val="100000"/>
              </a:lnSpc>
              <a:spcBef>
                <a:spcPts val="300"/>
              </a:spcBef>
              <a:buFont typeface="Symbol" panose="05050102010706020507" pitchFamily="18" charset="2"/>
              <a:buChar char="-"/>
            </a:pPr>
            <a:r>
              <a:rPr lang="de-DE" sz="1400" dirty="0">
                <a:solidFill>
                  <a:schemeClr val="tx1"/>
                </a:solidFill>
              </a:rPr>
              <a:t>Unterstützung von </a:t>
            </a:r>
            <a:r>
              <a:rPr lang="de-DE" sz="1400" b="1" dirty="0">
                <a:solidFill>
                  <a:schemeClr val="tx1"/>
                </a:solidFill>
              </a:rPr>
              <a:t>&gt;400 Doktorarbeiten </a:t>
            </a:r>
          </a:p>
          <a:p>
            <a:pPr marL="716400" lvl="2">
              <a:lnSpc>
                <a:spcPct val="100000"/>
              </a:lnSpc>
              <a:spcBef>
                <a:spcPts val="300"/>
              </a:spcBef>
              <a:buFont typeface="Symbol" panose="05050102010706020507" pitchFamily="18" charset="2"/>
              <a:buChar char="-"/>
            </a:pPr>
            <a:r>
              <a:rPr lang="de-DE" sz="1400" b="1" dirty="0">
                <a:solidFill>
                  <a:schemeClr val="tx1"/>
                </a:solidFill>
              </a:rPr>
              <a:t>&gt;900 Spill-</a:t>
            </a:r>
            <a:r>
              <a:rPr lang="de-DE" sz="1400" b="1" dirty="0" err="1">
                <a:solidFill>
                  <a:schemeClr val="tx1"/>
                </a:solidFill>
              </a:rPr>
              <a:t>over</a:t>
            </a:r>
            <a:r>
              <a:rPr lang="de-DE" sz="1400" b="1" dirty="0">
                <a:solidFill>
                  <a:schemeClr val="tx1"/>
                </a:solidFill>
              </a:rPr>
              <a:t>-Veranstaltung </a:t>
            </a:r>
          </a:p>
          <a:p>
            <a:pPr marL="716400" lvl="2">
              <a:lnSpc>
                <a:spcPct val="100000"/>
              </a:lnSpc>
              <a:spcBef>
                <a:spcPts val="300"/>
              </a:spcBef>
              <a:buFont typeface="Symbol" panose="05050102010706020507" pitchFamily="18" charset="2"/>
              <a:buChar char="-"/>
            </a:pPr>
            <a:r>
              <a:rPr lang="de-DE" sz="1400" b="1" dirty="0">
                <a:solidFill>
                  <a:schemeClr val="tx1"/>
                </a:solidFill>
              </a:rPr>
              <a:t>ca. 80 </a:t>
            </a:r>
            <a:r>
              <a:rPr lang="de-DE" sz="1400" dirty="0">
                <a:solidFill>
                  <a:schemeClr val="tx1"/>
                </a:solidFill>
              </a:rPr>
              <a:t>Beiträge zu </a:t>
            </a:r>
            <a:r>
              <a:rPr lang="de-DE" sz="1400" b="1" dirty="0">
                <a:solidFill>
                  <a:schemeClr val="tx1"/>
                </a:solidFill>
              </a:rPr>
              <a:t>Standardisierung</a:t>
            </a:r>
            <a:endParaRPr lang="de-DE" u="none" dirty="0"/>
          </a:p>
        </p:txBody>
      </p:sp>
      <p:sp>
        <p:nvSpPr>
          <p:cNvPr id="2" name="Titel 1"/>
          <p:cNvSpPr>
            <a:spLocks noGrp="1"/>
          </p:cNvSpPr>
          <p:nvPr>
            <p:ph type="title"/>
          </p:nvPr>
        </p:nvSpPr>
        <p:spPr>
          <a:xfrm>
            <a:off x="900000" y="620688"/>
            <a:ext cx="8629016" cy="774491"/>
          </a:xfrm>
        </p:spPr>
        <p:txBody>
          <a:bodyPr/>
          <a:lstStyle/>
          <a:p>
            <a:r>
              <a:rPr lang="de-DE" dirty="0"/>
              <a:t>IPCEI Mikroelektronik | </a:t>
            </a:r>
            <a:br>
              <a:rPr lang="de-DE" dirty="0"/>
            </a:br>
            <a:r>
              <a:rPr lang="de-DE" dirty="0"/>
              <a:t>Erfolge in Deutschland</a:t>
            </a:r>
          </a:p>
        </p:txBody>
      </p:sp>
      <p:sp>
        <p:nvSpPr>
          <p:cNvPr id="3" name="Foliennummernplatzhalter 2"/>
          <p:cNvSpPr>
            <a:spLocks noGrp="1"/>
          </p:cNvSpPr>
          <p:nvPr>
            <p:ph type="sldNum" sz="quarter" idx="10"/>
          </p:nvPr>
        </p:nvSpPr>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smtClean="0">
                <a:solidFill>
                  <a:schemeClr val="accent5"/>
                </a:solidFill>
              </a:rPr>
              <a:pPr algn="l" rtl="0"/>
              <a:t>11</a:t>
            </a:fld>
            <a:r>
              <a:rPr lang="en-GB" sz="1000" b="0" i="0" u="none" baseline="0">
                <a:solidFill>
                  <a:schemeClr val="accent5"/>
                </a:solidFill>
              </a:rPr>
              <a:t> </a:t>
            </a:r>
          </a:p>
        </p:txBody>
      </p:sp>
      <p:sp>
        <p:nvSpPr>
          <p:cNvPr id="6" name="Textplatzhalter 3">
            <a:extLst>
              <a:ext uri="{FF2B5EF4-FFF2-40B4-BE49-F238E27FC236}">
                <a16:creationId xmlns:a16="http://schemas.microsoft.com/office/drawing/2014/main" id="{6AD175A2-7946-4FDB-B1F0-E4B91A261CA3}"/>
              </a:ext>
            </a:extLst>
          </p:cNvPr>
          <p:cNvSpPr txBox="1">
            <a:spLocks/>
          </p:cNvSpPr>
          <p:nvPr/>
        </p:nvSpPr>
        <p:spPr>
          <a:xfrm>
            <a:off x="6189784" y="1773238"/>
            <a:ext cx="5462953" cy="4535487"/>
          </a:xfrm>
          <a:prstGeom prst="rect">
            <a:avLst/>
          </a:prstGeom>
        </p:spPr>
        <p:txBody>
          <a:bodyPr vert="horz" lIns="0" tIns="0" rIns="108000" bIns="0" rtlCol="0">
            <a:noAutofit/>
          </a:bodyPr>
          <a:lstStyle>
            <a:lvl1pPr marL="342900" indent="-342900" algn="l" defTabSz="717550" rtl="0" eaLnBrk="1" latinLnBrk="0" hangingPunct="1">
              <a:lnSpc>
                <a:spcPct val="120000"/>
              </a:lnSpc>
              <a:spcBef>
                <a:spcPts val="1000"/>
              </a:spcBef>
              <a:buClr>
                <a:schemeClr val="tx2"/>
              </a:buClr>
              <a:buSzPct val="80000"/>
              <a:buFont typeface="Symbol" panose="05050102010706020507" pitchFamily="18" charset="2"/>
              <a:buChar char="-"/>
              <a:tabLst>
                <a:tab pos="7772400" algn="r"/>
              </a:tabLst>
              <a:defRPr sz="2000" u="sng" kern="1200" baseline="0">
                <a:solidFill>
                  <a:schemeClr val="accent5"/>
                </a:solidFill>
                <a:uFill>
                  <a:solidFill>
                    <a:schemeClr val="accent5">
                      <a:lumMod val="20000"/>
                      <a:lumOff val="80000"/>
                    </a:schemeClr>
                  </a:solidFill>
                </a:uFill>
                <a:latin typeface="+mn-lt"/>
                <a:ea typeface="+mn-ea"/>
                <a:cs typeface="+mn-cs"/>
              </a:defRPr>
            </a:lvl1pPr>
            <a:lvl2pPr marL="361950" indent="-184150" algn="l" defTabSz="914400" rtl="0" eaLnBrk="1" latinLnBrk="0" hangingPunct="1">
              <a:lnSpc>
                <a:spcPct val="120000"/>
              </a:lnSpc>
              <a:spcBef>
                <a:spcPts val="500"/>
              </a:spcBef>
              <a:buClr>
                <a:schemeClr val="tx2"/>
              </a:buClr>
              <a:buSzPct val="80000"/>
              <a:buFont typeface="Wingdings" panose="05000000000000000000" pitchFamily="2" charset="2"/>
              <a:buChar char=""/>
              <a:defRPr sz="1800" kern="1200">
                <a:solidFill>
                  <a:schemeClr val="accent5"/>
                </a:solidFill>
                <a:latin typeface="+mn-lt"/>
                <a:ea typeface="+mn-ea"/>
                <a:cs typeface="+mn-cs"/>
              </a:defRPr>
            </a:lvl2pPr>
            <a:lvl3pPr marL="539750" indent="-177800" algn="l" defTabSz="914400" rtl="0" eaLnBrk="1" latinLnBrk="0" hangingPunct="1">
              <a:lnSpc>
                <a:spcPct val="120000"/>
              </a:lnSpc>
              <a:spcBef>
                <a:spcPts val="500"/>
              </a:spcBef>
              <a:buClr>
                <a:schemeClr val="tx2"/>
              </a:buClr>
              <a:buSzPct val="80000"/>
              <a:buFont typeface="Wingdings" panose="05000000000000000000" pitchFamily="2" charset="2"/>
              <a:buChar char=""/>
              <a:defRPr sz="1600" kern="1200">
                <a:solidFill>
                  <a:schemeClr val="accent5"/>
                </a:solidFill>
                <a:latin typeface="+mn-lt"/>
                <a:ea typeface="+mn-ea"/>
                <a:cs typeface="+mn-cs"/>
              </a:defRPr>
            </a:lvl3pPr>
            <a:lvl4pPr marL="717550" indent="-177800" algn="l" defTabSz="914400" rtl="0" eaLnBrk="1" latinLnBrk="0" hangingPunct="1">
              <a:lnSpc>
                <a:spcPct val="120000"/>
              </a:lnSpc>
              <a:spcBef>
                <a:spcPts val="500"/>
              </a:spcBef>
              <a:buClr>
                <a:schemeClr val="tx2"/>
              </a:buClr>
              <a:buSzPct val="80000"/>
              <a:buFont typeface="Wingdings" panose="05000000000000000000" pitchFamily="2" charset="2"/>
              <a:buChar char=""/>
              <a:defRPr sz="1400" kern="1200">
                <a:solidFill>
                  <a:schemeClr val="accent5"/>
                </a:solidFill>
                <a:latin typeface="+mn-lt"/>
                <a:ea typeface="+mn-ea"/>
                <a:cs typeface="+mn-cs"/>
              </a:defRPr>
            </a:lvl4pPr>
            <a:lvl5pPr marL="895350" indent="-177800" algn="l" defTabSz="914400" rtl="0" eaLnBrk="1" latinLnBrk="0" hangingPunct="1">
              <a:lnSpc>
                <a:spcPct val="120000"/>
              </a:lnSpc>
              <a:spcBef>
                <a:spcPts val="500"/>
              </a:spcBef>
              <a:buClr>
                <a:schemeClr val="tx2"/>
              </a:buClr>
              <a:buSzPct val="80000"/>
              <a:buFont typeface="Wingdings" panose="05000000000000000000" pitchFamily="2" charset="2"/>
              <a:buChar char=""/>
              <a:defRPr sz="1200" kern="1200">
                <a:solidFill>
                  <a:schemeClr val="accent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de-DE" b="1" u="none" dirty="0">
                <a:solidFill>
                  <a:schemeClr val="tx1"/>
                </a:solidFill>
              </a:rPr>
              <a:t>IPCEI Mikroelektronik und Kommunikationstechnologien (ME/KT)</a:t>
            </a:r>
          </a:p>
          <a:p>
            <a:pPr marL="0" indent="0" algn="ctr">
              <a:lnSpc>
                <a:spcPct val="100000"/>
              </a:lnSpc>
              <a:spcBef>
                <a:spcPts val="0"/>
              </a:spcBef>
              <a:buNone/>
            </a:pPr>
            <a:endParaRPr lang="de-DE" b="1" u="none" dirty="0">
              <a:solidFill>
                <a:schemeClr val="tx1"/>
              </a:solidFill>
            </a:endParaRPr>
          </a:p>
          <a:p>
            <a:pPr lvl="1">
              <a:spcBef>
                <a:spcPts val="600"/>
              </a:spcBef>
              <a:buFont typeface="Wingdings" panose="05000000000000000000" pitchFamily="2" charset="2"/>
              <a:buChar char="§"/>
            </a:pPr>
            <a:r>
              <a:rPr lang="de-DE" dirty="0">
                <a:solidFill>
                  <a:schemeClr val="tx1"/>
                </a:solidFill>
              </a:rPr>
              <a:t>Unternehmen: 26</a:t>
            </a:r>
          </a:p>
          <a:p>
            <a:pPr lvl="1">
              <a:spcBef>
                <a:spcPts val="600"/>
              </a:spcBef>
            </a:pPr>
            <a:r>
              <a:rPr lang="de-DE" dirty="0">
                <a:solidFill>
                  <a:schemeClr val="tx1"/>
                </a:solidFill>
              </a:rPr>
              <a:t>Arbeitsplätze: 3.200 (+16.000 indirekt)</a:t>
            </a:r>
          </a:p>
          <a:p>
            <a:pPr lvl="1">
              <a:spcBef>
                <a:spcPts val="600"/>
              </a:spcBef>
            </a:pPr>
            <a:r>
              <a:rPr lang="de-DE" dirty="0">
                <a:solidFill>
                  <a:schemeClr val="tx1"/>
                </a:solidFill>
              </a:rPr>
              <a:t>Investitionen: &gt;10 Mrd. EUR</a:t>
            </a:r>
          </a:p>
          <a:p>
            <a:pPr lvl="1">
              <a:lnSpc>
                <a:spcPct val="100000"/>
              </a:lnSpc>
              <a:spcBef>
                <a:spcPts val="600"/>
              </a:spcBef>
            </a:pPr>
            <a:r>
              <a:rPr lang="de-DE" dirty="0">
                <a:solidFill>
                  <a:schemeClr val="tx1"/>
                </a:solidFill>
              </a:rPr>
              <a:t>Geplante Spill-</a:t>
            </a:r>
            <a:r>
              <a:rPr lang="de-DE" dirty="0" err="1">
                <a:solidFill>
                  <a:schemeClr val="tx1"/>
                </a:solidFill>
              </a:rPr>
              <a:t>over</a:t>
            </a:r>
            <a:r>
              <a:rPr lang="de-DE" dirty="0">
                <a:solidFill>
                  <a:schemeClr val="tx1"/>
                </a:solidFill>
              </a:rPr>
              <a:t> (Auswahl, DEU): </a:t>
            </a:r>
          </a:p>
          <a:p>
            <a:pPr lvl="3">
              <a:lnSpc>
                <a:spcPct val="100000"/>
              </a:lnSpc>
              <a:spcBef>
                <a:spcPts val="0"/>
              </a:spcBef>
              <a:spcAft>
                <a:spcPts val="300"/>
              </a:spcAft>
              <a:buFont typeface="Symbol" panose="05050102010706020507" pitchFamily="18" charset="2"/>
              <a:buChar char="-"/>
            </a:pPr>
            <a:r>
              <a:rPr lang="de-DE" b="1" dirty="0">
                <a:solidFill>
                  <a:schemeClr val="tx1"/>
                </a:solidFill>
              </a:rPr>
              <a:t>&gt;1.400 Patentanmeldungen</a:t>
            </a:r>
          </a:p>
          <a:p>
            <a:pPr lvl="3">
              <a:lnSpc>
                <a:spcPct val="100000"/>
              </a:lnSpc>
              <a:spcBef>
                <a:spcPts val="0"/>
              </a:spcBef>
              <a:spcAft>
                <a:spcPts val="300"/>
              </a:spcAft>
              <a:buFont typeface="Symbol" panose="05050102010706020507" pitchFamily="18" charset="2"/>
              <a:buChar char="-"/>
            </a:pPr>
            <a:r>
              <a:rPr lang="de-DE" dirty="0">
                <a:solidFill>
                  <a:schemeClr val="tx1"/>
                </a:solidFill>
              </a:rPr>
              <a:t>Ausgabe von &gt;</a:t>
            </a:r>
            <a:r>
              <a:rPr lang="de-DE" b="1" dirty="0">
                <a:solidFill>
                  <a:schemeClr val="tx1"/>
                </a:solidFill>
              </a:rPr>
              <a:t>680 </a:t>
            </a:r>
            <a:r>
              <a:rPr lang="de-DE" b="1" dirty="0" err="1">
                <a:solidFill>
                  <a:schemeClr val="tx1"/>
                </a:solidFill>
              </a:rPr>
              <a:t>Product</a:t>
            </a:r>
            <a:r>
              <a:rPr lang="de-DE" b="1" dirty="0">
                <a:solidFill>
                  <a:schemeClr val="tx1"/>
                </a:solidFill>
              </a:rPr>
              <a:t> Design Kits</a:t>
            </a:r>
          </a:p>
          <a:p>
            <a:pPr lvl="3">
              <a:lnSpc>
                <a:spcPct val="100000"/>
              </a:lnSpc>
              <a:spcBef>
                <a:spcPts val="0"/>
              </a:spcBef>
              <a:spcAft>
                <a:spcPts val="300"/>
              </a:spcAft>
              <a:buFont typeface="Symbol" panose="05050102010706020507" pitchFamily="18" charset="2"/>
              <a:buChar char="-"/>
            </a:pPr>
            <a:r>
              <a:rPr lang="de-DE" b="1" dirty="0">
                <a:solidFill>
                  <a:schemeClr val="tx1"/>
                </a:solidFill>
              </a:rPr>
              <a:t>&gt;430 Veröffentlichungen</a:t>
            </a:r>
            <a:r>
              <a:rPr lang="de-DE" dirty="0">
                <a:solidFill>
                  <a:schemeClr val="tx1"/>
                </a:solidFill>
              </a:rPr>
              <a:t> in Fachzeitschriften</a:t>
            </a:r>
          </a:p>
          <a:p>
            <a:pPr lvl="3">
              <a:lnSpc>
                <a:spcPct val="100000"/>
              </a:lnSpc>
              <a:spcBef>
                <a:spcPts val="0"/>
              </a:spcBef>
              <a:spcAft>
                <a:spcPts val="300"/>
              </a:spcAft>
              <a:buFont typeface="Symbol" panose="05050102010706020507" pitchFamily="18" charset="2"/>
              <a:buChar char="-"/>
            </a:pPr>
            <a:r>
              <a:rPr lang="de-DE" dirty="0">
                <a:solidFill>
                  <a:schemeClr val="tx1"/>
                </a:solidFill>
              </a:rPr>
              <a:t>Angebot von </a:t>
            </a:r>
            <a:r>
              <a:rPr lang="de-DE" b="1" dirty="0">
                <a:solidFill>
                  <a:schemeClr val="tx1"/>
                </a:solidFill>
              </a:rPr>
              <a:t>260 Industrieveranstaltungen</a:t>
            </a:r>
          </a:p>
          <a:p>
            <a:pPr lvl="3">
              <a:lnSpc>
                <a:spcPct val="100000"/>
              </a:lnSpc>
              <a:spcBef>
                <a:spcPts val="0"/>
              </a:spcBef>
              <a:spcAft>
                <a:spcPts val="300"/>
              </a:spcAft>
              <a:buFont typeface="Symbol" panose="05050102010706020507" pitchFamily="18" charset="2"/>
              <a:buChar char="-"/>
            </a:pPr>
            <a:r>
              <a:rPr lang="de-DE" dirty="0">
                <a:solidFill>
                  <a:schemeClr val="tx1"/>
                </a:solidFill>
              </a:rPr>
              <a:t>Unterstützung v. &gt;</a:t>
            </a:r>
            <a:r>
              <a:rPr lang="de-DE" b="1" dirty="0">
                <a:solidFill>
                  <a:schemeClr val="tx1"/>
                </a:solidFill>
              </a:rPr>
              <a:t>420 Doktor-/ Masterarbeiten</a:t>
            </a:r>
          </a:p>
          <a:p>
            <a:pPr lvl="3">
              <a:lnSpc>
                <a:spcPct val="100000"/>
              </a:lnSpc>
              <a:spcBef>
                <a:spcPts val="0"/>
              </a:spcBef>
              <a:spcAft>
                <a:spcPts val="300"/>
              </a:spcAft>
              <a:buFont typeface="Symbol" panose="05050102010706020507" pitchFamily="18" charset="2"/>
              <a:buChar char="-"/>
            </a:pPr>
            <a:r>
              <a:rPr lang="de-DE" b="1" dirty="0">
                <a:solidFill>
                  <a:schemeClr val="tx1"/>
                </a:solidFill>
              </a:rPr>
              <a:t>&gt;800 Konferenzbesuche</a:t>
            </a:r>
          </a:p>
          <a:p>
            <a:pPr marL="177800" lvl="1" indent="0">
              <a:lnSpc>
                <a:spcPct val="100000"/>
              </a:lnSpc>
              <a:spcBef>
                <a:spcPts val="0"/>
              </a:spcBef>
              <a:spcAft>
                <a:spcPts val="300"/>
              </a:spcAft>
              <a:buNone/>
            </a:pPr>
            <a:endParaRPr lang="de-DE" sz="1600" b="1" dirty="0">
              <a:solidFill>
                <a:schemeClr val="tx1"/>
              </a:solidFill>
            </a:endParaRPr>
          </a:p>
          <a:p>
            <a:pPr marL="361950" lvl="2" indent="0">
              <a:buNone/>
            </a:pPr>
            <a:endParaRPr lang="de-DE" dirty="0">
              <a:solidFill>
                <a:schemeClr val="tx1"/>
              </a:solidFill>
            </a:endParaRPr>
          </a:p>
          <a:p>
            <a:endParaRPr lang="de-DE" u="none" dirty="0">
              <a:solidFill>
                <a:schemeClr val="tx1"/>
              </a:solidFill>
            </a:endParaRPr>
          </a:p>
        </p:txBody>
      </p:sp>
    </p:spTree>
    <p:extLst>
      <p:ext uri="{BB962C8B-B14F-4D97-AF65-F5344CB8AC3E}">
        <p14:creationId xmlns:p14="http://schemas.microsoft.com/office/powerpoint/2010/main" val="20313372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83B6D7B-562B-45DC-952A-377858164B64}"/>
              </a:ext>
            </a:extLst>
          </p:cNvPr>
          <p:cNvSpPr>
            <a:spLocks noGrp="1"/>
          </p:cNvSpPr>
          <p:nvPr>
            <p:ph type="title"/>
          </p:nvPr>
        </p:nvSpPr>
        <p:spPr/>
        <p:txBody>
          <a:bodyPr/>
          <a:lstStyle/>
          <a:p>
            <a:r>
              <a:rPr lang="de-DE" dirty="0"/>
              <a:t>IPCEI-Instrument aus wettbewerbsrechtlicher Sicht </a:t>
            </a:r>
          </a:p>
        </p:txBody>
      </p:sp>
      <p:sp>
        <p:nvSpPr>
          <p:cNvPr id="3" name="Foliennummernplatzhalter 2">
            <a:extLst>
              <a:ext uri="{FF2B5EF4-FFF2-40B4-BE49-F238E27FC236}">
                <a16:creationId xmlns:a16="http://schemas.microsoft.com/office/drawing/2014/main" id="{A74000FF-92D7-4E52-893B-9D2BB419F46A}"/>
              </a:ext>
            </a:extLst>
          </p:cNvPr>
          <p:cNvSpPr>
            <a:spLocks noGrp="1"/>
          </p:cNvSpPr>
          <p:nvPr>
            <p:ph type="sldNum" sz="quarter" idx="4294967295"/>
          </p:nvPr>
        </p:nvSpPr>
        <p:spPr>
          <a:xfrm>
            <a:off x="1708150" y="6375400"/>
            <a:ext cx="10483850" cy="220663"/>
          </a:xfrm>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smtClean="0">
                <a:solidFill>
                  <a:schemeClr val="accent5"/>
                </a:solidFill>
              </a:rPr>
              <a:pPr algn="l" rtl="0"/>
              <a:t>12</a:t>
            </a:fld>
            <a:r>
              <a:rPr lang="en-GB" sz="1000" b="0" i="0" u="none" baseline="0">
                <a:solidFill>
                  <a:schemeClr val="accent5"/>
                </a:solidFill>
              </a:rPr>
              <a:t> </a:t>
            </a:r>
          </a:p>
        </p:txBody>
      </p:sp>
      <p:sp>
        <p:nvSpPr>
          <p:cNvPr id="4" name="Textplatzhalter 2">
            <a:extLst>
              <a:ext uri="{FF2B5EF4-FFF2-40B4-BE49-F238E27FC236}">
                <a16:creationId xmlns:a16="http://schemas.microsoft.com/office/drawing/2014/main" id="{F36E131E-C26E-4D12-A54D-A83923FBA81E}"/>
              </a:ext>
            </a:extLst>
          </p:cNvPr>
          <p:cNvSpPr>
            <a:spLocks noGrp="1"/>
          </p:cNvSpPr>
          <p:nvPr>
            <p:ph type="body" sz="quarter" idx="11"/>
          </p:nvPr>
        </p:nvSpPr>
        <p:spPr>
          <a:xfrm>
            <a:off x="912285" y="3645024"/>
            <a:ext cx="10526183" cy="469552"/>
          </a:xfrm>
        </p:spPr>
        <p:txBody>
          <a:bodyPr/>
          <a:lstStyle/>
          <a:p>
            <a:r>
              <a:rPr lang="de-DE" sz="2800" dirty="0"/>
              <a:t>Michael Daub | Europäische Kommission | </a:t>
            </a:r>
            <a:r>
              <a:rPr lang="de-DE" sz="2800" dirty="0">
                <a:solidFill>
                  <a:schemeClr val="bg1"/>
                </a:solidFill>
              </a:rPr>
              <a:t>GD Wettbewerb</a:t>
            </a:r>
          </a:p>
        </p:txBody>
      </p:sp>
    </p:spTree>
    <p:extLst>
      <p:ext uri="{BB962C8B-B14F-4D97-AF65-F5344CB8AC3E}">
        <p14:creationId xmlns:p14="http://schemas.microsoft.com/office/powerpoint/2010/main" val="34775297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E52D74-BCD2-DBD9-5C00-A1CDDEF8A02C}"/>
              </a:ext>
            </a:extLst>
          </p:cNvPr>
          <p:cNvSpPr>
            <a:spLocks noGrp="1"/>
          </p:cNvSpPr>
          <p:nvPr>
            <p:ph type="title"/>
          </p:nvPr>
        </p:nvSpPr>
        <p:spPr/>
        <p:txBody>
          <a:bodyPr/>
          <a:lstStyle/>
          <a:p>
            <a:r>
              <a:rPr lang="en-US" sz="3200"/>
              <a:t>Important Projects of Common European Interest (IPCEI)</a:t>
            </a:r>
            <a:endParaRPr lang="en-IE" sz="3200"/>
          </a:p>
        </p:txBody>
      </p:sp>
      <p:sp>
        <p:nvSpPr>
          <p:cNvPr id="3" name="Content Placeholder 2">
            <a:extLst>
              <a:ext uri="{FF2B5EF4-FFF2-40B4-BE49-F238E27FC236}">
                <a16:creationId xmlns:a16="http://schemas.microsoft.com/office/drawing/2014/main" id="{8D788144-D42E-6353-DF9B-5E6457F51F42}"/>
              </a:ext>
            </a:extLst>
          </p:cNvPr>
          <p:cNvSpPr>
            <a:spLocks noGrp="1"/>
          </p:cNvSpPr>
          <p:nvPr>
            <p:ph sz="quarter" idx="11"/>
          </p:nvPr>
        </p:nvSpPr>
        <p:spPr>
          <a:xfrm>
            <a:off x="838200" y="4219575"/>
            <a:ext cx="8610600" cy="611188"/>
          </a:xfrm>
        </p:spPr>
        <p:txBody>
          <a:bodyPr/>
          <a:lstStyle/>
          <a:p>
            <a:r>
              <a:rPr lang="de-DE"/>
              <a:t>Generaldirektion Wettbewerb geplante IPCEI AST</a:t>
            </a:r>
            <a:endParaRPr lang="en-IE"/>
          </a:p>
        </p:txBody>
      </p:sp>
      <p:sp>
        <p:nvSpPr>
          <p:cNvPr id="4" name="Content Placeholder 3">
            <a:extLst>
              <a:ext uri="{FF2B5EF4-FFF2-40B4-BE49-F238E27FC236}">
                <a16:creationId xmlns:a16="http://schemas.microsoft.com/office/drawing/2014/main" id="{236C5714-322A-886F-FA3F-5654E0A8194D}"/>
              </a:ext>
            </a:extLst>
          </p:cNvPr>
          <p:cNvSpPr>
            <a:spLocks noGrp="1"/>
          </p:cNvSpPr>
          <p:nvPr>
            <p:ph sz="half" idx="10"/>
          </p:nvPr>
        </p:nvSpPr>
        <p:spPr>
          <a:xfrm>
            <a:off x="838199" y="5555932"/>
            <a:ext cx="4221481" cy="611188"/>
          </a:xfrm>
        </p:spPr>
        <p:txBody>
          <a:bodyPr/>
          <a:lstStyle/>
          <a:p>
            <a:pPr>
              <a:spcBef>
                <a:spcPct val="0"/>
              </a:spcBef>
              <a:defRPr sz="1200">
                <a:solidFill>
                  <a:schemeClr val="bg1"/>
                </a:solidFill>
                <a:cs typeface="Calibri" panose="020F0502020204030204" pitchFamily="34" charset="0"/>
              </a:defRPr>
            </a:pPr>
            <a:r>
              <a:rPr lang="de-DE" sz="1050">
                <a:solidFill>
                  <a:schemeClr val="tx1"/>
                </a:solidFill>
              </a:rPr>
              <a:t>Die geäußerten Ansichten entsprechen denen des Verfassers und dürfen keinesfalls als offizielle Stellungnahme der Europäischen Kommission angesehen werden!</a:t>
            </a:r>
            <a:endParaRPr lang="de-DE" sz="1200">
              <a:solidFill>
                <a:schemeClr val="tx1"/>
              </a:solidFill>
              <a:cs typeface="Calibri" panose="020F0502020204030204" pitchFamily="34" charset="0"/>
            </a:endParaRPr>
          </a:p>
        </p:txBody>
      </p:sp>
      <p:sp>
        <p:nvSpPr>
          <p:cNvPr id="5" name="Slide Number Placeholder 5">
            <a:extLst>
              <a:ext uri="{FF2B5EF4-FFF2-40B4-BE49-F238E27FC236}">
                <a16:creationId xmlns:a16="http://schemas.microsoft.com/office/drawing/2014/main" id="{7AFF4537-449E-7318-A85E-3C3461E0B20D}"/>
              </a:ext>
            </a:extLst>
          </p:cNvPr>
          <p:cNvSpPr>
            <a:spLocks noGrp="1"/>
          </p:cNvSpPr>
          <p:nvPr>
            <p:ph type="sldNum" sz="quarter" idx="4"/>
          </p:nvPr>
        </p:nvSpPr>
        <p:spPr>
          <a:xfrm>
            <a:off x="838200" y="6317486"/>
            <a:ext cx="2743200" cy="172523"/>
          </a:xfrm>
          <a:prstGeom prst="rect">
            <a:avLst/>
          </a:prstGeom>
          <a:noFill/>
        </p:spPr>
        <p:txBody>
          <a:bodyPr vert="horz" lIns="91440" tIns="45720" rIns="91440" bIns="45720" rtlCol="0" anchor="ctr"/>
          <a:lstStyle>
            <a:lvl1pPr algn="r">
              <a:defRPr sz="1200">
                <a:solidFill>
                  <a:schemeClr val="bg1"/>
                </a:solidFill>
                <a:latin typeface="+mn-lt"/>
              </a:defRPr>
            </a:lvl1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BE" sz="1200" b="0" i="0" u="none" strike="noStrike" kern="0" cap="none" spc="0" normalizeH="0" baseline="0" noProof="0">
                <a:ln>
                  <a:noFill/>
                </a:ln>
                <a:solidFill>
                  <a:prstClr val="white"/>
                </a:solidFill>
                <a:effectLst/>
                <a:uLnTx/>
                <a:uFillTx/>
                <a:latin typeface="Arial"/>
                <a:cs typeface="Arial"/>
                <a:sym typeface="Arial"/>
              </a:rPr>
              <a:t>24 Juni 2025</a:t>
            </a:r>
            <a:endParaRPr kumimoji="0" lang="en-IE" sz="1200" b="0" i="0" u="none" strike="noStrike" kern="0" cap="none" spc="0" normalizeH="0" baseline="0" noProof="0">
              <a:ln>
                <a:noFill/>
              </a:ln>
              <a:solidFill>
                <a:prstClr val="white"/>
              </a:solidFill>
              <a:effectLst/>
              <a:uLnTx/>
              <a:uFillTx/>
              <a:latin typeface="Arial"/>
              <a:cs typeface="Arial"/>
              <a:sym typeface="Arial"/>
            </a:endParaRPr>
          </a:p>
        </p:txBody>
      </p:sp>
      <p:sp>
        <p:nvSpPr>
          <p:cNvPr id="6" name="TextBox 5">
            <a:extLst>
              <a:ext uri="{FF2B5EF4-FFF2-40B4-BE49-F238E27FC236}">
                <a16:creationId xmlns:a16="http://schemas.microsoft.com/office/drawing/2014/main" id="{B7516299-95A3-453F-394C-AEE571BF7083}"/>
              </a:ext>
            </a:extLst>
          </p:cNvPr>
          <p:cNvSpPr txBox="1"/>
          <p:nvPr/>
        </p:nvSpPr>
        <p:spPr>
          <a:xfrm>
            <a:off x="9083040" y="4466067"/>
            <a:ext cx="1378904"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00" b="0" i="0" u="none" strike="noStrike" kern="0" cap="none" spc="0" normalizeH="0" baseline="0" noProof="0">
                <a:ln>
                  <a:noFill/>
                </a:ln>
                <a:solidFill>
                  <a:prstClr val="white"/>
                </a:solidFill>
                <a:effectLst/>
                <a:uLnTx/>
                <a:uFillTx/>
                <a:latin typeface="Arial"/>
                <a:cs typeface="Arial"/>
                <a:sym typeface="Arial"/>
              </a:rPr>
              <a:t>Michael Daub</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00" b="0" i="0" u="none" strike="noStrike" kern="0" cap="none" spc="0" normalizeH="0" baseline="0" noProof="0">
                <a:ln>
                  <a:noFill/>
                </a:ln>
                <a:solidFill>
                  <a:prstClr val="white"/>
                </a:solidFill>
                <a:effectLst/>
                <a:uLnTx/>
                <a:uFillTx/>
                <a:latin typeface="Arial"/>
                <a:cs typeface="Arial"/>
                <a:sym typeface="Arial"/>
              </a:rPr>
              <a:t>Tomasz </a:t>
            </a:r>
            <a:r>
              <a:rPr kumimoji="0" lang="de-DE" sz="1400" b="0" i="0" u="none" strike="noStrike" kern="0" cap="none" spc="0" normalizeH="0" baseline="0" noProof="0" err="1">
                <a:ln>
                  <a:noFill/>
                </a:ln>
                <a:solidFill>
                  <a:prstClr val="white"/>
                </a:solidFill>
                <a:effectLst/>
                <a:uLnTx/>
                <a:uFillTx/>
                <a:latin typeface="Arial"/>
                <a:cs typeface="Arial"/>
                <a:sym typeface="Arial"/>
              </a:rPr>
              <a:t>Rygus</a:t>
            </a:r>
            <a:endParaRPr kumimoji="0" lang="en-IE" sz="1400" b="0" i="0" u="none" strike="noStrike" kern="0" cap="none" spc="0" normalizeH="0" baseline="0" noProof="0">
              <a:ln>
                <a:noFill/>
              </a:ln>
              <a:solidFill>
                <a:prstClr val="white"/>
              </a:solidFill>
              <a:effectLst/>
              <a:uLnTx/>
              <a:uFillTx/>
              <a:latin typeface="Arial"/>
              <a:cs typeface="Arial"/>
              <a:sym typeface="Arial"/>
            </a:endParaRPr>
          </a:p>
        </p:txBody>
      </p:sp>
    </p:spTree>
    <p:extLst>
      <p:ext uri="{BB962C8B-B14F-4D97-AF65-F5344CB8AC3E}">
        <p14:creationId xmlns:p14="http://schemas.microsoft.com/office/powerpoint/2010/main" val="6545348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DC270-EFD3-E2F8-B98C-C0482E3FC1BF}"/>
              </a:ext>
            </a:extLst>
          </p:cNvPr>
          <p:cNvSpPr>
            <a:spLocks noGrp="1"/>
          </p:cNvSpPr>
          <p:nvPr>
            <p:ph type="title"/>
          </p:nvPr>
        </p:nvSpPr>
        <p:spPr/>
        <p:txBody>
          <a:bodyPr/>
          <a:lstStyle/>
          <a:p>
            <a:r>
              <a:rPr lang="de-DE"/>
              <a:t>Beihilferecht und Beihilfekontrolle</a:t>
            </a:r>
            <a:endParaRPr lang="en-IE"/>
          </a:p>
        </p:txBody>
      </p:sp>
    </p:spTree>
    <p:extLst>
      <p:ext uri="{BB962C8B-B14F-4D97-AF65-F5344CB8AC3E}">
        <p14:creationId xmlns:p14="http://schemas.microsoft.com/office/powerpoint/2010/main" val="14571325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7B858-61D8-242E-165A-A724AD196CCA}"/>
              </a:ext>
            </a:extLst>
          </p:cNvPr>
          <p:cNvSpPr>
            <a:spLocks noGrp="1"/>
          </p:cNvSpPr>
          <p:nvPr>
            <p:ph type="title"/>
          </p:nvPr>
        </p:nvSpPr>
        <p:spPr/>
        <p:txBody>
          <a:bodyPr/>
          <a:lstStyle/>
          <a:p>
            <a:r>
              <a:rPr lang="en-IE"/>
              <a:t>Der </a:t>
            </a:r>
            <a:r>
              <a:rPr lang="en-IE" err="1"/>
              <a:t>allgemeine</a:t>
            </a:r>
            <a:r>
              <a:rPr lang="en-IE"/>
              <a:t> EU-</a:t>
            </a:r>
            <a:r>
              <a:rPr lang="en-IE" err="1"/>
              <a:t>Beihilfetatbestand</a:t>
            </a:r>
            <a:endParaRPr lang="en-IE"/>
          </a:p>
        </p:txBody>
      </p:sp>
      <p:sp>
        <p:nvSpPr>
          <p:cNvPr id="3" name="Content Placeholder 2">
            <a:extLst>
              <a:ext uri="{FF2B5EF4-FFF2-40B4-BE49-F238E27FC236}">
                <a16:creationId xmlns:a16="http://schemas.microsoft.com/office/drawing/2014/main" id="{1F318685-CBFD-35CD-2628-0A25A2EAF696}"/>
              </a:ext>
            </a:extLst>
          </p:cNvPr>
          <p:cNvSpPr>
            <a:spLocks noGrp="1"/>
          </p:cNvSpPr>
          <p:nvPr>
            <p:ph idx="1"/>
          </p:nvPr>
        </p:nvSpPr>
        <p:spPr>
          <a:xfrm>
            <a:off x="746760" y="1277777"/>
            <a:ext cx="10515600" cy="5090638"/>
          </a:xfrm>
        </p:spPr>
        <p:txBody>
          <a:bodyPr vert="horz" lIns="144000" tIns="144000" rIns="144000" bIns="144000" rtlCol="0" anchor="t">
            <a:noAutofit/>
          </a:bodyPr>
          <a:lstStyle/>
          <a:p>
            <a:pPr marL="342900" indent="-342900">
              <a:buFont typeface="Arial" panose="020B0604020202020204" pitchFamily="34" charset="0"/>
              <a:buChar char="•"/>
            </a:pPr>
            <a:r>
              <a:rPr lang="de-DE" sz="1600" dirty="0"/>
              <a:t>Beihilfen sind gemäß Artikel 107 Absatz 1 AEUV grundsätzlich </a:t>
            </a:r>
            <a:r>
              <a:rPr lang="de-DE" sz="1600">
                <a:solidFill>
                  <a:schemeClr val="tx1"/>
                </a:solidFill>
              </a:rPr>
              <a:t>verboten.</a:t>
            </a:r>
          </a:p>
          <a:p>
            <a:pPr marL="342900" indent="-342900">
              <a:buFont typeface="Arial" panose="020B0604020202020204" pitchFamily="34" charset="0"/>
              <a:buChar char="•"/>
            </a:pPr>
            <a:r>
              <a:rPr lang="de-DE" sz="1600" dirty="0"/>
              <a:t>Legaldefinition des Verbotstatbestand in Artikel 107 Absatz 1 AEUV:</a:t>
            </a:r>
          </a:p>
          <a:p>
            <a:pPr marL="1085850" lvl="1" indent="-342900"/>
            <a:r>
              <a:rPr lang="de-DE" sz="1600" b="1" dirty="0"/>
              <a:t>Finanzierung aus staatlichen Mitteln </a:t>
            </a:r>
            <a:r>
              <a:rPr lang="de-DE" sz="1600" dirty="0"/>
              <a:t>–  jeglicher Art</a:t>
            </a:r>
          </a:p>
          <a:p>
            <a:pPr marL="1085850" lvl="1" indent="-342900"/>
            <a:r>
              <a:rPr lang="de-DE" sz="1600" b="1" dirty="0"/>
              <a:t>Vorteil</a:t>
            </a:r>
            <a:r>
              <a:rPr lang="de-DE" sz="1600" dirty="0"/>
              <a:t> – wenn der Begünstigte durch die Maßnahme besser gestellt wird</a:t>
            </a:r>
          </a:p>
          <a:p>
            <a:pPr marL="1085850" lvl="1" indent="-342900"/>
            <a:r>
              <a:rPr lang="de-DE" sz="1600" b="1" dirty="0"/>
              <a:t>Selektivität</a:t>
            </a:r>
            <a:r>
              <a:rPr lang="de-DE" sz="1600" dirty="0"/>
              <a:t> – wenn Begünstigter Vorteil erhält, der Anderen nicht zusteht</a:t>
            </a:r>
          </a:p>
          <a:p>
            <a:pPr marL="1085850" lvl="1" indent="-342900"/>
            <a:r>
              <a:rPr lang="de-DE" sz="1600" b="1" dirty="0"/>
              <a:t>Auswirkungen auf Handel und Wettbewerb </a:t>
            </a:r>
            <a:r>
              <a:rPr lang="de-DE" sz="1600" dirty="0"/>
              <a:t>– zwischen </a:t>
            </a:r>
            <a:r>
              <a:rPr lang="de-DE" sz="1600"/>
              <a:t>den </a:t>
            </a:r>
            <a:r>
              <a:rPr lang="de-DE" sz="1600" dirty="0"/>
              <a:t>Mitgliedstaaten</a:t>
            </a:r>
            <a:endParaRPr lang="de-DE" sz="1600" dirty="0">
              <a:cs typeface="Arial"/>
            </a:endParaRPr>
          </a:p>
          <a:p>
            <a:pPr marL="342900" indent="-342900">
              <a:buFont typeface="Arial" panose="020B0604020202020204" pitchFamily="34" charset="0"/>
              <a:buChar char="•"/>
            </a:pPr>
            <a:r>
              <a:rPr lang="de-DE" sz="1600" dirty="0"/>
              <a:t>Beihilfen können als mit dem gemeinsamen Markt vereinbar erklärt werden, wenn sie durch Ziele im Allgemeininteresse gerechtfertigt sind (Artikel 107 Abs. 2 und 3 AEUV). </a:t>
            </a:r>
            <a:r>
              <a:rPr lang="de-DE" sz="1600" dirty="0">
                <a:sym typeface="Wingdings" panose="05000000000000000000" pitchFamily="2" charset="2"/>
              </a:rPr>
              <a:t> </a:t>
            </a:r>
            <a:r>
              <a:rPr lang="de-DE" sz="1600" b="1" dirty="0" err="1">
                <a:sym typeface="Wingdings" panose="05000000000000000000" pitchFamily="2" charset="2"/>
              </a:rPr>
              <a:t>Balancing</a:t>
            </a:r>
            <a:r>
              <a:rPr lang="de-DE" sz="1600" b="1" dirty="0">
                <a:sym typeface="Wingdings" panose="05000000000000000000" pitchFamily="2" charset="2"/>
              </a:rPr>
              <a:t> Test</a:t>
            </a:r>
          </a:p>
          <a:p>
            <a:pPr marL="1085850" lvl="1" indent="-342900"/>
            <a:r>
              <a:rPr lang="de-DE" sz="1600" b="1" dirty="0">
                <a:sym typeface="Wingdings" panose="05000000000000000000" pitchFamily="2" charset="2"/>
              </a:rPr>
              <a:t>Notwendigkeit und Angemessenheit: </a:t>
            </a:r>
            <a:r>
              <a:rPr lang="de-DE" sz="1600" dirty="0">
                <a:sym typeface="Wingdings" panose="05000000000000000000" pitchFamily="2" charset="2"/>
              </a:rPr>
              <a:t>Die Beihilfe muss notwendig sein, um ein Ziel von gemeinsamem Interesse zu erreichen, das nicht durch andere, weniger wettbewerbsverzerrende Maßnahmen erreicht werden kann.</a:t>
            </a:r>
          </a:p>
          <a:p>
            <a:pPr marL="1085850" lvl="1" indent="-342900"/>
            <a:r>
              <a:rPr lang="de-DE" sz="1600" b="1" dirty="0">
                <a:sym typeface="Wingdings" panose="05000000000000000000" pitchFamily="2" charset="2"/>
              </a:rPr>
              <a:t>Begrenzung der Auswirkungen auf den Wettbewerb: </a:t>
            </a:r>
            <a:r>
              <a:rPr lang="de-DE" sz="1600" dirty="0">
                <a:sym typeface="Wingdings" panose="05000000000000000000" pitchFamily="2" charset="2"/>
              </a:rPr>
              <a:t>Die Beihilfe darf den Wettbewerb und den Handel zwischen den EU-Mitgliedstaaten nicht in einer Weise beeinträchtigen, die dem gemeinsamen Interesse der EU schadet. Sie muss verhältnismäßig sein, das heißt, sie sollte nicht größer sein als nötig.</a:t>
            </a:r>
          </a:p>
          <a:p>
            <a:pPr marL="1085850" lvl="1" indent="-342900"/>
            <a:r>
              <a:rPr lang="de-DE" sz="1600" b="1" dirty="0">
                <a:sym typeface="Wingdings" panose="05000000000000000000" pitchFamily="2" charset="2"/>
              </a:rPr>
              <a:t>Transparenz: </a:t>
            </a:r>
            <a:r>
              <a:rPr lang="de-DE" sz="1600" dirty="0">
                <a:sym typeface="Wingdings" panose="05000000000000000000" pitchFamily="2" charset="2"/>
              </a:rPr>
              <a:t>Die Bedingungen und Empfänger der Beihilfe müssen transparent sein, damit überprüft werden kann, ob die Beihilfe die festgelegten Kriterien erfüllt.</a:t>
            </a:r>
          </a:p>
          <a:p>
            <a:pPr marL="1085850" lvl="1" indent="-342900"/>
            <a:r>
              <a:rPr lang="de-DE" sz="1600" b="1" dirty="0">
                <a:sym typeface="Wingdings" panose="05000000000000000000" pitchFamily="2" charset="2"/>
              </a:rPr>
              <a:t>Wirkung auf die Wettbewerbsbedingungen: </a:t>
            </a:r>
            <a:r>
              <a:rPr lang="de-DE" sz="1600" dirty="0">
                <a:sym typeface="Wingdings" panose="05000000000000000000" pitchFamily="2" charset="2"/>
              </a:rPr>
              <a:t>Die positiven Wirkungen der Beihilfe auf das allgemeine Interesse müssen die negativen Auswirkungen auf den Wettbewerb innerhalb des Binnenmarkts überwiegen.</a:t>
            </a:r>
            <a:endParaRPr lang="de-DE" sz="1600" dirty="0"/>
          </a:p>
          <a:p>
            <a:endParaRPr lang="de-DE" sz="1600" dirty="0"/>
          </a:p>
        </p:txBody>
      </p:sp>
    </p:spTree>
    <p:extLst>
      <p:ext uri="{BB962C8B-B14F-4D97-AF65-F5344CB8AC3E}">
        <p14:creationId xmlns:p14="http://schemas.microsoft.com/office/powerpoint/2010/main" val="31426383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F0D2D-5084-A2FA-079D-0BABAAAE8489}"/>
              </a:ext>
            </a:extLst>
          </p:cNvPr>
          <p:cNvSpPr>
            <a:spLocks noGrp="1"/>
          </p:cNvSpPr>
          <p:nvPr>
            <p:ph type="title"/>
          </p:nvPr>
        </p:nvSpPr>
        <p:spPr/>
        <p:txBody>
          <a:bodyPr/>
          <a:lstStyle/>
          <a:p>
            <a:r>
              <a:rPr lang="de-DE"/>
              <a:t>Die förmliche </a:t>
            </a:r>
            <a:r>
              <a:rPr lang="de-DE" dirty="0"/>
              <a:t>Beihilfekontrolle</a:t>
            </a:r>
            <a:endParaRPr lang="en-IE" dirty="0"/>
          </a:p>
        </p:txBody>
      </p:sp>
      <p:sp>
        <p:nvSpPr>
          <p:cNvPr id="3" name="Content Placeholder 2">
            <a:extLst>
              <a:ext uri="{FF2B5EF4-FFF2-40B4-BE49-F238E27FC236}">
                <a16:creationId xmlns:a16="http://schemas.microsoft.com/office/drawing/2014/main" id="{72221465-075E-333B-799D-48B21F144048}"/>
              </a:ext>
            </a:extLst>
          </p:cNvPr>
          <p:cNvSpPr>
            <a:spLocks noGrp="1"/>
          </p:cNvSpPr>
          <p:nvPr>
            <p:ph idx="1"/>
          </p:nvPr>
        </p:nvSpPr>
        <p:spPr>
          <a:xfrm>
            <a:off x="743198" y="1182030"/>
            <a:ext cx="10515600" cy="5154138"/>
          </a:xfrm>
        </p:spPr>
        <p:txBody>
          <a:bodyPr/>
          <a:lstStyle/>
          <a:p>
            <a:pPr marL="342900" indent="-342900">
              <a:buFont typeface="Arial" panose="020B0604020202020204" pitchFamily="34" charset="0"/>
              <a:buChar char="•"/>
            </a:pPr>
            <a:r>
              <a:rPr lang="de-DE" dirty="0"/>
              <a:t>Das Prüfungsmonopol liegt bei der Kommission:</a:t>
            </a:r>
          </a:p>
          <a:p>
            <a:pPr marL="1085850" lvl="1" indent="-342900"/>
            <a:r>
              <a:rPr lang="de-DE" sz="2000" dirty="0"/>
              <a:t>Angemeldete Beihilfen </a:t>
            </a:r>
            <a:r>
              <a:rPr lang="de-DE" sz="2000" b="1" dirty="0"/>
              <a:t>muss</a:t>
            </a:r>
            <a:r>
              <a:rPr lang="de-DE" sz="2000" dirty="0"/>
              <a:t> die Kommission genehmigen oder als rechtswidrig zurückweisen.</a:t>
            </a:r>
          </a:p>
          <a:p>
            <a:pPr marL="1085850" lvl="1" indent="-342900"/>
            <a:r>
              <a:rPr lang="de-DE" sz="2000" dirty="0"/>
              <a:t>Nicht angemeldete Beihilfen kann die Kommission ex-officio prüfen.</a:t>
            </a:r>
          </a:p>
          <a:p>
            <a:pPr marL="1085850" lvl="1" indent="-342900"/>
            <a:r>
              <a:rPr lang="de-DE" sz="2000" dirty="0"/>
              <a:t>Nicht angemeldete und rechtswidrige Beihilfen sind zu erstatten.</a:t>
            </a:r>
          </a:p>
          <a:p>
            <a:pPr marL="342900" indent="-342900">
              <a:buFont typeface="Arial" panose="020B0604020202020204" pitchFamily="34" charset="0"/>
              <a:buChar char="•"/>
            </a:pPr>
            <a:r>
              <a:rPr lang="de-DE" dirty="0"/>
              <a:t>Da alle auf dem EU-Markt tätigen Wettbewerber </a:t>
            </a:r>
            <a:r>
              <a:rPr lang="de-DE" b="1" dirty="0"/>
              <a:t>eine gerichtliche Aufhebung </a:t>
            </a:r>
            <a:r>
              <a:rPr lang="de-DE" dirty="0"/>
              <a:t>der Genehmigung einer staatlichen Beihilfe beantragen können, ist eine detaillierte Prüfung im Interesse der Beihilfeempfänger.</a:t>
            </a:r>
          </a:p>
          <a:p>
            <a:pPr marL="342900" indent="-342900">
              <a:buFont typeface="Arial" panose="020B0604020202020204" pitchFamily="34" charset="0"/>
              <a:buChar char="•"/>
            </a:pPr>
            <a:r>
              <a:rPr lang="de-DE" altLang="en-US" dirty="0">
                <a:cs typeface="Calibri" panose="020F0502020204030204" pitchFamily="34" charset="0"/>
              </a:rPr>
              <a:t>Beilhilfekontrolle ist ein förmliches Verfahren und führt zu einer Entscheidung (formal: Beschluss) gegen einen Mitgliedsstaat:</a:t>
            </a:r>
          </a:p>
          <a:p>
            <a:pPr lvl="1" indent="-285750">
              <a:spcBef>
                <a:spcPts val="600"/>
              </a:spcBef>
              <a:spcAft>
                <a:spcPts val="600"/>
              </a:spcAft>
              <a:defRPr/>
            </a:pPr>
            <a:r>
              <a:rPr lang="de-DE" altLang="en-US" sz="2000" b="1" dirty="0">
                <a:solidFill>
                  <a:srgbClr val="00B050"/>
                </a:solidFill>
                <a:cs typeface="Calibri" panose="020F0502020204030204" pitchFamily="34" charset="0"/>
              </a:rPr>
              <a:t>Positive Entscheidung</a:t>
            </a:r>
            <a:r>
              <a:rPr lang="de-DE" altLang="en-US" sz="2000" dirty="0">
                <a:cs typeface="Calibri" panose="020F0502020204030204" pitchFamily="34" charset="0"/>
              </a:rPr>
              <a:t>: es liegt keine Beihilfe vor („</a:t>
            </a:r>
            <a:r>
              <a:rPr lang="de-DE" altLang="en-US" sz="2000" i="1" dirty="0" err="1">
                <a:cs typeface="Calibri" panose="020F0502020204030204" pitchFamily="34" charset="0"/>
              </a:rPr>
              <a:t>No</a:t>
            </a:r>
            <a:r>
              <a:rPr lang="de-DE" altLang="en-US" sz="2000" i="1" dirty="0">
                <a:cs typeface="Calibri" panose="020F0502020204030204" pitchFamily="34" charset="0"/>
              </a:rPr>
              <a:t> </a:t>
            </a:r>
            <a:r>
              <a:rPr lang="de-DE" altLang="en-US" sz="2000" i="1" dirty="0" err="1">
                <a:cs typeface="Calibri" panose="020F0502020204030204" pitchFamily="34" charset="0"/>
              </a:rPr>
              <a:t>aid</a:t>
            </a:r>
            <a:r>
              <a:rPr lang="de-DE" altLang="en-US" sz="2000" dirty="0">
                <a:cs typeface="Calibri" panose="020F0502020204030204" pitchFamily="34" charset="0"/>
              </a:rPr>
              <a:t>“) </a:t>
            </a:r>
            <a:r>
              <a:rPr lang="de-DE" altLang="en-US" sz="2000" b="1" u="sng" dirty="0">
                <a:cs typeface="Calibri" panose="020F0502020204030204" pitchFamily="34" charset="0"/>
              </a:rPr>
              <a:t>oder</a:t>
            </a:r>
            <a:r>
              <a:rPr lang="de-DE" altLang="en-US" sz="2000" dirty="0">
                <a:cs typeface="Calibri" panose="020F0502020204030204" pitchFamily="34" charset="0"/>
              </a:rPr>
              <a:t> die staatliche Beihilfe ist mit dem Binnenmarkt vereinbar</a:t>
            </a:r>
            <a:r>
              <a:rPr lang="de-DE" altLang="en-US" sz="2000">
                <a:cs typeface="Calibri" panose="020F0502020204030204" pitchFamily="34" charset="0"/>
              </a:rPr>
              <a:t>.</a:t>
            </a:r>
            <a:endParaRPr lang="de-DE" altLang="en-US" sz="2000" dirty="0">
              <a:cs typeface="Calibri" panose="020F0502020204030204" pitchFamily="34" charset="0"/>
            </a:endParaRPr>
          </a:p>
          <a:p>
            <a:pPr lvl="1" indent="-285750">
              <a:spcBef>
                <a:spcPts val="600"/>
              </a:spcBef>
              <a:spcAft>
                <a:spcPts val="600"/>
              </a:spcAft>
              <a:defRPr/>
            </a:pPr>
            <a:r>
              <a:rPr lang="de-DE" altLang="en-US" sz="2000" b="1" dirty="0">
                <a:solidFill>
                  <a:srgbClr val="FF0000"/>
                </a:solidFill>
                <a:cs typeface="Calibri" panose="020F0502020204030204" pitchFamily="34" charset="0"/>
              </a:rPr>
              <a:t>Negative Entscheidung</a:t>
            </a:r>
            <a:r>
              <a:rPr lang="de-DE" altLang="en-US" sz="2000" dirty="0">
                <a:cs typeface="Calibri" panose="020F0502020204030204" pitchFamily="34" charset="0"/>
              </a:rPr>
              <a:t>: Die Beihilfe ist mit dem Binnenmarkt nicht vereinbar. Diese Entscheidung ist mit Rückforderungen verbunden, falls die Beihilfe schon gewährt wurde.</a:t>
            </a:r>
            <a:endParaRPr lang="pl-PL" altLang="en-US" sz="2000" dirty="0">
              <a:cs typeface="Calibri" panose="020F0502020204030204" pitchFamily="34" charset="0"/>
            </a:endParaRPr>
          </a:p>
          <a:p>
            <a:pPr lvl="1" indent="-285750">
              <a:spcBef>
                <a:spcPts val="0"/>
              </a:spcBef>
              <a:spcAft>
                <a:spcPts val="0"/>
              </a:spcAft>
              <a:defRPr/>
            </a:pPr>
            <a:endParaRPr lang="de-DE" altLang="en-US" sz="1600" dirty="0">
              <a:cs typeface="Calibri" panose="020F0502020204030204" pitchFamily="34" charset="0"/>
            </a:endParaRPr>
          </a:p>
        </p:txBody>
      </p:sp>
    </p:spTree>
    <p:extLst>
      <p:ext uri="{BB962C8B-B14F-4D97-AF65-F5344CB8AC3E}">
        <p14:creationId xmlns:p14="http://schemas.microsoft.com/office/powerpoint/2010/main" val="14651897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EB0C5-29C4-4ED4-36B9-4E4CEBE77183}"/>
              </a:ext>
            </a:extLst>
          </p:cNvPr>
          <p:cNvSpPr>
            <a:spLocks noGrp="1"/>
          </p:cNvSpPr>
          <p:nvPr>
            <p:ph type="title"/>
          </p:nvPr>
        </p:nvSpPr>
        <p:spPr>
          <a:xfrm>
            <a:off x="838200" y="3087584"/>
            <a:ext cx="10515600" cy="1164218"/>
          </a:xfrm>
        </p:spPr>
        <p:txBody>
          <a:bodyPr/>
          <a:lstStyle/>
          <a:p>
            <a:r>
              <a:rPr lang="de-DE"/>
              <a:t>Wichtige Vorhaben von gemeinsamem europäischem Interesse</a:t>
            </a:r>
            <a:endParaRPr lang="en-IE"/>
          </a:p>
        </p:txBody>
      </p:sp>
      <p:sp>
        <p:nvSpPr>
          <p:cNvPr id="3" name="Content Placeholder 2">
            <a:extLst>
              <a:ext uri="{FF2B5EF4-FFF2-40B4-BE49-F238E27FC236}">
                <a16:creationId xmlns:a16="http://schemas.microsoft.com/office/drawing/2014/main" id="{F8644048-6198-9C72-DBD6-F6F723497203}"/>
              </a:ext>
            </a:extLst>
          </p:cNvPr>
          <p:cNvSpPr>
            <a:spLocks noGrp="1"/>
          </p:cNvSpPr>
          <p:nvPr>
            <p:ph sz="quarter" idx="11"/>
          </p:nvPr>
        </p:nvSpPr>
        <p:spPr/>
        <p:txBody>
          <a:bodyPr/>
          <a:lstStyle/>
          <a:p>
            <a:r>
              <a:rPr lang="en-US"/>
              <a:t>Important Projects of Common European Interest (IPCEI)</a:t>
            </a:r>
            <a:endParaRPr lang="en-IE"/>
          </a:p>
        </p:txBody>
      </p:sp>
    </p:spTree>
    <p:extLst>
      <p:ext uri="{BB962C8B-B14F-4D97-AF65-F5344CB8AC3E}">
        <p14:creationId xmlns:p14="http://schemas.microsoft.com/office/powerpoint/2010/main" val="7369091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F9824-484E-4F34-693E-FC6E6C61BAED}"/>
              </a:ext>
            </a:extLst>
          </p:cNvPr>
          <p:cNvSpPr>
            <a:spLocks noGrp="1"/>
          </p:cNvSpPr>
          <p:nvPr>
            <p:ph type="title"/>
          </p:nvPr>
        </p:nvSpPr>
        <p:spPr/>
        <p:txBody>
          <a:bodyPr/>
          <a:lstStyle/>
          <a:p>
            <a:r>
              <a:rPr lang="en-IE"/>
              <a:t>Wie </a:t>
            </a:r>
            <a:r>
              <a:rPr lang="en-IE" err="1"/>
              <a:t>funktioniert</a:t>
            </a:r>
            <a:r>
              <a:rPr lang="en-IE"/>
              <a:t> das IPCEI-</a:t>
            </a:r>
            <a:r>
              <a:rPr lang="en-IE" err="1"/>
              <a:t>Verfahren</a:t>
            </a:r>
            <a:r>
              <a:rPr lang="en-IE"/>
              <a:t>?</a:t>
            </a:r>
          </a:p>
        </p:txBody>
      </p:sp>
      <p:graphicFrame>
        <p:nvGraphicFramePr>
          <p:cNvPr id="4" name="Content Placeholder 3">
            <a:extLst>
              <a:ext uri="{FF2B5EF4-FFF2-40B4-BE49-F238E27FC236}">
                <a16:creationId xmlns:a16="http://schemas.microsoft.com/office/drawing/2014/main" id="{0FF7C458-1407-EA45-5D86-09727B591EF5}"/>
              </a:ext>
            </a:extLst>
          </p:cNvPr>
          <p:cNvGraphicFramePr>
            <a:graphicFrameLocks noGrp="1"/>
          </p:cNvGraphicFramePr>
          <p:nvPr>
            <p:ph idx="1"/>
            <p:extLst/>
          </p:nvPr>
        </p:nvGraphicFramePr>
        <p:xfrm>
          <a:off x="910628" y="1880097"/>
          <a:ext cx="10515600" cy="27349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4">
            <a:extLst>
              <a:ext uri="{FF2B5EF4-FFF2-40B4-BE49-F238E27FC236}">
                <a16:creationId xmlns:a16="http://schemas.microsoft.com/office/drawing/2014/main" id="{00EB1924-A391-B057-BE8A-F77854A3951D}"/>
              </a:ext>
            </a:extLst>
          </p:cNvPr>
          <p:cNvPicPr>
            <a:picLocks noChangeAspect="1"/>
          </p:cNvPicPr>
          <p:nvPr/>
        </p:nvPicPr>
        <p:blipFill>
          <a:blip r:embed="rId7"/>
          <a:stretch>
            <a:fillRect/>
          </a:stretch>
        </p:blipFill>
        <p:spPr>
          <a:xfrm>
            <a:off x="1136911" y="1022291"/>
            <a:ext cx="2593117" cy="1502829"/>
          </a:xfrm>
          <a:prstGeom prst="rect">
            <a:avLst/>
          </a:prstGeom>
        </p:spPr>
      </p:pic>
      <p:pic>
        <p:nvPicPr>
          <p:cNvPr id="6" name="Picture 5">
            <a:extLst>
              <a:ext uri="{FF2B5EF4-FFF2-40B4-BE49-F238E27FC236}">
                <a16:creationId xmlns:a16="http://schemas.microsoft.com/office/drawing/2014/main" id="{9E55F2A7-618D-4565-C8E0-75C2298ED3D5}"/>
              </a:ext>
            </a:extLst>
          </p:cNvPr>
          <p:cNvPicPr>
            <a:picLocks noChangeAspect="1"/>
          </p:cNvPicPr>
          <p:nvPr/>
        </p:nvPicPr>
        <p:blipFill>
          <a:blip r:embed="rId8"/>
          <a:stretch>
            <a:fillRect/>
          </a:stretch>
        </p:blipFill>
        <p:spPr>
          <a:xfrm>
            <a:off x="4520089" y="1170518"/>
            <a:ext cx="2593117" cy="1323331"/>
          </a:xfrm>
          <a:prstGeom prst="rect">
            <a:avLst/>
          </a:prstGeom>
        </p:spPr>
      </p:pic>
      <p:pic>
        <p:nvPicPr>
          <p:cNvPr id="7" name="Picture 6">
            <a:extLst>
              <a:ext uri="{FF2B5EF4-FFF2-40B4-BE49-F238E27FC236}">
                <a16:creationId xmlns:a16="http://schemas.microsoft.com/office/drawing/2014/main" id="{A2D5E726-2E19-0782-9AFE-526F94CEF4F8}"/>
              </a:ext>
            </a:extLst>
          </p:cNvPr>
          <p:cNvPicPr>
            <a:picLocks noChangeAspect="1"/>
          </p:cNvPicPr>
          <p:nvPr/>
        </p:nvPicPr>
        <p:blipFill>
          <a:blip r:embed="rId9"/>
          <a:stretch>
            <a:fillRect/>
          </a:stretch>
        </p:blipFill>
        <p:spPr>
          <a:xfrm>
            <a:off x="8139066" y="963813"/>
            <a:ext cx="2272420" cy="1619786"/>
          </a:xfrm>
          <a:prstGeom prst="rect">
            <a:avLst/>
          </a:prstGeom>
        </p:spPr>
      </p:pic>
      <p:sp>
        <p:nvSpPr>
          <p:cNvPr id="8" name="Rectangle: Rounded Corners 7">
            <a:extLst>
              <a:ext uri="{FF2B5EF4-FFF2-40B4-BE49-F238E27FC236}">
                <a16:creationId xmlns:a16="http://schemas.microsoft.com/office/drawing/2014/main" id="{C1D681C4-733E-2F5F-B035-44C84D7A67CD}"/>
              </a:ext>
            </a:extLst>
          </p:cNvPr>
          <p:cNvSpPr/>
          <p:nvPr/>
        </p:nvSpPr>
        <p:spPr>
          <a:xfrm>
            <a:off x="838200" y="3989070"/>
            <a:ext cx="10515600" cy="229743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E" sz="1400" b="0" i="0" u="none" strike="noStrike" kern="0" cap="none" spc="0" normalizeH="0" baseline="0" noProof="0">
              <a:ln>
                <a:noFill/>
              </a:ln>
              <a:solidFill>
                <a:prstClr val="white"/>
              </a:solidFill>
              <a:effectLst/>
              <a:uLnTx/>
              <a:uFillTx/>
              <a:latin typeface="Arial"/>
              <a:ea typeface="+mn-ea"/>
              <a:cs typeface="+mn-cs"/>
              <a:sym typeface="Arial"/>
            </a:endParaRPr>
          </a:p>
        </p:txBody>
      </p:sp>
      <p:sp>
        <p:nvSpPr>
          <p:cNvPr id="9" name="TextBox 8">
            <a:extLst>
              <a:ext uri="{FF2B5EF4-FFF2-40B4-BE49-F238E27FC236}">
                <a16:creationId xmlns:a16="http://schemas.microsoft.com/office/drawing/2014/main" id="{BACF48AA-7FEE-57D8-7EE6-EBA018EE50C8}"/>
              </a:ext>
            </a:extLst>
          </p:cNvPr>
          <p:cNvSpPr txBox="1"/>
          <p:nvPr/>
        </p:nvSpPr>
        <p:spPr>
          <a:xfrm>
            <a:off x="713133" y="3951579"/>
            <a:ext cx="10114812" cy="2998385"/>
          </a:xfrm>
          <a:prstGeom prst="rect">
            <a:avLst/>
          </a:prstGeom>
          <a:noFill/>
        </p:spPr>
        <p:txBody>
          <a:bodyPr wrap="square" rtlCol="0">
            <a:spAutoFit/>
          </a:bodyPr>
          <a:lstStyle/>
          <a:p>
            <a:pPr marL="342900" marR="0" lvl="0" indent="-342900" algn="l" defTabSz="914400" rtl="0" eaLnBrk="1" fontAlgn="auto" latinLnBrk="0" hangingPunct="1">
              <a:lnSpc>
                <a:spcPct val="115000"/>
              </a:lnSpc>
              <a:spcBef>
                <a:spcPts val="0"/>
              </a:spcBef>
              <a:spcAft>
                <a:spcPts val="600"/>
              </a:spcAft>
              <a:buClr>
                <a:srgbClr val="000000"/>
              </a:buClr>
              <a:buSzTx/>
              <a:buFont typeface="Arial" panose="020B0604020202020204" pitchFamily="34" charset="0"/>
              <a:buChar char="•"/>
              <a:tabLst>
                <a:tab pos="457200" algn="l"/>
              </a:tabLst>
              <a:defRPr/>
            </a:pPr>
            <a:r>
              <a:rPr kumimoji="0" lang="de-DE" sz="1800" b="0" i="0" u="none" strike="noStrike" kern="100" cap="none" spc="0" normalizeH="0" baseline="0" noProof="0">
                <a:ln>
                  <a:noFill/>
                </a:ln>
                <a:solidFill>
                  <a:srgbClr val="000000"/>
                </a:solidFill>
                <a:effectLst/>
                <a:uLnTx/>
                <a:uFillTx/>
                <a:latin typeface="Arial"/>
                <a:ea typeface="Aptos" panose="020B0004020202020204" pitchFamily="34" charset="0"/>
                <a:cs typeface="Times New Roman" panose="02020603050405020304" pitchFamily="18" charset="0"/>
                <a:sym typeface="Arial"/>
              </a:rPr>
              <a:t>Mindestens </a:t>
            </a:r>
            <a:r>
              <a:rPr kumimoji="0" lang="de-DE" sz="1800" b="1" i="0" u="none" strike="noStrike" kern="100" cap="none" spc="0" normalizeH="0" baseline="0" noProof="0">
                <a:ln>
                  <a:noFill/>
                </a:ln>
                <a:solidFill>
                  <a:srgbClr val="000000"/>
                </a:solidFill>
                <a:effectLst/>
                <a:uLnTx/>
                <a:uFillTx/>
                <a:latin typeface="Arial"/>
                <a:ea typeface="Aptos" panose="020B0004020202020204" pitchFamily="34" charset="0"/>
                <a:cs typeface="Times New Roman" panose="02020603050405020304" pitchFamily="18" charset="0"/>
                <a:sym typeface="Arial"/>
              </a:rPr>
              <a:t>vier Mitgliedstaaten</a:t>
            </a:r>
            <a:r>
              <a:rPr kumimoji="0" lang="de-DE" sz="1800" b="0" i="0" u="none" strike="noStrike" kern="100" cap="none" spc="0" normalizeH="0" baseline="0" noProof="0">
                <a:ln>
                  <a:noFill/>
                </a:ln>
                <a:solidFill>
                  <a:srgbClr val="000000"/>
                </a:solidFill>
                <a:effectLst/>
                <a:uLnTx/>
                <a:uFillTx/>
                <a:latin typeface="Arial"/>
                <a:ea typeface="Aptos" panose="020B0004020202020204" pitchFamily="34" charset="0"/>
                <a:cs typeface="Times New Roman" panose="02020603050405020304" pitchFamily="18" charset="0"/>
                <a:sym typeface="Arial"/>
              </a:rPr>
              <a:t>, die sich am IPCEI beteiligen</a:t>
            </a:r>
          </a:p>
          <a:p>
            <a:pPr marL="342900" marR="0" lvl="0" indent="-342900" algn="l" defTabSz="914400" rtl="0" eaLnBrk="1" fontAlgn="auto" latinLnBrk="0" hangingPunct="1">
              <a:lnSpc>
                <a:spcPct val="115000"/>
              </a:lnSpc>
              <a:spcBef>
                <a:spcPts val="0"/>
              </a:spcBef>
              <a:spcAft>
                <a:spcPts val="600"/>
              </a:spcAft>
              <a:buClr>
                <a:srgbClr val="000000"/>
              </a:buClr>
              <a:buSzTx/>
              <a:buFont typeface="Arial" panose="020B0604020202020204" pitchFamily="34" charset="0"/>
              <a:buChar char="•"/>
              <a:tabLst>
                <a:tab pos="457200" algn="l"/>
              </a:tabLst>
              <a:defRPr/>
            </a:pPr>
            <a:r>
              <a:rPr kumimoji="0" lang="de-DE" sz="1800" b="0" i="0" u="none" strike="noStrike" kern="100" cap="none" spc="0" normalizeH="0" baseline="0" noProof="0">
                <a:ln>
                  <a:noFill/>
                </a:ln>
                <a:solidFill>
                  <a:srgbClr val="000000"/>
                </a:solidFill>
                <a:effectLst/>
                <a:uLnTx/>
                <a:uFillTx/>
                <a:latin typeface="Arial"/>
                <a:ea typeface="Aptos" panose="020B0004020202020204" pitchFamily="34" charset="0"/>
                <a:cs typeface="Times New Roman" panose="02020603050405020304" pitchFamily="18" charset="0"/>
                <a:sym typeface="Arial"/>
              </a:rPr>
              <a:t>Die Mitgliedstaaten stellen sicher, dass:</a:t>
            </a:r>
          </a:p>
          <a:p>
            <a:pPr marL="742950" marR="0" lvl="1" indent="-285750" algn="l" defTabSz="914400" rtl="0" eaLnBrk="1" fontAlgn="auto" latinLnBrk="0" hangingPunct="1">
              <a:lnSpc>
                <a:spcPct val="115000"/>
              </a:lnSpc>
              <a:spcBef>
                <a:spcPts val="0"/>
              </a:spcBef>
              <a:spcAft>
                <a:spcPts val="600"/>
              </a:spcAft>
              <a:buClr>
                <a:srgbClr val="000000"/>
              </a:buClr>
              <a:buSzTx/>
              <a:buFont typeface="Arial" panose="020B0604020202020204" pitchFamily="34" charset="0"/>
              <a:buChar char="•"/>
              <a:tabLst>
                <a:tab pos="914400" algn="l"/>
              </a:tabLst>
              <a:defRPr/>
            </a:pPr>
            <a:r>
              <a:rPr kumimoji="0" lang="de-DE" sz="1600" b="0" i="0" u="none" strike="noStrike" kern="100" cap="none" spc="0" normalizeH="0" baseline="0" noProof="0">
                <a:ln>
                  <a:noFill/>
                </a:ln>
                <a:solidFill>
                  <a:srgbClr val="000000"/>
                </a:solidFill>
                <a:effectLst/>
                <a:uLnTx/>
                <a:uFillTx/>
                <a:latin typeface="Arial"/>
                <a:ea typeface="Aptos" panose="020B0004020202020204" pitchFamily="34" charset="0"/>
                <a:cs typeface="Times New Roman" panose="02020603050405020304" pitchFamily="18" charset="0"/>
                <a:sym typeface="Arial"/>
              </a:rPr>
              <a:t>alle Projekte zusammen </a:t>
            </a:r>
            <a:r>
              <a:rPr kumimoji="0" lang="de-DE" sz="1600" b="1" i="0" u="none" strike="noStrike" kern="100" cap="none" spc="0" normalizeH="0" baseline="0" noProof="0">
                <a:ln>
                  <a:noFill/>
                </a:ln>
                <a:solidFill>
                  <a:srgbClr val="000000"/>
                </a:solidFill>
                <a:effectLst/>
                <a:uLnTx/>
                <a:uFillTx/>
                <a:latin typeface="Arial"/>
                <a:ea typeface="Aptos" panose="020B0004020202020204" pitchFamily="34" charset="0"/>
                <a:cs typeface="Times New Roman" panose="02020603050405020304" pitchFamily="18" charset="0"/>
                <a:sym typeface="Arial"/>
              </a:rPr>
              <a:t>ein integriertes grenzüberschreitendes IPCEI</a:t>
            </a:r>
            <a:r>
              <a:rPr kumimoji="0" lang="de-DE" sz="1600" b="0" i="0" u="none" strike="noStrike" kern="100" cap="none" spc="0" normalizeH="0" baseline="0" noProof="0">
                <a:ln>
                  <a:noFill/>
                </a:ln>
                <a:solidFill>
                  <a:srgbClr val="000000"/>
                </a:solidFill>
                <a:effectLst/>
                <a:uLnTx/>
                <a:uFillTx/>
                <a:latin typeface="Arial"/>
                <a:ea typeface="Aptos" panose="020B0004020202020204" pitchFamily="34" charset="0"/>
                <a:cs typeface="Times New Roman" panose="02020603050405020304" pitchFamily="18" charset="0"/>
                <a:sym typeface="Arial"/>
              </a:rPr>
              <a:t> bilden, </a:t>
            </a:r>
          </a:p>
          <a:p>
            <a:pPr marL="742950" marR="0" lvl="1" indent="-285750" algn="l" defTabSz="914400" rtl="0" eaLnBrk="1" fontAlgn="auto" latinLnBrk="0" hangingPunct="1">
              <a:lnSpc>
                <a:spcPct val="115000"/>
              </a:lnSpc>
              <a:spcBef>
                <a:spcPts val="0"/>
              </a:spcBef>
              <a:spcAft>
                <a:spcPts val="600"/>
              </a:spcAft>
              <a:buClr>
                <a:srgbClr val="000000"/>
              </a:buClr>
              <a:buSzTx/>
              <a:buFont typeface="Arial" panose="020B0604020202020204" pitchFamily="34" charset="0"/>
              <a:buChar char="•"/>
              <a:tabLst>
                <a:tab pos="914400" algn="l"/>
              </a:tabLst>
              <a:defRPr/>
            </a:pPr>
            <a:r>
              <a:rPr kumimoji="0" lang="de-DE" sz="1600" b="0" i="0" u="none" strike="noStrike" kern="100" cap="none" spc="0" normalizeH="0" baseline="0" noProof="0">
                <a:ln>
                  <a:noFill/>
                </a:ln>
                <a:solidFill>
                  <a:srgbClr val="000000"/>
                </a:solidFill>
                <a:effectLst/>
                <a:uLnTx/>
                <a:uFillTx/>
                <a:latin typeface="Arial"/>
                <a:ea typeface="Aptos" panose="020B0004020202020204" pitchFamily="34" charset="0"/>
                <a:cs typeface="Times New Roman" panose="02020603050405020304" pitchFamily="18" charset="0"/>
                <a:sym typeface="Arial"/>
              </a:rPr>
              <a:t>das auf einer </a:t>
            </a:r>
            <a:r>
              <a:rPr kumimoji="0" lang="de-DE" sz="1600" b="1" i="0" u="none" strike="noStrike" kern="100" cap="none" spc="0" normalizeH="0" baseline="0" noProof="0">
                <a:ln>
                  <a:noFill/>
                </a:ln>
                <a:solidFill>
                  <a:srgbClr val="000000"/>
                </a:solidFill>
                <a:effectLst/>
                <a:uLnTx/>
                <a:uFillTx/>
                <a:latin typeface="Arial"/>
                <a:ea typeface="Aptos" panose="020B0004020202020204" pitchFamily="34" charset="0"/>
                <a:cs typeface="Times New Roman" panose="02020603050405020304" pitchFamily="18" charset="0"/>
                <a:sym typeface="Arial"/>
              </a:rPr>
              <a:t>gemeinsamen Struktur </a:t>
            </a:r>
            <a:r>
              <a:rPr kumimoji="0" lang="de-DE" sz="1600" b="0" i="0" u="none" strike="noStrike" kern="100" cap="none" spc="0" normalizeH="0" baseline="0" noProof="0">
                <a:ln>
                  <a:noFill/>
                </a:ln>
                <a:solidFill>
                  <a:srgbClr val="000000"/>
                </a:solidFill>
                <a:effectLst/>
                <a:uLnTx/>
                <a:uFillTx/>
                <a:latin typeface="Arial"/>
                <a:ea typeface="Aptos" panose="020B0004020202020204" pitchFamily="34" charset="0"/>
                <a:cs typeface="Times New Roman" panose="02020603050405020304" pitchFamily="18" charset="0"/>
                <a:sym typeface="Arial"/>
              </a:rPr>
              <a:t>beruht und </a:t>
            </a:r>
          </a:p>
          <a:p>
            <a:pPr marL="742950" marR="0" lvl="1" indent="-285750" algn="l" defTabSz="914400" rtl="0" eaLnBrk="1" fontAlgn="auto" latinLnBrk="0" hangingPunct="1">
              <a:lnSpc>
                <a:spcPct val="115000"/>
              </a:lnSpc>
              <a:spcBef>
                <a:spcPts val="0"/>
              </a:spcBef>
              <a:spcAft>
                <a:spcPts val="600"/>
              </a:spcAft>
              <a:buClr>
                <a:srgbClr val="000000"/>
              </a:buClr>
              <a:buSzTx/>
              <a:buFont typeface="Arial" panose="020B0604020202020204" pitchFamily="34" charset="0"/>
              <a:buChar char="•"/>
              <a:tabLst>
                <a:tab pos="914400" algn="l"/>
              </a:tabLst>
              <a:defRPr/>
            </a:pPr>
            <a:r>
              <a:rPr kumimoji="0" lang="de-DE" sz="1600" b="0" i="0" u="none" strike="noStrike" kern="100" cap="none" spc="0" normalizeH="0" baseline="0" noProof="0">
                <a:ln>
                  <a:noFill/>
                </a:ln>
                <a:solidFill>
                  <a:srgbClr val="000000"/>
                </a:solidFill>
                <a:effectLst/>
                <a:uLnTx/>
                <a:uFillTx/>
                <a:latin typeface="Arial"/>
                <a:ea typeface="Aptos" panose="020B0004020202020204" pitchFamily="34" charset="0"/>
                <a:cs typeface="Times New Roman" panose="02020603050405020304" pitchFamily="18" charset="0"/>
                <a:sym typeface="Arial"/>
              </a:rPr>
              <a:t>innerhalb eines </a:t>
            </a:r>
            <a:r>
              <a:rPr kumimoji="0" lang="de-DE" sz="1600" b="1" i="0" u="none" strike="noStrike" kern="100" cap="none" spc="0" normalizeH="0" baseline="0" noProof="0">
                <a:ln>
                  <a:noFill/>
                </a:ln>
                <a:solidFill>
                  <a:srgbClr val="000000"/>
                </a:solidFill>
                <a:effectLst/>
                <a:uLnTx/>
                <a:uFillTx/>
                <a:latin typeface="Arial"/>
                <a:ea typeface="Aptos" panose="020B0004020202020204" pitchFamily="34" charset="0"/>
                <a:cs typeface="Times New Roman" panose="02020603050405020304" pitchFamily="18" charset="0"/>
                <a:sym typeface="Arial"/>
              </a:rPr>
              <a:t>koordinierten Zeitplans </a:t>
            </a:r>
            <a:r>
              <a:rPr kumimoji="0" lang="de-DE" sz="1600" b="0" i="0" u="none" strike="noStrike" kern="100" cap="none" spc="0" normalizeH="0" baseline="0" noProof="0">
                <a:ln>
                  <a:noFill/>
                </a:ln>
                <a:solidFill>
                  <a:srgbClr val="000000"/>
                </a:solidFill>
                <a:effectLst/>
                <a:uLnTx/>
                <a:uFillTx/>
                <a:latin typeface="Arial"/>
                <a:ea typeface="Aptos" panose="020B0004020202020204" pitchFamily="34" charset="0"/>
                <a:cs typeface="Times New Roman" panose="02020603050405020304" pitchFamily="18" charset="0"/>
                <a:sym typeface="Arial"/>
              </a:rPr>
              <a:t>umgesetzt wird. </a:t>
            </a:r>
          </a:p>
          <a:p>
            <a:pPr marL="342900" marR="0" lvl="0" indent="-342900" algn="l" defTabSz="914400" rtl="0" eaLnBrk="1" fontAlgn="auto" latinLnBrk="0" hangingPunct="1">
              <a:lnSpc>
                <a:spcPct val="115000"/>
              </a:lnSpc>
              <a:spcBef>
                <a:spcPts val="0"/>
              </a:spcBef>
              <a:spcAft>
                <a:spcPts val="600"/>
              </a:spcAft>
              <a:buClr>
                <a:srgbClr val="000000"/>
              </a:buClr>
              <a:buSzTx/>
              <a:buFont typeface="Arial" panose="020B0604020202020204" pitchFamily="34" charset="0"/>
              <a:buChar char="•"/>
              <a:tabLst>
                <a:tab pos="457200" algn="l"/>
              </a:tabLst>
              <a:defRPr/>
            </a:pPr>
            <a:r>
              <a:rPr kumimoji="0" lang="de-DE" sz="1800" b="1" i="0" u="none" strike="noStrike" kern="100" cap="none" spc="0" normalizeH="0" baseline="0" noProof="0">
                <a:ln>
                  <a:noFill/>
                </a:ln>
                <a:solidFill>
                  <a:srgbClr val="000000"/>
                </a:solidFill>
                <a:effectLst/>
                <a:uLnTx/>
                <a:uFillTx/>
                <a:latin typeface="Arial"/>
                <a:ea typeface="Aptos" panose="020B0004020202020204" pitchFamily="34" charset="0"/>
                <a:cs typeface="Times New Roman" panose="02020603050405020304" pitchFamily="18" charset="0"/>
                <a:sym typeface="Arial"/>
              </a:rPr>
              <a:t>Freistellung kleinerer Vorhaben </a:t>
            </a:r>
            <a:r>
              <a:rPr kumimoji="0" lang="de-DE" sz="1800" b="0" i="0" u="none" strike="noStrike" kern="100" cap="none" spc="0" normalizeH="0" baseline="0" noProof="0">
                <a:ln>
                  <a:noFill/>
                </a:ln>
                <a:solidFill>
                  <a:srgbClr val="000000"/>
                </a:solidFill>
                <a:effectLst/>
                <a:uLnTx/>
                <a:uFillTx/>
                <a:latin typeface="Arial"/>
                <a:ea typeface="Aptos" panose="020B0004020202020204" pitchFamily="34" charset="0"/>
                <a:cs typeface="Times New Roman" panose="02020603050405020304" pitchFamily="18" charset="0"/>
                <a:sym typeface="Arial"/>
              </a:rPr>
              <a:t>von der Anmeldepflicht für staatliche Beihilfen nach der AGVO, die sich jedoch weiterhin als assoziierte oder indirekte Partner im Ökosystem von IPCEI befinden können. </a:t>
            </a:r>
          </a:p>
        </p:txBody>
      </p:sp>
    </p:spTree>
    <p:extLst>
      <p:ext uri="{BB962C8B-B14F-4D97-AF65-F5344CB8AC3E}">
        <p14:creationId xmlns:p14="http://schemas.microsoft.com/office/powerpoint/2010/main" val="29466737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7C660-7E27-1203-3224-1FBBDBB93859}"/>
              </a:ext>
            </a:extLst>
          </p:cNvPr>
          <p:cNvSpPr>
            <a:spLocks noGrp="1"/>
          </p:cNvSpPr>
          <p:nvPr>
            <p:ph type="title"/>
          </p:nvPr>
        </p:nvSpPr>
        <p:spPr/>
        <p:txBody>
          <a:bodyPr/>
          <a:lstStyle/>
          <a:p>
            <a:r>
              <a:rPr lang="de-DE"/>
              <a:t>Rechtsgrundlage</a:t>
            </a:r>
            <a:endParaRPr lang="en-IE"/>
          </a:p>
        </p:txBody>
      </p:sp>
      <p:sp>
        <p:nvSpPr>
          <p:cNvPr id="3" name="Content Placeholder 2">
            <a:extLst>
              <a:ext uri="{FF2B5EF4-FFF2-40B4-BE49-F238E27FC236}">
                <a16:creationId xmlns:a16="http://schemas.microsoft.com/office/drawing/2014/main" id="{2C7D3DC9-E8C8-FD6E-73F3-FEEE91175371}"/>
              </a:ext>
            </a:extLst>
          </p:cNvPr>
          <p:cNvSpPr>
            <a:spLocks noGrp="1"/>
          </p:cNvSpPr>
          <p:nvPr>
            <p:ph idx="1"/>
          </p:nvPr>
        </p:nvSpPr>
        <p:spPr>
          <a:xfrm>
            <a:off x="838200" y="1213934"/>
            <a:ext cx="10515600" cy="1944283"/>
          </a:xfrm>
        </p:spPr>
        <p:txBody>
          <a:bodyPr/>
          <a:lstStyle/>
          <a:p>
            <a:pPr marL="342900" indent="-342900">
              <a:buFont typeface="Arial" panose="020B0604020202020204" pitchFamily="34" charset="0"/>
              <a:buChar char="•"/>
            </a:pPr>
            <a:r>
              <a:rPr lang="de-DE" sz="1800" dirty="0"/>
              <a:t>Artikel 107 Abs. 3 b) AEUV</a:t>
            </a:r>
          </a:p>
          <a:p>
            <a:pPr marL="342900" indent="-342900">
              <a:buFont typeface="Arial" panose="020B0604020202020204" pitchFamily="34" charset="0"/>
              <a:buChar char="•"/>
            </a:pPr>
            <a:r>
              <a:rPr lang="de-DE" sz="1800" dirty="0"/>
              <a:t>IPCEI Mitteilung 2022 </a:t>
            </a:r>
          </a:p>
          <a:p>
            <a:pPr marL="342900" indent="-342900">
              <a:buFont typeface="Arial" panose="020B0604020202020204" pitchFamily="34" charset="0"/>
              <a:buChar char="•"/>
            </a:pPr>
            <a:r>
              <a:rPr lang="de-DE" sz="1800" dirty="0"/>
              <a:t>Hiernach betreffen IPCEI strategische, ehrgeizige, gemeinsam konzipierte, grenzüberschreitende (einzelner oder integrierter) Projekte, mit denen schwerwiegendes Marktversagen behoben und bedeutende </a:t>
            </a:r>
            <a:r>
              <a:rPr lang="de-DE" sz="1800"/>
              <a:t>Spill-over-Effekte</a:t>
            </a:r>
            <a:r>
              <a:rPr lang="de-DE" sz="1800" dirty="0"/>
              <a:t> in ganz Europa erzielt werden sollen.</a:t>
            </a:r>
          </a:p>
          <a:p>
            <a:pPr marL="342900" indent="-342900">
              <a:spcAft>
                <a:spcPts val="1200"/>
              </a:spcAft>
              <a:buFont typeface="Arial" panose="020B0604020202020204" pitchFamily="34" charset="0"/>
              <a:buChar char="•"/>
            </a:pPr>
            <a:r>
              <a:rPr lang="de-DE" sz="1800" dirty="0"/>
              <a:t>Die Mitteilung unterscheidet zwei Kategorien von IPCEI:</a:t>
            </a:r>
          </a:p>
          <a:p>
            <a:endParaRPr lang="en-IE" sz="1600" dirty="0"/>
          </a:p>
        </p:txBody>
      </p:sp>
      <p:grpSp>
        <p:nvGrpSpPr>
          <p:cNvPr id="14" name="Group 13">
            <a:extLst>
              <a:ext uri="{FF2B5EF4-FFF2-40B4-BE49-F238E27FC236}">
                <a16:creationId xmlns:a16="http://schemas.microsoft.com/office/drawing/2014/main" id="{37FA0111-E888-D607-789C-0366F2494708}"/>
              </a:ext>
            </a:extLst>
          </p:cNvPr>
          <p:cNvGrpSpPr/>
          <p:nvPr/>
        </p:nvGrpSpPr>
        <p:grpSpPr>
          <a:xfrm>
            <a:off x="687923" y="3364199"/>
            <a:ext cx="7082409" cy="3373888"/>
            <a:chOff x="905689" y="3318140"/>
            <a:chExt cx="7082409" cy="3373888"/>
          </a:xfrm>
        </p:grpSpPr>
        <p:sp>
          <p:nvSpPr>
            <p:cNvPr id="12" name="Rectangle 11">
              <a:extLst>
                <a:ext uri="{FF2B5EF4-FFF2-40B4-BE49-F238E27FC236}">
                  <a16:creationId xmlns:a16="http://schemas.microsoft.com/office/drawing/2014/main" id="{BCE081DF-2E79-6FAE-E4EC-A3ABD27EE678}"/>
                </a:ext>
              </a:extLst>
            </p:cNvPr>
            <p:cNvSpPr/>
            <p:nvPr/>
          </p:nvSpPr>
          <p:spPr>
            <a:xfrm>
              <a:off x="905689" y="3318140"/>
              <a:ext cx="7082409" cy="317473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E" sz="1400" b="0" i="0" u="none" strike="noStrike" kern="0" cap="none" spc="0" normalizeH="0" baseline="0" noProof="0">
                <a:ln>
                  <a:noFill/>
                </a:ln>
                <a:solidFill>
                  <a:prstClr val="white"/>
                </a:solidFill>
                <a:effectLst/>
                <a:uLnTx/>
                <a:uFillTx/>
                <a:latin typeface="Arial"/>
                <a:ea typeface="+mn-ea"/>
                <a:cs typeface="+mn-cs"/>
                <a:sym typeface="Arial"/>
              </a:endParaRPr>
            </a:p>
          </p:txBody>
        </p:sp>
        <p:grpSp>
          <p:nvGrpSpPr>
            <p:cNvPr id="13" name="Group 12">
              <a:extLst>
                <a:ext uri="{FF2B5EF4-FFF2-40B4-BE49-F238E27FC236}">
                  <a16:creationId xmlns:a16="http://schemas.microsoft.com/office/drawing/2014/main" id="{5FD748DD-318B-6929-2DEC-A68091FB3BDF}"/>
                </a:ext>
              </a:extLst>
            </p:cNvPr>
            <p:cNvGrpSpPr/>
            <p:nvPr/>
          </p:nvGrpSpPr>
          <p:grpSpPr>
            <a:xfrm>
              <a:off x="924560" y="3401235"/>
              <a:ext cx="7039700" cy="3290793"/>
              <a:chOff x="838200" y="3384651"/>
              <a:chExt cx="7039700" cy="3290793"/>
            </a:xfrm>
          </p:grpSpPr>
          <p:sp>
            <p:nvSpPr>
              <p:cNvPr id="6" name="Text Placeholder 7">
                <a:extLst>
                  <a:ext uri="{FF2B5EF4-FFF2-40B4-BE49-F238E27FC236}">
                    <a16:creationId xmlns:a16="http://schemas.microsoft.com/office/drawing/2014/main" id="{CD0CF6D5-9A94-32C9-0040-FE1D2B00A335}"/>
                  </a:ext>
                </a:extLst>
              </p:cNvPr>
              <p:cNvSpPr txBox="1">
                <a:spLocks/>
              </p:cNvSpPr>
              <p:nvPr/>
            </p:nvSpPr>
            <p:spPr>
              <a:xfrm>
                <a:off x="838200" y="3953255"/>
                <a:ext cx="3141663" cy="1836988"/>
              </a:xfrm>
              <a:prstGeom prst="rect">
                <a:avLst/>
              </a:prstGeom>
            </p:spPr>
            <p:txBody>
              <a:bodyPr/>
              <a:lstStyle>
                <a:lvl1pPr marL="342900" indent="-342900" algn="l" defTabSz="914400" rtl="0" eaLnBrk="1" latinLnBrk="0" hangingPunct="1">
                  <a:lnSpc>
                    <a:spcPct val="90000"/>
                  </a:lnSpc>
                  <a:spcBef>
                    <a:spcPts val="1000"/>
                  </a:spcBef>
                  <a:buClr>
                    <a:schemeClr val="tx2"/>
                  </a:buClr>
                  <a:buFont typeface="Arial" panose="020B0604020202020204" pitchFamily="34" charset="0"/>
                  <a:buChar char="•"/>
                  <a:defRPr sz="2000" kern="1200">
                    <a:solidFill>
                      <a:schemeClr val="tx1">
                        <a:lumMod val="95000"/>
                        <a:lumOff val="5000"/>
                      </a:schemeClr>
                    </a:solidFill>
                    <a:latin typeface="+mn-lt"/>
                    <a:ea typeface="+mn-ea"/>
                    <a:cs typeface="+mn-cs"/>
                  </a:defRPr>
                </a:lvl1pPr>
                <a:lvl2pPr marL="742950" indent="-285750"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3399"/>
                  </a:buClr>
                  <a:buSzTx/>
                  <a:buFont typeface="Arial" panose="020B0604020202020204" pitchFamily="34" charset="0"/>
                  <a:buNone/>
                  <a:tabLst/>
                  <a:defRPr sz="1800" b="1"/>
                </a:pPr>
                <a:r>
                  <a:rPr kumimoji="0" lang="de-DE" sz="1600" b="1" i="0" u="none" strike="noStrike" kern="1200" cap="none" spc="0" normalizeH="0" baseline="0" noProof="0">
                    <a:ln>
                      <a:noFill/>
                    </a:ln>
                    <a:solidFill>
                      <a:prstClr val="black">
                        <a:lumMod val="95000"/>
                        <a:lumOff val="5000"/>
                      </a:prstClr>
                    </a:solidFill>
                    <a:effectLst/>
                    <a:uLnTx/>
                    <a:uFillTx/>
                    <a:latin typeface="Arial"/>
                    <a:ea typeface="+mn-ea"/>
                    <a:cs typeface="+mn-cs"/>
                    <a:sym typeface="Arial"/>
                  </a:rPr>
                  <a:t>Punkt 22: FEI </a:t>
                </a:r>
              </a:p>
              <a:p>
                <a:pPr marL="342900" marR="0" lvl="0" indent="-342900" algn="l" defTabSz="914400" rtl="0" eaLnBrk="1" fontAlgn="auto" latinLnBrk="0" hangingPunct="1">
                  <a:lnSpc>
                    <a:spcPct val="90000"/>
                  </a:lnSpc>
                  <a:spcBef>
                    <a:spcPts val="1000"/>
                  </a:spcBef>
                  <a:spcAft>
                    <a:spcPts val="0"/>
                  </a:spcAft>
                  <a:buClr>
                    <a:srgbClr val="003399"/>
                  </a:buClr>
                  <a:buSzTx/>
                  <a:buFont typeface="Arial" panose="020B0604020202020204" pitchFamily="34" charset="0"/>
                  <a:buChar char="•"/>
                  <a:tabLst/>
                  <a:defRPr sz="1800"/>
                </a:pPr>
                <a:r>
                  <a:rPr kumimoji="0" lang="de-DE" sz="1600" b="0" i="0" u="none" strike="noStrike" kern="1200" cap="none" spc="0" normalizeH="0" baseline="0" noProof="0">
                    <a:ln>
                      <a:noFill/>
                    </a:ln>
                    <a:solidFill>
                      <a:prstClr val="black">
                        <a:lumMod val="95000"/>
                        <a:lumOff val="5000"/>
                      </a:prstClr>
                    </a:solidFill>
                    <a:effectLst/>
                    <a:uLnTx/>
                    <a:uFillTx/>
                    <a:latin typeface="Arial"/>
                    <a:ea typeface="+mn-ea"/>
                    <a:cs typeface="+mn-cs"/>
                    <a:sym typeface="Arial"/>
                  </a:rPr>
                  <a:t>Hohe Innovationskraft oder</a:t>
                </a:r>
              </a:p>
              <a:p>
                <a:pPr marL="342900" marR="0" lvl="0" indent="-342900" algn="l" defTabSz="914400" rtl="0" eaLnBrk="1" fontAlgn="auto" latinLnBrk="0" hangingPunct="1">
                  <a:lnSpc>
                    <a:spcPct val="90000"/>
                  </a:lnSpc>
                  <a:spcBef>
                    <a:spcPts val="1000"/>
                  </a:spcBef>
                  <a:spcAft>
                    <a:spcPts val="0"/>
                  </a:spcAft>
                  <a:buClr>
                    <a:srgbClr val="003399"/>
                  </a:buClr>
                  <a:buSzTx/>
                  <a:buFont typeface="Arial" panose="020B0604020202020204" pitchFamily="34" charset="0"/>
                  <a:buChar char="•"/>
                  <a:tabLst/>
                  <a:defRPr sz="1800"/>
                </a:pPr>
                <a:r>
                  <a:rPr kumimoji="0" lang="de-DE" sz="1600" b="0" i="0" u="none" strike="noStrike" kern="1200" cap="none" spc="0" normalizeH="0" baseline="0" noProof="0">
                    <a:ln>
                      <a:noFill/>
                    </a:ln>
                    <a:solidFill>
                      <a:prstClr val="black">
                        <a:lumMod val="95000"/>
                        <a:lumOff val="5000"/>
                      </a:prstClr>
                    </a:solidFill>
                    <a:effectLst/>
                    <a:uLnTx/>
                    <a:uFillTx/>
                    <a:latin typeface="Arial"/>
                    <a:ea typeface="+mn-ea"/>
                    <a:cs typeface="+mn-cs"/>
                    <a:sym typeface="Arial"/>
                  </a:rPr>
                  <a:t>Wesentlicher Mehrwert angesichts des Stands der Technik in diesem Wirtschaftszweig</a:t>
                </a:r>
              </a:p>
              <a:p>
                <a:pPr marL="342900" marR="0" lvl="0" indent="-342900" algn="l" defTabSz="914400" rtl="0" eaLnBrk="1" fontAlgn="auto" latinLnBrk="0" hangingPunct="1">
                  <a:lnSpc>
                    <a:spcPct val="90000"/>
                  </a:lnSpc>
                  <a:spcBef>
                    <a:spcPts val="1000"/>
                  </a:spcBef>
                  <a:spcAft>
                    <a:spcPts val="0"/>
                  </a:spcAft>
                  <a:buClr>
                    <a:srgbClr val="003399"/>
                  </a:buClr>
                  <a:buSzTx/>
                  <a:buFont typeface="Arial" panose="020B0604020202020204" pitchFamily="34" charset="0"/>
                  <a:buChar char="•"/>
                  <a:tabLst/>
                  <a:defRPr/>
                </a:pPr>
                <a:endParaRPr kumimoji="0" lang="de-DE" sz="1600" b="0" i="0" u="none" strike="noStrike" kern="1200" cap="none" spc="0" normalizeH="0" baseline="0" noProof="0">
                  <a:ln>
                    <a:noFill/>
                  </a:ln>
                  <a:solidFill>
                    <a:prstClr val="black">
                      <a:lumMod val="95000"/>
                      <a:lumOff val="5000"/>
                    </a:prstClr>
                  </a:solidFill>
                  <a:effectLst/>
                  <a:uLnTx/>
                  <a:uFillTx/>
                  <a:latin typeface="Arial"/>
                  <a:ea typeface="+mn-ea"/>
                  <a:cs typeface="+mn-cs"/>
                  <a:sym typeface="Arial"/>
                </a:endParaRPr>
              </a:p>
            </p:txBody>
          </p:sp>
          <p:sp>
            <p:nvSpPr>
              <p:cNvPr id="7" name="Text Placeholder 8">
                <a:extLst>
                  <a:ext uri="{FF2B5EF4-FFF2-40B4-BE49-F238E27FC236}">
                    <a16:creationId xmlns:a16="http://schemas.microsoft.com/office/drawing/2014/main" id="{F0CB6ED1-8BDA-C5FD-05F9-7DEBFC8838D6}"/>
                  </a:ext>
                </a:extLst>
              </p:cNvPr>
              <p:cNvSpPr txBox="1">
                <a:spLocks/>
              </p:cNvSpPr>
              <p:nvPr/>
            </p:nvSpPr>
            <p:spPr>
              <a:xfrm>
                <a:off x="3848458" y="3953255"/>
                <a:ext cx="4029442" cy="2722189"/>
              </a:xfrm>
              <a:prstGeom prst="rect">
                <a:avLst/>
              </a:prstGeom>
            </p:spPr>
            <p:txBody>
              <a:bodyPr/>
              <a:lstStyle>
                <a:lvl1pPr marL="342900" indent="-342900" algn="l" defTabSz="914400" rtl="0" eaLnBrk="1" latinLnBrk="0" hangingPunct="1">
                  <a:lnSpc>
                    <a:spcPct val="90000"/>
                  </a:lnSpc>
                  <a:spcBef>
                    <a:spcPts val="1000"/>
                  </a:spcBef>
                  <a:buClr>
                    <a:schemeClr val="tx2"/>
                  </a:buClr>
                  <a:buFont typeface="Arial" panose="020B0604020202020204" pitchFamily="34" charset="0"/>
                  <a:buChar char="•"/>
                  <a:defRPr sz="2000" kern="1200">
                    <a:solidFill>
                      <a:schemeClr val="tx1">
                        <a:lumMod val="95000"/>
                        <a:lumOff val="5000"/>
                      </a:schemeClr>
                    </a:solidFill>
                    <a:latin typeface="+mn-lt"/>
                    <a:ea typeface="+mn-ea"/>
                    <a:cs typeface="+mn-cs"/>
                  </a:defRPr>
                </a:lvl1pPr>
                <a:lvl2pPr marL="742950" indent="-285750"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3399"/>
                  </a:buClr>
                  <a:buSzTx/>
                  <a:buFont typeface="Arial" panose="020B0604020202020204" pitchFamily="34" charset="0"/>
                  <a:buNone/>
                  <a:tabLst/>
                  <a:defRPr sz="1800" b="1"/>
                </a:pPr>
                <a:r>
                  <a:rPr kumimoji="0" lang="de-DE" sz="1600" b="1" i="0" u="none" strike="noStrike" kern="1200" cap="none" spc="0" normalizeH="0" baseline="0" noProof="0" dirty="0">
                    <a:ln>
                      <a:noFill/>
                    </a:ln>
                    <a:solidFill>
                      <a:prstClr val="black">
                        <a:lumMod val="95000"/>
                        <a:lumOff val="5000"/>
                      </a:prstClr>
                    </a:solidFill>
                    <a:effectLst/>
                    <a:uLnTx/>
                    <a:uFillTx/>
                    <a:latin typeface="Arial"/>
                    <a:ea typeface="+mn-ea"/>
                    <a:cs typeface="+mn-cs"/>
                    <a:sym typeface="Arial"/>
                  </a:rPr>
                  <a:t>Punkt 23/24: FID </a:t>
                </a:r>
              </a:p>
              <a:p>
                <a:pPr marL="342900" marR="0" lvl="0" indent="-342900" algn="l" defTabSz="914400" rtl="0" eaLnBrk="1" fontAlgn="auto" latinLnBrk="0" hangingPunct="1">
                  <a:lnSpc>
                    <a:spcPct val="90000"/>
                  </a:lnSpc>
                  <a:spcBef>
                    <a:spcPts val="1000"/>
                  </a:spcBef>
                  <a:spcAft>
                    <a:spcPts val="0"/>
                  </a:spcAft>
                  <a:buClr>
                    <a:srgbClr val="003399"/>
                  </a:buClr>
                  <a:buSzTx/>
                  <a:buFont typeface="Arial" panose="020B0604020202020204" pitchFamily="34" charset="0"/>
                  <a:buChar char="•"/>
                  <a:tabLst/>
                  <a:defRPr sz="1800"/>
                </a:pPr>
                <a:r>
                  <a:rPr kumimoji="0" lang="de-DE" sz="1600" b="0" i="0" u="none" strike="noStrike" kern="1200" cap="none" spc="0" normalizeH="0" baseline="0" noProof="0" dirty="0">
                    <a:ln>
                      <a:noFill/>
                    </a:ln>
                    <a:solidFill>
                      <a:prstClr val="black">
                        <a:lumMod val="95000"/>
                        <a:lumOff val="5000"/>
                      </a:prstClr>
                    </a:solidFill>
                    <a:effectLst/>
                    <a:uLnTx/>
                    <a:uFillTx/>
                    <a:latin typeface="Arial"/>
                    <a:ea typeface="+mn-ea"/>
                    <a:cs typeface="+mn-cs"/>
                    <a:sym typeface="Arial"/>
                  </a:rPr>
                  <a:t>Entwicklung eines neuen Produkts/einer neuen Dienstleistung (z.B. Hochskalierung, FOAK) mit hohem FuE-Gehalt der</a:t>
                </a:r>
              </a:p>
              <a:p>
                <a:pPr marL="342900" marR="0" lvl="0" indent="-342900" algn="l" defTabSz="914400" rtl="0" eaLnBrk="1" fontAlgn="auto" latinLnBrk="0" hangingPunct="1">
                  <a:lnSpc>
                    <a:spcPct val="90000"/>
                  </a:lnSpc>
                  <a:spcBef>
                    <a:spcPts val="1000"/>
                  </a:spcBef>
                  <a:spcAft>
                    <a:spcPts val="0"/>
                  </a:spcAft>
                  <a:buClr>
                    <a:srgbClr val="003399"/>
                  </a:buClr>
                  <a:buSzTx/>
                  <a:buFont typeface="Arial" panose="020B0604020202020204" pitchFamily="34" charset="0"/>
                  <a:buChar char="•"/>
                  <a:tabLst/>
                  <a:defRPr sz="1800"/>
                </a:pPr>
                <a:r>
                  <a:rPr kumimoji="0" lang="de-DE" sz="1600" b="0" i="0" u="none" strike="noStrike" kern="1200" cap="none" spc="0" normalizeH="0" baseline="0" noProof="0" dirty="0">
                    <a:ln>
                      <a:noFill/>
                    </a:ln>
                    <a:solidFill>
                      <a:prstClr val="black">
                        <a:lumMod val="95000"/>
                        <a:lumOff val="5000"/>
                      </a:prstClr>
                    </a:solidFill>
                    <a:effectLst/>
                    <a:uLnTx/>
                    <a:uFillTx/>
                    <a:latin typeface="Arial"/>
                    <a:ea typeface="+mn-ea"/>
                    <a:cs typeface="+mn-cs"/>
                    <a:sym typeface="Arial"/>
                  </a:rPr>
                  <a:t>Einführung eines grundlegend innovativen Produktionsprozesses</a:t>
                </a:r>
              </a:p>
              <a:p>
                <a:pPr marL="342900" marR="0" lvl="0" indent="-342900" algn="l" defTabSz="914400" rtl="0" eaLnBrk="1" fontAlgn="auto" latinLnBrk="0" hangingPunct="1">
                  <a:lnSpc>
                    <a:spcPct val="90000"/>
                  </a:lnSpc>
                  <a:spcBef>
                    <a:spcPts val="1000"/>
                  </a:spcBef>
                  <a:spcAft>
                    <a:spcPts val="0"/>
                  </a:spcAft>
                  <a:buClr>
                    <a:srgbClr val="003399"/>
                  </a:buClr>
                  <a:buSzTx/>
                  <a:buFont typeface="Arial" panose="020B0604020202020204" pitchFamily="34" charset="0"/>
                  <a:buChar char="•"/>
                  <a:tabLst/>
                  <a:defRPr sz="1800"/>
                </a:pPr>
                <a:r>
                  <a:rPr kumimoji="0" lang="de-DE" sz="1600" b="0" i="0" u="none" strike="noStrike" kern="1200" cap="none" spc="0" normalizeH="0" baseline="0" noProof="0" dirty="0">
                    <a:ln>
                      <a:noFill/>
                    </a:ln>
                    <a:solidFill>
                      <a:prstClr val="black">
                        <a:lumMod val="95000"/>
                        <a:lumOff val="5000"/>
                      </a:prstClr>
                    </a:solidFill>
                    <a:effectLst/>
                    <a:uLnTx/>
                    <a:uFillTx/>
                    <a:latin typeface="Arial"/>
                    <a:ea typeface="+mn-ea"/>
                    <a:cs typeface="+mn-cs"/>
                    <a:sym typeface="Arial"/>
                  </a:rPr>
                  <a:t>Ausschluss von Massenproduktion </a:t>
                </a:r>
                <a:endParaRPr kumimoji="0" lang="de-DE" sz="1600" b="1" i="0" u="none" strike="noStrike" kern="1200" cap="none" spc="0" normalizeH="0" baseline="0" noProof="0" dirty="0">
                  <a:ln>
                    <a:noFill/>
                  </a:ln>
                  <a:solidFill>
                    <a:prstClr val="black">
                      <a:lumMod val="95000"/>
                      <a:lumOff val="5000"/>
                    </a:prstClr>
                  </a:solidFill>
                  <a:effectLst/>
                  <a:uLnTx/>
                  <a:uFillTx/>
                  <a:latin typeface="Arial"/>
                  <a:ea typeface="+mn-ea"/>
                  <a:cs typeface="+mn-cs"/>
                  <a:sym typeface="Arial"/>
                </a:endParaRPr>
              </a:p>
            </p:txBody>
          </p:sp>
          <p:sp>
            <p:nvSpPr>
              <p:cNvPr id="10" name="TextBox 9">
                <a:extLst>
                  <a:ext uri="{FF2B5EF4-FFF2-40B4-BE49-F238E27FC236}">
                    <a16:creationId xmlns:a16="http://schemas.microsoft.com/office/drawing/2014/main" id="{A3FD8D7A-0514-E1E6-B315-E2B0D9CD7FD7}"/>
                  </a:ext>
                </a:extLst>
              </p:cNvPr>
              <p:cNvSpPr txBox="1"/>
              <p:nvPr/>
            </p:nvSpPr>
            <p:spPr>
              <a:xfrm>
                <a:off x="2246055" y="3384651"/>
                <a:ext cx="346761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800" b="1" i="0" u="none" strike="noStrike" kern="100" cap="none" spc="0" normalizeH="0" baseline="0" noProof="0">
                    <a:ln>
                      <a:noFill/>
                    </a:ln>
                    <a:solidFill>
                      <a:srgbClr val="000000"/>
                    </a:solidFill>
                    <a:effectLst/>
                    <a:uLnTx/>
                    <a:uFillTx/>
                    <a:latin typeface="Arial"/>
                    <a:ea typeface="Aptos" panose="020B0004020202020204" pitchFamily="34" charset="0"/>
                    <a:cs typeface="Times New Roman" panose="02020603050405020304" pitchFamily="18" charset="0"/>
                    <a:sym typeface="Arial"/>
                  </a:rPr>
                  <a:t>bahnbrechende Innovationen </a:t>
                </a:r>
                <a:endParaRPr kumimoji="0" lang="en-IE" sz="1800" b="1"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16" name="Group 15">
            <a:extLst>
              <a:ext uri="{FF2B5EF4-FFF2-40B4-BE49-F238E27FC236}">
                <a16:creationId xmlns:a16="http://schemas.microsoft.com/office/drawing/2014/main" id="{F307600B-BF08-10F7-A111-D66F9EC0ED32}"/>
              </a:ext>
            </a:extLst>
          </p:cNvPr>
          <p:cNvGrpSpPr/>
          <p:nvPr/>
        </p:nvGrpSpPr>
        <p:grpSpPr>
          <a:xfrm>
            <a:off x="7846589" y="3364199"/>
            <a:ext cx="4345411" cy="3174734"/>
            <a:chOff x="7846589" y="3387228"/>
            <a:chExt cx="4345411" cy="3128675"/>
          </a:xfrm>
        </p:grpSpPr>
        <p:sp>
          <p:nvSpPr>
            <p:cNvPr id="15" name="Rectangle 14">
              <a:extLst>
                <a:ext uri="{FF2B5EF4-FFF2-40B4-BE49-F238E27FC236}">
                  <a16:creationId xmlns:a16="http://schemas.microsoft.com/office/drawing/2014/main" id="{EEC9C400-FBB2-EC9A-5280-67542EF69B38}"/>
                </a:ext>
              </a:extLst>
            </p:cNvPr>
            <p:cNvSpPr/>
            <p:nvPr/>
          </p:nvSpPr>
          <p:spPr>
            <a:xfrm>
              <a:off x="7846589" y="3387228"/>
              <a:ext cx="4245316" cy="3128675"/>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E" sz="1400" b="0" i="0" u="none" strike="noStrike" kern="0" cap="none" spc="0" normalizeH="0" baseline="0" noProof="0">
                <a:ln>
                  <a:noFill/>
                </a:ln>
                <a:solidFill>
                  <a:prstClr val="white"/>
                </a:solidFill>
                <a:effectLst/>
                <a:uLnTx/>
                <a:uFillTx/>
                <a:latin typeface="Arial"/>
                <a:ea typeface="+mn-ea"/>
                <a:cs typeface="+mn-cs"/>
                <a:sym typeface="Arial"/>
              </a:endParaRPr>
            </a:p>
          </p:txBody>
        </p:sp>
        <p:sp>
          <p:nvSpPr>
            <p:cNvPr id="8" name="Text Placeholder 9">
              <a:extLst>
                <a:ext uri="{FF2B5EF4-FFF2-40B4-BE49-F238E27FC236}">
                  <a16:creationId xmlns:a16="http://schemas.microsoft.com/office/drawing/2014/main" id="{22DBC35A-2279-7C37-6241-C8E40A666589}"/>
                </a:ext>
              </a:extLst>
            </p:cNvPr>
            <p:cNvSpPr txBox="1">
              <a:spLocks/>
            </p:cNvSpPr>
            <p:nvPr/>
          </p:nvSpPr>
          <p:spPr>
            <a:xfrm>
              <a:off x="7875564" y="3924043"/>
              <a:ext cx="4316436" cy="2351523"/>
            </a:xfrm>
            <a:prstGeom prst="rect">
              <a:avLst/>
            </a:prstGeom>
          </p:spPr>
          <p:txBody>
            <a:bodyPr/>
            <a:lstStyle>
              <a:lvl1pPr marL="342900" indent="-342900" algn="l" defTabSz="914400" rtl="0" eaLnBrk="1" latinLnBrk="0" hangingPunct="1">
                <a:lnSpc>
                  <a:spcPct val="90000"/>
                </a:lnSpc>
                <a:spcBef>
                  <a:spcPts val="1000"/>
                </a:spcBef>
                <a:buClr>
                  <a:schemeClr val="tx2"/>
                </a:buClr>
                <a:buFont typeface="Arial" panose="020B0604020202020204" pitchFamily="34" charset="0"/>
                <a:buChar char="•"/>
                <a:defRPr sz="2000" kern="1200">
                  <a:solidFill>
                    <a:schemeClr val="tx1">
                      <a:lumMod val="95000"/>
                      <a:lumOff val="5000"/>
                    </a:schemeClr>
                  </a:solidFill>
                  <a:latin typeface="+mn-lt"/>
                  <a:ea typeface="+mn-ea"/>
                  <a:cs typeface="+mn-cs"/>
                </a:defRPr>
              </a:lvl1pPr>
              <a:lvl2pPr marL="742950" indent="-285750" algn="l" defTabSz="914400" rtl="0" eaLnBrk="1" latinLnBrk="0" hangingPunct="1">
                <a:lnSpc>
                  <a:spcPct val="9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3399"/>
                </a:buClr>
                <a:buSzTx/>
                <a:buFont typeface="Arial" panose="020B0604020202020204" pitchFamily="34" charset="0"/>
                <a:buNone/>
                <a:tabLst/>
                <a:defRPr sz="1800" b="1"/>
              </a:pPr>
              <a:r>
                <a:rPr kumimoji="0" lang="de-DE" sz="1600" b="1" i="0" u="none" strike="noStrike" kern="1200" cap="none" spc="0" normalizeH="0" baseline="0" noProof="0">
                  <a:ln>
                    <a:noFill/>
                  </a:ln>
                  <a:solidFill>
                    <a:prstClr val="black">
                      <a:lumMod val="95000"/>
                      <a:lumOff val="5000"/>
                    </a:prstClr>
                  </a:solidFill>
                  <a:effectLst/>
                  <a:uLnTx/>
                  <a:uFillTx/>
                  <a:latin typeface="Arial"/>
                  <a:ea typeface="+mn-ea"/>
                  <a:cs typeface="+mn-cs"/>
                  <a:sym typeface="Arial"/>
                </a:rPr>
                <a:t>Punkt 25: Infrastrukturprojekte</a:t>
              </a:r>
            </a:p>
            <a:p>
              <a:pPr marL="342900" marR="0" lvl="0" indent="-342900" algn="l" defTabSz="914400" rtl="0" eaLnBrk="1" fontAlgn="auto" latinLnBrk="0" hangingPunct="1">
                <a:lnSpc>
                  <a:spcPct val="90000"/>
                </a:lnSpc>
                <a:spcBef>
                  <a:spcPts val="1000"/>
                </a:spcBef>
                <a:spcAft>
                  <a:spcPts val="0"/>
                </a:spcAft>
                <a:buClr>
                  <a:srgbClr val="003399"/>
                </a:buClr>
                <a:buSzTx/>
                <a:buFont typeface="Arial" panose="020B0604020202020204" pitchFamily="34" charset="0"/>
                <a:buChar char="•"/>
                <a:tabLst/>
                <a:defRPr sz="1800"/>
              </a:pPr>
              <a:r>
                <a:rPr kumimoji="0" lang="de-DE" sz="1600" b="0" i="0" u="none" strike="noStrike" kern="1200" cap="none" spc="0" normalizeH="0" baseline="0" noProof="0">
                  <a:ln>
                    <a:noFill/>
                  </a:ln>
                  <a:solidFill>
                    <a:prstClr val="black">
                      <a:lumMod val="95000"/>
                      <a:lumOff val="5000"/>
                    </a:prstClr>
                  </a:solidFill>
                  <a:effectLst/>
                  <a:uLnTx/>
                  <a:uFillTx/>
                  <a:latin typeface="Arial"/>
                  <a:ea typeface="+mn-ea"/>
                  <a:cs typeface="+mn-cs"/>
                  <a:sym typeface="Arial"/>
                </a:rPr>
                <a:t>In den Bereichen Umwelt, Energie, Verkehr, Gesundheit oder Digitales</a:t>
              </a:r>
            </a:p>
            <a:p>
              <a:pPr marL="342900" marR="0" lvl="0" indent="-342900" algn="l" defTabSz="914400" rtl="0" eaLnBrk="1" fontAlgn="auto" latinLnBrk="0" hangingPunct="1">
                <a:lnSpc>
                  <a:spcPct val="90000"/>
                </a:lnSpc>
                <a:spcBef>
                  <a:spcPts val="1000"/>
                </a:spcBef>
                <a:spcAft>
                  <a:spcPts val="0"/>
                </a:spcAft>
                <a:buClr>
                  <a:srgbClr val="003399"/>
                </a:buClr>
                <a:buSzTx/>
                <a:buFont typeface="Arial" panose="020B0604020202020204" pitchFamily="34" charset="0"/>
                <a:buChar char="•"/>
                <a:tabLst/>
                <a:defRPr sz="1800"/>
              </a:pPr>
              <a:r>
                <a:rPr kumimoji="0" lang="de-DE" sz="1600" b="0" i="0" u="none" strike="noStrike" kern="1200" cap="none" spc="0" normalizeH="0" baseline="0" noProof="0">
                  <a:ln>
                    <a:noFill/>
                  </a:ln>
                  <a:solidFill>
                    <a:prstClr val="black">
                      <a:lumMod val="95000"/>
                      <a:lumOff val="5000"/>
                    </a:prstClr>
                  </a:solidFill>
                  <a:effectLst/>
                  <a:uLnTx/>
                  <a:uFillTx/>
                  <a:latin typeface="Arial"/>
                  <a:ea typeface="+mn-ea"/>
                  <a:cs typeface="+mn-cs"/>
                  <a:sym typeface="Arial"/>
                </a:rPr>
                <a:t>Von großer Bedeutung für die jeweiligen EU-Strategien oder</a:t>
              </a:r>
            </a:p>
            <a:p>
              <a:pPr marL="342900" marR="0" lvl="0" indent="-342900" algn="l" defTabSz="914400" rtl="0" eaLnBrk="1" fontAlgn="auto" latinLnBrk="0" hangingPunct="1">
                <a:lnSpc>
                  <a:spcPct val="90000"/>
                </a:lnSpc>
                <a:spcBef>
                  <a:spcPts val="1000"/>
                </a:spcBef>
                <a:spcAft>
                  <a:spcPts val="0"/>
                </a:spcAft>
                <a:buClr>
                  <a:srgbClr val="003399"/>
                </a:buClr>
                <a:buSzTx/>
                <a:buFont typeface="Arial" panose="020B0604020202020204" pitchFamily="34" charset="0"/>
                <a:buChar char="•"/>
                <a:tabLst/>
                <a:defRPr sz="1800"/>
              </a:pPr>
              <a:r>
                <a:rPr kumimoji="0" lang="de-DE" sz="1600" b="0" i="0" u="none" strike="noStrike" kern="1200" cap="none" spc="0" normalizeH="0" baseline="0" noProof="0">
                  <a:ln>
                    <a:noFill/>
                  </a:ln>
                  <a:solidFill>
                    <a:prstClr val="black">
                      <a:lumMod val="95000"/>
                      <a:lumOff val="5000"/>
                    </a:prstClr>
                  </a:solidFill>
                  <a:effectLst/>
                  <a:uLnTx/>
                  <a:uFillTx/>
                  <a:latin typeface="Arial"/>
                  <a:ea typeface="+mn-ea"/>
                  <a:cs typeface="+mn-cs"/>
                  <a:sym typeface="Arial"/>
                </a:rPr>
                <a:t>Signifikanter Beitrag zum BM</a:t>
              </a:r>
            </a:p>
            <a:p>
              <a:pPr marL="342900" marR="0" lvl="0" indent="-342900" algn="l" defTabSz="914400" rtl="0" eaLnBrk="1" fontAlgn="auto" latinLnBrk="0" hangingPunct="1">
                <a:lnSpc>
                  <a:spcPct val="90000"/>
                </a:lnSpc>
                <a:spcBef>
                  <a:spcPts val="1000"/>
                </a:spcBef>
                <a:spcAft>
                  <a:spcPts val="0"/>
                </a:spcAft>
                <a:buClr>
                  <a:srgbClr val="003399"/>
                </a:buClr>
                <a:buSzTx/>
                <a:buFont typeface="Arial" panose="020B0604020202020204" pitchFamily="34" charset="0"/>
                <a:buChar char="•"/>
                <a:tabLst/>
                <a:defRPr sz="1800"/>
              </a:pPr>
              <a:r>
                <a:rPr kumimoji="0" lang="de-DE" sz="1600" b="0" i="0" u="none" strike="noStrike" kern="1200" cap="none" spc="0" normalizeH="0" baseline="0" noProof="0">
                  <a:ln>
                    <a:noFill/>
                  </a:ln>
                  <a:solidFill>
                    <a:prstClr val="black">
                      <a:lumMod val="95000"/>
                      <a:lumOff val="5000"/>
                    </a:prstClr>
                  </a:solidFill>
                  <a:effectLst/>
                  <a:uLnTx/>
                  <a:uFillTx/>
                  <a:latin typeface="Arial"/>
                  <a:ea typeface="+mn-ea"/>
                  <a:cs typeface="+mn-cs"/>
                  <a:sym typeface="Arial"/>
                </a:rPr>
                <a:t>Offen und diskriminierungsfrei (Punkt 45)</a:t>
              </a:r>
            </a:p>
            <a:p>
              <a:pPr marL="342900" marR="0" lvl="0" indent="-342900" algn="l" defTabSz="914400" rtl="0" eaLnBrk="1" fontAlgn="auto" latinLnBrk="0" hangingPunct="1">
                <a:lnSpc>
                  <a:spcPct val="90000"/>
                </a:lnSpc>
                <a:spcBef>
                  <a:spcPts val="1000"/>
                </a:spcBef>
                <a:spcAft>
                  <a:spcPts val="0"/>
                </a:spcAft>
                <a:buClr>
                  <a:srgbClr val="003399"/>
                </a:buClr>
                <a:buSzTx/>
                <a:buFont typeface="Arial" panose="020B0604020202020204" pitchFamily="34" charset="0"/>
                <a:buChar char="•"/>
                <a:tabLst/>
                <a:defRPr sz="1800"/>
              </a:pPr>
              <a:r>
                <a:rPr kumimoji="0" lang="de-DE" sz="1600" b="0" i="0" u="none" strike="noStrike" kern="1200" cap="none" spc="0" normalizeH="0" baseline="0" noProof="0">
                  <a:ln>
                    <a:noFill/>
                  </a:ln>
                  <a:solidFill>
                    <a:prstClr val="black">
                      <a:lumMod val="95000"/>
                      <a:lumOff val="5000"/>
                    </a:prstClr>
                  </a:solidFill>
                  <a:effectLst/>
                  <a:uLnTx/>
                  <a:uFillTx/>
                  <a:latin typeface="Arial"/>
                  <a:ea typeface="+mn-ea"/>
                  <a:cs typeface="+mn-cs"/>
                  <a:sym typeface="Arial"/>
                </a:rPr>
                <a:t>Bis zur vollen Einsatzfähigkeit</a:t>
              </a:r>
            </a:p>
          </p:txBody>
        </p:sp>
        <p:sp>
          <p:nvSpPr>
            <p:cNvPr id="11" name="TextBox 10">
              <a:extLst>
                <a:ext uri="{FF2B5EF4-FFF2-40B4-BE49-F238E27FC236}">
                  <a16:creationId xmlns:a16="http://schemas.microsoft.com/office/drawing/2014/main" id="{4CE96D31-0534-4915-7563-BED648C4567E}"/>
                </a:ext>
              </a:extLst>
            </p:cNvPr>
            <p:cNvSpPr txBox="1"/>
            <p:nvPr/>
          </p:nvSpPr>
          <p:spPr>
            <a:xfrm>
              <a:off x="8245011" y="3455300"/>
              <a:ext cx="235192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800" b="1" i="0" u="none" strike="noStrike" kern="100" cap="none" spc="0" normalizeH="0" baseline="0" noProof="0">
                  <a:ln>
                    <a:noFill/>
                  </a:ln>
                  <a:solidFill>
                    <a:srgbClr val="000000"/>
                  </a:solidFill>
                  <a:effectLst/>
                  <a:uLnTx/>
                  <a:uFillTx/>
                  <a:latin typeface="Arial"/>
                  <a:ea typeface="Aptos" panose="020B0004020202020204" pitchFamily="34" charset="0"/>
                  <a:cs typeface="Times New Roman" panose="02020603050405020304" pitchFamily="18" charset="0"/>
                  <a:sym typeface="Arial"/>
                </a:rPr>
                <a:t>Offene Infrastruktur</a:t>
              </a:r>
              <a:endParaRPr kumimoji="0" lang="en-IE" sz="1800" b="1" i="0" u="none" strike="noStrike" kern="0" cap="none" spc="0" normalizeH="0" baseline="0" noProof="0">
                <a:ln>
                  <a:noFill/>
                </a:ln>
                <a:solidFill>
                  <a:srgbClr val="000000"/>
                </a:solidFill>
                <a:effectLst/>
                <a:uLnTx/>
                <a:uFillTx/>
                <a:latin typeface="Arial"/>
                <a:cs typeface="Arial"/>
                <a:sym typeface="Arial"/>
              </a:endParaRPr>
            </a:p>
          </p:txBody>
        </p:sp>
      </p:grpSp>
    </p:spTree>
    <p:extLst>
      <p:ext uri="{BB962C8B-B14F-4D97-AF65-F5344CB8AC3E}">
        <p14:creationId xmlns:p14="http://schemas.microsoft.com/office/powerpoint/2010/main" val="851599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BC245AFA-D9D1-45DD-833A-DAED75A9C5D0}"/>
              </a:ext>
            </a:extLst>
          </p:cNvPr>
          <p:cNvSpPr>
            <a:spLocks noGrp="1"/>
          </p:cNvSpPr>
          <p:nvPr>
            <p:ph type="body" sz="quarter" idx="15"/>
          </p:nvPr>
        </p:nvSpPr>
        <p:spPr>
          <a:xfrm>
            <a:off x="912286" y="1773237"/>
            <a:ext cx="10743139" cy="4535487"/>
          </a:xfrm>
        </p:spPr>
        <p:txBody>
          <a:bodyPr anchor="ctr"/>
          <a:lstStyle/>
          <a:p>
            <a:pPr marL="457200" indent="-457200">
              <a:buFont typeface="+mj-lt"/>
              <a:buAutoNum type="arabicPeriod"/>
            </a:pPr>
            <a:r>
              <a:rPr lang="de-DE" u="none" dirty="0">
                <a:solidFill>
                  <a:schemeClr val="tx1"/>
                </a:solidFill>
              </a:rPr>
              <a:t>Begrüßung</a:t>
            </a:r>
          </a:p>
          <a:p>
            <a:pPr marL="457200" indent="-457200">
              <a:buFont typeface="+mj-lt"/>
              <a:buAutoNum type="arabicPeriod"/>
            </a:pPr>
            <a:r>
              <a:rPr lang="de-DE" u="none" dirty="0">
                <a:solidFill>
                  <a:schemeClr val="tx1"/>
                </a:solidFill>
              </a:rPr>
              <a:t>Vorstellung </a:t>
            </a:r>
            <a:r>
              <a:rPr lang="en-US" u="none" dirty="0" err="1">
                <a:solidFill>
                  <a:schemeClr val="tx1"/>
                </a:solidFill>
              </a:rPr>
              <a:t>Förderinstrument</a:t>
            </a:r>
            <a:r>
              <a:rPr lang="en-US" u="none" dirty="0">
                <a:solidFill>
                  <a:schemeClr val="tx1"/>
                </a:solidFill>
              </a:rPr>
              <a:t> Important Project of Common European Interest (IPCEI)</a:t>
            </a:r>
            <a:r>
              <a:rPr lang="de-DE" u="none" dirty="0">
                <a:solidFill>
                  <a:schemeClr val="tx1"/>
                </a:solidFill>
              </a:rPr>
              <a:t> </a:t>
            </a:r>
          </a:p>
          <a:p>
            <a:pPr marL="457200" indent="-457200">
              <a:buFont typeface="+mj-lt"/>
              <a:buAutoNum type="arabicPeriod"/>
            </a:pPr>
            <a:r>
              <a:rPr lang="de-DE" u="none" dirty="0">
                <a:solidFill>
                  <a:schemeClr val="tx1"/>
                </a:solidFill>
              </a:rPr>
              <a:t>IPCEI-Instrument aus wettbewerbsrechtlicher Sicht </a:t>
            </a:r>
          </a:p>
          <a:p>
            <a:pPr marL="457200" indent="-457200">
              <a:buFont typeface="+mj-lt"/>
              <a:buAutoNum type="arabicPeriod"/>
            </a:pPr>
            <a:r>
              <a:rPr lang="de-DE" u="none" dirty="0">
                <a:solidFill>
                  <a:schemeClr val="tx1"/>
                </a:solidFill>
              </a:rPr>
              <a:t>Geplantes IPCEI Advanced Semcionductor Technologies </a:t>
            </a:r>
          </a:p>
          <a:p>
            <a:pPr marL="457200" indent="-457200">
              <a:buFont typeface="+mj-lt"/>
              <a:buAutoNum type="arabicPeriod"/>
            </a:pPr>
            <a:r>
              <a:rPr lang="de-DE" u="none" dirty="0">
                <a:solidFill>
                  <a:schemeClr val="tx1"/>
                </a:solidFill>
              </a:rPr>
              <a:t>Zeitplan und nächste Schritte</a:t>
            </a:r>
          </a:p>
          <a:p>
            <a:pPr marL="457200" indent="-457200">
              <a:buFont typeface="+mj-lt"/>
              <a:buAutoNum type="arabicPeriod"/>
            </a:pPr>
            <a:r>
              <a:rPr lang="de-DE" u="none" dirty="0">
                <a:solidFill>
                  <a:schemeClr val="tx1"/>
                </a:solidFill>
              </a:rPr>
              <a:t>Schlusswort </a:t>
            </a:r>
          </a:p>
        </p:txBody>
      </p:sp>
      <p:sp>
        <p:nvSpPr>
          <p:cNvPr id="3" name="Foliennummernplatzhalter 2">
            <a:extLst>
              <a:ext uri="{FF2B5EF4-FFF2-40B4-BE49-F238E27FC236}">
                <a16:creationId xmlns:a16="http://schemas.microsoft.com/office/drawing/2014/main" id="{6D8165EE-A3A6-4660-99F5-C00ED5153504}"/>
              </a:ext>
            </a:extLst>
          </p:cNvPr>
          <p:cNvSpPr>
            <a:spLocks noGrp="1"/>
          </p:cNvSpPr>
          <p:nvPr>
            <p:ph type="sldNum" sz="quarter" idx="16"/>
          </p:nvPr>
        </p:nvSpPr>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smtClean="0">
                <a:solidFill>
                  <a:schemeClr val="accent5"/>
                </a:solidFill>
              </a:rPr>
              <a:pPr algn="l" rtl="0"/>
              <a:t>2</a:t>
            </a:fld>
            <a:r>
              <a:rPr lang="en-GB" sz="1000" b="0" i="0" u="none" baseline="0">
                <a:solidFill>
                  <a:schemeClr val="accent5"/>
                </a:solidFill>
              </a:rPr>
              <a:t> </a:t>
            </a:r>
            <a:endParaRPr lang="en-GB" sz="1000" dirty="0">
              <a:solidFill>
                <a:schemeClr val="accent5"/>
              </a:solidFill>
            </a:endParaRPr>
          </a:p>
        </p:txBody>
      </p:sp>
    </p:spTree>
    <p:extLst>
      <p:ext uri="{BB962C8B-B14F-4D97-AF65-F5344CB8AC3E}">
        <p14:creationId xmlns:p14="http://schemas.microsoft.com/office/powerpoint/2010/main" val="1921730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2DDAC-977F-34C9-B2BC-45EC9E0C8071}"/>
              </a:ext>
            </a:extLst>
          </p:cNvPr>
          <p:cNvSpPr>
            <a:spLocks noGrp="1"/>
          </p:cNvSpPr>
          <p:nvPr>
            <p:ph type="title"/>
          </p:nvPr>
        </p:nvSpPr>
        <p:spPr/>
        <p:txBody>
          <a:bodyPr/>
          <a:lstStyle/>
          <a:p>
            <a:r>
              <a:rPr lang="en-IE" err="1"/>
              <a:t>Kriterien</a:t>
            </a:r>
            <a:r>
              <a:rPr lang="en-IE" dirty="0"/>
              <a:t> – IPCEI und </a:t>
            </a:r>
            <a:r>
              <a:rPr lang="en-IE" dirty="0" err="1"/>
              <a:t>Einzelprojekte</a:t>
            </a:r>
            <a:endParaRPr lang="en-IE" dirty="0"/>
          </a:p>
        </p:txBody>
      </p:sp>
      <p:sp>
        <p:nvSpPr>
          <p:cNvPr id="5" name="Content Placeholder 4">
            <a:extLst>
              <a:ext uri="{FF2B5EF4-FFF2-40B4-BE49-F238E27FC236}">
                <a16:creationId xmlns:a16="http://schemas.microsoft.com/office/drawing/2014/main" id="{1877D51E-40BE-EE38-0F10-C0A349139FF6}"/>
              </a:ext>
            </a:extLst>
          </p:cNvPr>
          <p:cNvSpPr>
            <a:spLocks noGrp="1"/>
          </p:cNvSpPr>
          <p:nvPr>
            <p:ph idx="1"/>
          </p:nvPr>
        </p:nvSpPr>
        <p:spPr>
          <a:xfrm>
            <a:off x="838200" y="1303110"/>
            <a:ext cx="10786450" cy="4884330"/>
          </a:xfrm>
        </p:spPr>
        <p:txBody>
          <a:bodyPr/>
          <a:lstStyle/>
          <a:p>
            <a:pPr marL="342900" indent="-342900">
              <a:spcBef>
                <a:spcPts val="800"/>
              </a:spcBef>
              <a:buFont typeface="Arial" panose="020B0604020202020204" pitchFamily="34" charset="0"/>
              <a:buChar char="•"/>
              <a:defRPr sz="2000"/>
            </a:pPr>
            <a:r>
              <a:rPr lang="de-DE" b="1" dirty="0"/>
              <a:t>Bahnbrechende Innovation </a:t>
            </a:r>
            <a:r>
              <a:rPr lang="de-DE" dirty="0"/>
              <a:t>(</a:t>
            </a:r>
            <a:r>
              <a:rPr lang="de-DE" i="1" dirty="0"/>
              <a:t>Punkt 22-24</a:t>
            </a:r>
            <a:r>
              <a:rPr lang="de-DE" dirty="0"/>
              <a:t>) oder </a:t>
            </a:r>
            <a:r>
              <a:rPr lang="de-DE" b="1" dirty="0"/>
              <a:t>Offene Infrastruktur </a:t>
            </a:r>
            <a:r>
              <a:rPr lang="de-DE" dirty="0"/>
              <a:t>(</a:t>
            </a:r>
            <a:r>
              <a:rPr lang="de-DE" i="1" dirty="0"/>
              <a:t>Punkt 25</a:t>
            </a:r>
            <a:r>
              <a:rPr lang="de-DE" dirty="0"/>
              <a:t>)</a:t>
            </a:r>
          </a:p>
          <a:p>
            <a:pPr marL="342900" indent="-342900">
              <a:spcBef>
                <a:spcPts val="800"/>
              </a:spcBef>
              <a:buFont typeface="Arial" panose="020B0604020202020204" pitchFamily="34" charset="0"/>
              <a:buChar char="•"/>
              <a:defRPr sz="2000"/>
            </a:pPr>
            <a:r>
              <a:rPr lang="de-DE" dirty="0"/>
              <a:t>Integrierte Vorhaben: Erfordernis </a:t>
            </a:r>
            <a:r>
              <a:rPr lang="de-DE" b="1" dirty="0"/>
              <a:t>grenzüberschreitender Zusammenarbeit </a:t>
            </a:r>
            <a:r>
              <a:rPr lang="de-DE" dirty="0"/>
              <a:t>(</a:t>
            </a:r>
            <a:r>
              <a:rPr lang="de-DE" i="1" dirty="0"/>
              <a:t>Punkt 13</a:t>
            </a:r>
            <a:r>
              <a:rPr lang="de-DE" dirty="0"/>
              <a:t>)</a:t>
            </a:r>
          </a:p>
          <a:p>
            <a:pPr marL="342900" indent="-342900">
              <a:spcBef>
                <a:spcPts val="800"/>
              </a:spcBef>
              <a:buFont typeface="Arial" panose="020B0604020202020204" pitchFamily="34" charset="0"/>
              <a:buChar char="•"/>
              <a:defRPr sz="2000"/>
            </a:pPr>
            <a:r>
              <a:rPr lang="de-DE" dirty="0"/>
              <a:t>Klarer und erkennbarer wichtiger Beitrag zu den </a:t>
            </a:r>
            <a:r>
              <a:rPr lang="de-DE" b="1" dirty="0"/>
              <a:t>Zielen oder Strategien der Union </a:t>
            </a:r>
            <a:r>
              <a:rPr lang="de-DE" dirty="0"/>
              <a:t>leisten (</a:t>
            </a:r>
            <a:r>
              <a:rPr lang="de-DE" i="1" dirty="0"/>
              <a:t>Punkt 14</a:t>
            </a:r>
            <a:r>
              <a:rPr lang="de-DE" dirty="0"/>
              <a:t>)</a:t>
            </a:r>
          </a:p>
          <a:p>
            <a:pPr marL="342900" indent="-342900">
              <a:spcBef>
                <a:spcPts val="800"/>
              </a:spcBef>
              <a:buFont typeface="Arial" panose="020B0604020202020204" pitchFamily="34" charset="0"/>
              <a:buChar char="•"/>
              <a:defRPr sz="2000"/>
            </a:pPr>
            <a:r>
              <a:rPr lang="de-DE" dirty="0"/>
              <a:t>I.d.R. Beteiligung von </a:t>
            </a:r>
            <a:r>
              <a:rPr lang="de-DE" b="1" dirty="0"/>
              <a:t>mindestens vier Mitgliedstaaten </a:t>
            </a:r>
            <a:r>
              <a:rPr lang="de-DE" dirty="0"/>
              <a:t>an dem Vorhaben (</a:t>
            </a:r>
            <a:r>
              <a:rPr lang="de-DE" i="1" dirty="0"/>
              <a:t>Punkt 16</a:t>
            </a:r>
            <a:r>
              <a:rPr lang="de-DE" dirty="0"/>
              <a:t>)</a:t>
            </a:r>
          </a:p>
          <a:p>
            <a:pPr marL="342900" indent="-342900">
              <a:spcBef>
                <a:spcPts val="800"/>
              </a:spcBef>
              <a:buFont typeface="Arial" panose="020B0604020202020204" pitchFamily="34" charset="0"/>
              <a:buChar char="•"/>
              <a:defRPr sz="2000"/>
            </a:pPr>
            <a:r>
              <a:rPr lang="de-DE" dirty="0"/>
              <a:t>Ausrichtung des Projekts zur Behebung schwerwiegenden </a:t>
            </a:r>
            <a:r>
              <a:rPr lang="de-DE" b="1" dirty="0"/>
              <a:t>Markt-</a:t>
            </a:r>
            <a:r>
              <a:rPr lang="de-DE" dirty="0"/>
              <a:t> oder </a:t>
            </a:r>
            <a:r>
              <a:rPr lang="de-DE" b="1" dirty="0"/>
              <a:t>Systemversagens</a:t>
            </a:r>
            <a:r>
              <a:rPr lang="de-DE" dirty="0"/>
              <a:t> (</a:t>
            </a:r>
            <a:r>
              <a:rPr lang="de-DE" i="1" dirty="0"/>
              <a:t>Punkt 15</a:t>
            </a:r>
            <a:r>
              <a:rPr lang="de-DE" dirty="0"/>
              <a:t>)</a:t>
            </a:r>
          </a:p>
          <a:p>
            <a:pPr marL="342900" indent="-342900">
              <a:spcBef>
                <a:spcPts val="800"/>
              </a:spcBef>
              <a:buFont typeface="Arial" panose="020B0604020202020204" pitchFamily="34" charset="0"/>
              <a:buChar char="•"/>
              <a:defRPr sz="2000"/>
            </a:pPr>
            <a:r>
              <a:rPr lang="de-DE" dirty="0"/>
              <a:t>Positive </a:t>
            </a:r>
            <a:r>
              <a:rPr lang="de-DE" b="1" dirty="0" err="1"/>
              <a:t>Spillover</a:t>
            </a:r>
            <a:r>
              <a:rPr lang="de-DE" b="1" dirty="0"/>
              <a:t>-Effekte </a:t>
            </a:r>
            <a:r>
              <a:rPr lang="de-DE" dirty="0"/>
              <a:t>auf die Wirtschaft und Gesellschaft der EU; keine Beschränkung der Vorteile auf teilnehmende Sektoren und Empfänger der Beihilfe (</a:t>
            </a:r>
            <a:r>
              <a:rPr lang="de-DE" i="1" dirty="0"/>
              <a:t>Punkt 18</a:t>
            </a:r>
            <a:r>
              <a:rPr lang="de-DE" dirty="0"/>
              <a:t>)</a:t>
            </a:r>
          </a:p>
          <a:p>
            <a:pPr marL="342900" indent="-342900">
              <a:spcBef>
                <a:spcPts val="800"/>
              </a:spcBef>
              <a:buFont typeface="Arial" panose="020B0604020202020204" pitchFamily="34" charset="0"/>
              <a:buChar char="•"/>
              <a:defRPr sz="2000"/>
            </a:pPr>
            <a:r>
              <a:rPr lang="de-DE" b="1" dirty="0"/>
              <a:t>Privater Investitionen</a:t>
            </a:r>
            <a:r>
              <a:rPr lang="de-DE" dirty="0"/>
              <a:t>, durch erheblichen </a:t>
            </a:r>
            <a:r>
              <a:rPr lang="de-DE" b="1" dirty="0"/>
              <a:t>Eigenbetrag</a:t>
            </a:r>
            <a:r>
              <a:rPr lang="de-DE" dirty="0"/>
              <a:t> der Beihilfeempfänger (</a:t>
            </a:r>
            <a:r>
              <a:rPr lang="de-DE" i="1" dirty="0"/>
              <a:t>Punkt 19</a:t>
            </a:r>
            <a:r>
              <a:rPr lang="de-DE" dirty="0"/>
              <a:t>)</a:t>
            </a:r>
          </a:p>
          <a:p>
            <a:pPr marL="342900" indent="-342900">
              <a:spcBef>
                <a:spcPts val="800"/>
              </a:spcBef>
              <a:buFont typeface="Arial" panose="020B0604020202020204" pitchFamily="34" charset="0"/>
              <a:buChar char="•"/>
              <a:defRPr sz="2000"/>
            </a:pPr>
            <a:r>
              <a:rPr lang="de-DE" dirty="0"/>
              <a:t>Vermeidung Beeinträchtigungen der Umwelt – „Do </a:t>
            </a:r>
            <a:r>
              <a:rPr lang="de-DE" dirty="0" err="1"/>
              <a:t>no</a:t>
            </a:r>
            <a:r>
              <a:rPr lang="de-DE" dirty="0"/>
              <a:t> </a:t>
            </a:r>
            <a:r>
              <a:rPr lang="de-DE" dirty="0" err="1"/>
              <a:t>significant</a:t>
            </a:r>
            <a:r>
              <a:rPr lang="de-DE" dirty="0"/>
              <a:t> </a:t>
            </a:r>
            <a:r>
              <a:rPr lang="de-DE" dirty="0" err="1"/>
              <a:t>harm</a:t>
            </a:r>
            <a:r>
              <a:rPr lang="de-DE" dirty="0"/>
              <a:t>“ (</a:t>
            </a:r>
            <a:r>
              <a:rPr lang="de-DE" b="1" dirty="0"/>
              <a:t>DNSH, </a:t>
            </a:r>
            <a:r>
              <a:rPr lang="de-DE" i="1" dirty="0"/>
              <a:t>Punkt 20</a:t>
            </a:r>
            <a:r>
              <a:rPr lang="de-DE" dirty="0"/>
              <a:t>)</a:t>
            </a:r>
          </a:p>
          <a:p>
            <a:pPr>
              <a:spcBef>
                <a:spcPts val="600"/>
              </a:spcBef>
              <a:defRPr sz="2000"/>
            </a:pPr>
            <a:endParaRPr lang="de-DE" dirty="0"/>
          </a:p>
          <a:p>
            <a:pPr marL="0" indent="0">
              <a:spcBef>
                <a:spcPts val="600"/>
              </a:spcBef>
              <a:buNone/>
              <a:defRPr sz="2000"/>
            </a:pPr>
            <a:r>
              <a:rPr lang="de-DE" dirty="0">
                <a:sym typeface="Wingdings" panose="05000000000000000000" pitchFamily="2" charset="2"/>
              </a:rPr>
              <a:t> Alle Kriterien müssen </a:t>
            </a:r>
            <a:r>
              <a:rPr lang="de-DE" b="1" dirty="0">
                <a:sym typeface="Wingdings" panose="05000000000000000000" pitchFamily="2" charset="2"/>
              </a:rPr>
              <a:t>kumulativ</a:t>
            </a:r>
            <a:r>
              <a:rPr lang="de-DE" dirty="0">
                <a:sym typeface="Wingdings" panose="05000000000000000000" pitchFamily="2" charset="2"/>
              </a:rPr>
              <a:t> erfüllt sein.</a:t>
            </a:r>
            <a:endParaRPr lang="de-DE" dirty="0"/>
          </a:p>
          <a:p>
            <a:pPr>
              <a:spcBef>
                <a:spcPts val="600"/>
              </a:spcBef>
            </a:pPr>
            <a:endParaRPr lang="en-IE" sz="1200" dirty="0"/>
          </a:p>
        </p:txBody>
      </p:sp>
    </p:spTree>
    <p:extLst>
      <p:ext uri="{BB962C8B-B14F-4D97-AF65-F5344CB8AC3E}">
        <p14:creationId xmlns:p14="http://schemas.microsoft.com/office/powerpoint/2010/main" val="32918675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E210C-9110-AA7E-330B-73153A14F69F}"/>
              </a:ext>
            </a:extLst>
          </p:cNvPr>
          <p:cNvSpPr>
            <a:spLocks noGrp="1"/>
          </p:cNvSpPr>
          <p:nvPr>
            <p:ph type="title"/>
          </p:nvPr>
        </p:nvSpPr>
        <p:spPr/>
        <p:txBody>
          <a:bodyPr/>
          <a:lstStyle/>
          <a:p>
            <a:r>
              <a:rPr lang="de-DE" dirty="0"/>
              <a:t>Vereinbarkeitskriterien – Einzelprüfung </a:t>
            </a:r>
          </a:p>
        </p:txBody>
      </p:sp>
      <p:sp>
        <p:nvSpPr>
          <p:cNvPr id="4" name="Content Placeholder 1">
            <a:extLst>
              <a:ext uri="{FF2B5EF4-FFF2-40B4-BE49-F238E27FC236}">
                <a16:creationId xmlns:a16="http://schemas.microsoft.com/office/drawing/2014/main" id="{530ADA95-B498-3DD2-5373-4099B8EF4755}"/>
              </a:ext>
            </a:extLst>
          </p:cNvPr>
          <p:cNvSpPr>
            <a:spLocks noGrp="1"/>
          </p:cNvSpPr>
          <p:nvPr>
            <p:ph idx="1"/>
          </p:nvPr>
        </p:nvSpPr>
        <p:spPr>
          <a:xfrm>
            <a:off x="838199" y="1182030"/>
            <a:ext cx="11353801" cy="4990348"/>
          </a:xfrm>
        </p:spPr>
        <p:txBody>
          <a:bodyPr/>
          <a:lstStyle/>
          <a:p>
            <a:pPr>
              <a:spcBef>
                <a:spcPts val="600"/>
              </a:spcBef>
              <a:spcAft>
                <a:spcPts val="600"/>
              </a:spcAft>
            </a:pPr>
            <a:r>
              <a:rPr lang="de-DE" b="0" i="0" u="none" strike="noStrike" baseline="0" dirty="0">
                <a:solidFill>
                  <a:srgbClr val="000000"/>
                </a:solidFill>
              </a:rPr>
              <a:t>Art. 107 Abs. 3 Buchst. b Alt. 1 AEUV  siehe eine Vereinbarkeitsprüfung vor.</a:t>
            </a:r>
          </a:p>
          <a:p>
            <a:pPr>
              <a:spcBef>
                <a:spcPts val="600"/>
              </a:spcBef>
              <a:spcAft>
                <a:spcPts val="600"/>
              </a:spcAft>
            </a:pPr>
            <a:r>
              <a:rPr lang="de-DE" dirty="0">
                <a:solidFill>
                  <a:srgbClr val="000000"/>
                </a:solidFill>
              </a:rPr>
              <a:t>Hierbei werden die </a:t>
            </a:r>
            <a:r>
              <a:rPr lang="de-DE" b="0" i="0" u="none" strike="noStrike" baseline="0" dirty="0">
                <a:solidFill>
                  <a:srgbClr val="000000"/>
                </a:solidFill>
              </a:rPr>
              <a:t>zu erwartenden positiven Auswirkungen des Projekts und die zu erwartende negative Effekte gegenübergestellt.</a:t>
            </a:r>
          </a:p>
          <a:p>
            <a:pPr marL="342900" indent="-342900">
              <a:spcBef>
                <a:spcPts val="600"/>
              </a:spcBef>
              <a:spcAft>
                <a:spcPts val="600"/>
              </a:spcAft>
              <a:buFont typeface="Arial" panose="020B0604020202020204" pitchFamily="34" charset="0"/>
              <a:buChar char="•"/>
              <a:defRPr sz="2000"/>
            </a:pPr>
            <a:r>
              <a:rPr lang="de-DE" b="1" dirty="0"/>
              <a:t>Erforderlichkeit</a:t>
            </a:r>
            <a:r>
              <a:rPr lang="de-DE" dirty="0"/>
              <a:t> einer Beihilfe (</a:t>
            </a:r>
            <a:r>
              <a:rPr lang="de-DE" i="1" dirty="0"/>
              <a:t>Punkt 30</a:t>
            </a:r>
            <a:r>
              <a:rPr lang="de-DE" dirty="0"/>
              <a:t>)</a:t>
            </a:r>
          </a:p>
          <a:p>
            <a:pPr marL="342900" indent="-342900">
              <a:spcBef>
                <a:spcPts val="600"/>
              </a:spcBef>
              <a:spcAft>
                <a:spcPts val="600"/>
              </a:spcAft>
              <a:buFont typeface="Arial" panose="020B0604020202020204" pitchFamily="34" charset="0"/>
              <a:buChar char="•"/>
              <a:defRPr sz="2000"/>
            </a:pPr>
            <a:r>
              <a:rPr lang="de-DE" b="1" dirty="0"/>
              <a:t>Angemessenheit</a:t>
            </a:r>
            <a:r>
              <a:rPr lang="de-DE" dirty="0"/>
              <a:t>  (</a:t>
            </a:r>
            <a:r>
              <a:rPr lang="de-DE" i="1" dirty="0"/>
              <a:t>Punkte 30 ff.)</a:t>
            </a:r>
          </a:p>
          <a:p>
            <a:pPr marL="342900" indent="-342900">
              <a:spcBef>
                <a:spcPts val="600"/>
              </a:spcBef>
              <a:spcAft>
                <a:spcPts val="600"/>
              </a:spcAft>
              <a:buFont typeface="Arial" panose="020B0604020202020204" pitchFamily="34" charset="0"/>
              <a:buChar char="•"/>
              <a:defRPr sz="2000"/>
            </a:pPr>
            <a:r>
              <a:rPr lang="de-DE" b="1" dirty="0"/>
              <a:t>Beihilfehöchstintensität</a:t>
            </a:r>
            <a:r>
              <a:rPr lang="de-DE" dirty="0"/>
              <a:t> (</a:t>
            </a:r>
            <a:r>
              <a:rPr lang="de-DE" i="1" dirty="0"/>
              <a:t>Punkt 33</a:t>
            </a:r>
            <a:r>
              <a:rPr lang="de-DE" dirty="0"/>
              <a:t>) richtet sich, je nachdem, was niedriger ist, nach</a:t>
            </a:r>
          </a:p>
          <a:p>
            <a:pPr lvl="1">
              <a:spcBef>
                <a:spcPts val="600"/>
              </a:spcBef>
              <a:spcAft>
                <a:spcPts val="600"/>
              </a:spcAft>
              <a:defRPr sz="1600"/>
            </a:pPr>
            <a:r>
              <a:rPr lang="de-DE" sz="2000" b="1" dirty="0"/>
              <a:t>Beihilfefähige Kosten</a:t>
            </a:r>
            <a:r>
              <a:rPr lang="de-DE" sz="2000" dirty="0"/>
              <a:t> (</a:t>
            </a:r>
            <a:r>
              <a:rPr lang="de-DE" sz="2000" i="1" dirty="0"/>
              <a:t>Anhang der IPCEI-Mitteilung</a:t>
            </a:r>
            <a:r>
              <a:rPr lang="de-DE" sz="2000" dirty="0"/>
              <a:t>) </a:t>
            </a:r>
          </a:p>
          <a:p>
            <a:pPr lvl="1">
              <a:spcBef>
                <a:spcPts val="600"/>
              </a:spcBef>
              <a:spcAft>
                <a:spcPts val="600"/>
              </a:spcAft>
              <a:defRPr sz="1600"/>
            </a:pPr>
            <a:r>
              <a:rPr lang="de-DE" sz="2000" b="1" dirty="0"/>
              <a:t>Finanzierungslücke </a:t>
            </a:r>
            <a:r>
              <a:rPr lang="de-DE" sz="2000" dirty="0"/>
              <a:t>des Projekts (</a:t>
            </a:r>
            <a:r>
              <a:rPr lang="de-DE" sz="2000" i="1" dirty="0"/>
              <a:t>Punkt 34</a:t>
            </a:r>
            <a:r>
              <a:rPr lang="de-DE" sz="2000" dirty="0"/>
              <a:t>)</a:t>
            </a:r>
            <a:endParaRPr lang="de-DE" sz="2000" dirty="0">
              <a:solidFill>
                <a:srgbClr val="FF0000"/>
              </a:solidFill>
            </a:endParaRPr>
          </a:p>
          <a:p>
            <a:pPr marL="342900" indent="-342900">
              <a:spcBef>
                <a:spcPts val="600"/>
              </a:spcBef>
              <a:spcAft>
                <a:spcPts val="600"/>
              </a:spcAft>
              <a:buFont typeface="Arial" panose="020B0604020202020204" pitchFamily="34" charset="0"/>
              <a:buChar char="•"/>
              <a:defRPr sz="2000"/>
            </a:pPr>
            <a:r>
              <a:rPr lang="de-DE" dirty="0">
                <a:solidFill>
                  <a:srgbClr val="000000"/>
                </a:solidFill>
              </a:rPr>
              <a:t>Rückforderungsmechanismus (</a:t>
            </a:r>
            <a:r>
              <a:rPr lang="de-DE" b="1" dirty="0">
                <a:solidFill>
                  <a:srgbClr val="000000"/>
                </a:solidFill>
              </a:rPr>
              <a:t>Rückforderungsmechanismus, </a:t>
            </a:r>
            <a:r>
              <a:rPr lang="de-DE" i="1" dirty="0">
                <a:solidFill>
                  <a:srgbClr val="000000"/>
                </a:solidFill>
              </a:rPr>
              <a:t>Punkt 36</a:t>
            </a:r>
            <a:r>
              <a:rPr lang="de-DE" dirty="0">
                <a:solidFill>
                  <a:srgbClr val="000000"/>
                </a:solidFill>
              </a:rPr>
              <a:t>), als zusätzliche Schutzmaßnahme (i. d. R. nur für größere Beihilfen)</a:t>
            </a:r>
          </a:p>
          <a:p>
            <a:pPr marL="342900" indent="-342900">
              <a:spcBef>
                <a:spcPts val="600"/>
              </a:spcBef>
              <a:spcAft>
                <a:spcPts val="600"/>
              </a:spcAft>
              <a:buFont typeface="Arial" panose="020B0604020202020204" pitchFamily="34" charset="0"/>
              <a:buChar char="•"/>
              <a:defRPr sz="2000"/>
            </a:pPr>
            <a:r>
              <a:rPr lang="de-DE" dirty="0"/>
              <a:t>Vermeidung unverhältnismäßiger </a:t>
            </a:r>
            <a:r>
              <a:rPr lang="de-DE" b="1" dirty="0"/>
              <a:t>Wettbewerbsverfälschungen</a:t>
            </a:r>
            <a:r>
              <a:rPr lang="de-DE" dirty="0"/>
              <a:t> (</a:t>
            </a:r>
            <a:r>
              <a:rPr lang="de-DE" i="1" dirty="0"/>
              <a:t>Punkte 42 ff.</a:t>
            </a:r>
            <a:r>
              <a:rPr lang="de-DE" dirty="0"/>
              <a:t>) </a:t>
            </a:r>
          </a:p>
          <a:p>
            <a:pPr lvl="1">
              <a:spcBef>
                <a:spcPts val="600"/>
              </a:spcBef>
              <a:spcAft>
                <a:spcPts val="600"/>
              </a:spcAft>
              <a:defRPr sz="2000"/>
            </a:pPr>
            <a:r>
              <a:rPr lang="de-DE" sz="2000" dirty="0"/>
              <a:t>Risiken der Marktabschottung und Marktbeherrschung usw.</a:t>
            </a:r>
          </a:p>
        </p:txBody>
      </p:sp>
    </p:spTree>
    <p:extLst>
      <p:ext uri="{BB962C8B-B14F-4D97-AF65-F5344CB8AC3E}">
        <p14:creationId xmlns:p14="http://schemas.microsoft.com/office/powerpoint/2010/main" val="33897673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8CE86-4B4F-AF31-5681-D74BE130983A}"/>
              </a:ext>
            </a:extLst>
          </p:cNvPr>
          <p:cNvSpPr>
            <a:spLocks noGrp="1"/>
          </p:cNvSpPr>
          <p:nvPr>
            <p:ph type="title"/>
          </p:nvPr>
        </p:nvSpPr>
        <p:spPr/>
        <p:txBody>
          <a:bodyPr/>
          <a:lstStyle/>
          <a:p>
            <a:r>
              <a:rPr lang="en-US" err="1"/>
              <a:t>Phasen</a:t>
            </a:r>
            <a:r>
              <a:rPr lang="en-US"/>
              <a:t> </a:t>
            </a:r>
            <a:r>
              <a:rPr lang="en-US" err="1"/>
              <a:t>eines</a:t>
            </a:r>
            <a:r>
              <a:rPr lang="en-US"/>
              <a:t> </a:t>
            </a:r>
            <a:r>
              <a:rPr lang="en-US" err="1"/>
              <a:t>einzelnen</a:t>
            </a:r>
            <a:r>
              <a:rPr lang="en-US"/>
              <a:t> FEI-</a:t>
            </a:r>
            <a:r>
              <a:rPr lang="en-US" err="1"/>
              <a:t>Projekts</a:t>
            </a:r>
            <a:endParaRPr lang="en-IE"/>
          </a:p>
        </p:txBody>
      </p:sp>
      <p:cxnSp>
        <p:nvCxnSpPr>
          <p:cNvPr id="4" name="Straight Arrow Connector 3">
            <a:extLst>
              <a:ext uri="{FF2B5EF4-FFF2-40B4-BE49-F238E27FC236}">
                <a16:creationId xmlns:a16="http://schemas.microsoft.com/office/drawing/2014/main" id="{F7EF2A8F-687A-67BE-B3DB-69DB6079DF36}"/>
              </a:ext>
            </a:extLst>
          </p:cNvPr>
          <p:cNvCxnSpPr/>
          <p:nvPr/>
        </p:nvCxnSpPr>
        <p:spPr>
          <a:xfrm flipV="1">
            <a:off x="1304794" y="2993342"/>
            <a:ext cx="9582411" cy="29792"/>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F616651E-0BEA-9AB9-D132-2272D8B7DA04}"/>
              </a:ext>
            </a:extLst>
          </p:cNvPr>
          <p:cNvCxnSpPr/>
          <p:nvPr/>
        </p:nvCxnSpPr>
        <p:spPr>
          <a:xfrm>
            <a:off x="2814207" y="2777317"/>
            <a:ext cx="0" cy="491636"/>
          </a:xfrm>
          <a:prstGeom prst="line">
            <a:avLst/>
          </a:prstGeom>
          <a:ln w="38100">
            <a:solidFill>
              <a:srgbClr val="0356B1"/>
            </a:solidFill>
          </a:ln>
        </p:spPr>
        <p:style>
          <a:lnRef idx="2">
            <a:schemeClr val="accent6"/>
          </a:lnRef>
          <a:fillRef idx="0">
            <a:schemeClr val="accent6"/>
          </a:fillRef>
          <a:effectRef idx="1">
            <a:schemeClr val="accent6"/>
          </a:effectRef>
          <a:fontRef idx="minor">
            <a:schemeClr val="tx1"/>
          </a:fontRef>
        </p:style>
      </p:cxnSp>
      <p:cxnSp>
        <p:nvCxnSpPr>
          <p:cNvPr id="6" name="Straight Connector 5">
            <a:extLst>
              <a:ext uri="{FF2B5EF4-FFF2-40B4-BE49-F238E27FC236}">
                <a16:creationId xmlns:a16="http://schemas.microsoft.com/office/drawing/2014/main" id="{88B15B84-5B9C-3DE7-B1BA-DE977BE395E6}"/>
              </a:ext>
            </a:extLst>
          </p:cNvPr>
          <p:cNvCxnSpPr/>
          <p:nvPr/>
        </p:nvCxnSpPr>
        <p:spPr>
          <a:xfrm>
            <a:off x="4176129" y="2777317"/>
            <a:ext cx="0" cy="491636"/>
          </a:xfrm>
          <a:prstGeom prst="line">
            <a:avLst/>
          </a:prstGeom>
          <a:ln w="38100">
            <a:solidFill>
              <a:srgbClr val="E87618"/>
            </a:solidFill>
          </a:ln>
        </p:spPr>
        <p:style>
          <a:lnRef idx="2">
            <a:schemeClr val="dk1"/>
          </a:lnRef>
          <a:fillRef idx="0">
            <a:schemeClr val="dk1"/>
          </a:fillRef>
          <a:effectRef idx="1">
            <a:schemeClr val="dk1"/>
          </a:effectRef>
          <a:fontRef idx="minor">
            <a:schemeClr val="tx1"/>
          </a:fontRef>
        </p:style>
      </p:cxnSp>
      <p:sp>
        <p:nvSpPr>
          <p:cNvPr id="7" name="TextBox 6">
            <a:extLst>
              <a:ext uri="{FF2B5EF4-FFF2-40B4-BE49-F238E27FC236}">
                <a16:creationId xmlns:a16="http://schemas.microsoft.com/office/drawing/2014/main" id="{DDFF8C32-1373-0898-2812-87195F29E577}"/>
              </a:ext>
            </a:extLst>
          </p:cNvPr>
          <p:cNvSpPr txBox="1"/>
          <p:nvPr/>
        </p:nvSpPr>
        <p:spPr>
          <a:xfrm>
            <a:off x="5038687" y="2993341"/>
            <a:ext cx="477733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l-PL" sz="1400" b="0" i="1" u="none" strike="noStrike" kern="0" cap="none" spc="0" normalizeH="0" baseline="0" noProof="0">
                <a:ln>
                  <a:noFill/>
                </a:ln>
                <a:solidFill>
                  <a:srgbClr val="000000"/>
                </a:solidFill>
                <a:effectLst/>
                <a:uLnTx/>
                <a:uFillTx/>
                <a:latin typeface="Arial"/>
                <a:cs typeface="Arial"/>
                <a:sym typeface="Arial"/>
              </a:rPr>
              <a:t>Massenproduktion</a:t>
            </a:r>
          </a:p>
        </p:txBody>
      </p:sp>
      <p:sp>
        <p:nvSpPr>
          <p:cNvPr id="8" name="TextBox 7">
            <a:extLst>
              <a:ext uri="{FF2B5EF4-FFF2-40B4-BE49-F238E27FC236}">
                <a16:creationId xmlns:a16="http://schemas.microsoft.com/office/drawing/2014/main" id="{7DECE4B0-CB49-63EC-514B-7D0EBAB8CD8F}"/>
              </a:ext>
            </a:extLst>
          </p:cNvPr>
          <p:cNvSpPr txBox="1"/>
          <p:nvPr/>
        </p:nvSpPr>
        <p:spPr>
          <a:xfrm>
            <a:off x="1708403" y="2998600"/>
            <a:ext cx="70485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l-PL" sz="1400" b="0" i="1" u="none" strike="noStrike" kern="0" cap="none" spc="0" normalizeH="0" baseline="0" noProof="0">
                <a:ln>
                  <a:noFill/>
                </a:ln>
                <a:solidFill>
                  <a:srgbClr val="000000"/>
                </a:solidFill>
                <a:effectLst/>
                <a:uLnTx/>
                <a:uFillTx/>
                <a:latin typeface="Arial"/>
                <a:cs typeface="Arial"/>
                <a:sym typeface="Arial"/>
              </a:rPr>
              <a:t>FEI</a:t>
            </a:r>
          </a:p>
        </p:txBody>
      </p:sp>
      <p:sp>
        <p:nvSpPr>
          <p:cNvPr id="9" name="TextBox 8">
            <a:extLst>
              <a:ext uri="{FF2B5EF4-FFF2-40B4-BE49-F238E27FC236}">
                <a16:creationId xmlns:a16="http://schemas.microsoft.com/office/drawing/2014/main" id="{B5CDF4CA-D410-1984-3894-15794716CFEC}"/>
              </a:ext>
            </a:extLst>
          </p:cNvPr>
          <p:cNvSpPr txBox="1"/>
          <p:nvPr/>
        </p:nvSpPr>
        <p:spPr>
          <a:xfrm>
            <a:off x="3025266" y="2988359"/>
            <a:ext cx="93980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pl-PL" sz="1400" b="0" i="1" u="none" strike="noStrike" kern="0" cap="none" spc="0" normalizeH="0" baseline="0" noProof="0">
                <a:ln>
                  <a:noFill/>
                </a:ln>
                <a:solidFill>
                  <a:srgbClr val="000000"/>
                </a:solidFill>
                <a:effectLst/>
                <a:uLnTx/>
                <a:uFillTx/>
                <a:latin typeface="Arial"/>
                <a:cs typeface="Arial"/>
                <a:sym typeface="Arial"/>
              </a:rPr>
              <a:t>FID</a:t>
            </a:r>
          </a:p>
        </p:txBody>
      </p:sp>
      <p:sp>
        <p:nvSpPr>
          <p:cNvPr id="10" name="TextBox 9">
            <a:extLst>
              <a:ext uri="{FF2B5EF4-FFF2-40B4-BE49-F238E27FC236}">
                <a16:creationId xmlns:a16="http://schemas.microsoft.com/office/drawing/2014/main" id="{D44F1519-405E-3D40-450E-F79E4EDC371C}"/>
              </a:ext>
            </a:extLst>
          </p:cNvPr>
          <p:cNvSpPr txBox="1"/>
          <p:nvPr/>
        </p:nvSpPr>
        <p:spPr>
          <a:xfrm>
            <a:off x="2328163" y="1877734"/>
            <a:ext cx="5017216"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00" b="0" i="0" u="none" strike="noStrike" kern="0" cap="none" spc="0" normalizeH="0" baseline="0" noProof="0">
                <a:ln>
                  <a:noFill/>
                </a:ln>
                <a:solidFill>
                  <a:srgbClr val="E87618"/>
                </a:solidFill>
                <a:effectLst/>
                <a:uLnTx/>
                <a:uFillTx/>
                <a:latin typeface="Arial"/>
                <a:cs typeface="Arial"/>
                <a:sym typeface="Arial"/>
              </a:rPr>
              <a:t>Klare Abgrenzung zwischen FID und Massenproduktion, untermauert mit FEI-bezogenen KPIs, die auf die Möglichkeit hinweisen, mit der Massenproduktion zu beginnen.</a:t>
            </a:r>
            <a:endParaRPr kumimoji="0" lang="en-IE" sz="1400" b="0" i="0" u="none" strike="noStrike" kern="0" cap="none" spc="0" normalizeH="0" baseline="0" noProof="0">
              <a:ln>
                <a:noFill/>
              </a:ln>
              <a:solidFill>
                <a:srgbClr val="E87618"/>
              </a:solidFill>
              <a:effectLst/>
              <a:uLnTx/>
              <a:uFillTx/>
              <a:latin typeface="Arial"/>
              <a:cs typeface="Arial"/>
              <a:sym typeface="Arial"/>
            </a:endParaRPr>
          </a:p>
        </p:txBody>
      </p:sp>
      <p:sp>
        <p:nvSpPr>
          <p:cNvPr id="11" name="TextBox 10">
            <a:extLst>
              <a:ext uri="{FF2B5EF4-FFF2-40B4-BE49-F238E27FC236}">
                <a16:creationId xmlns:a16="http://schemas.microsoft.com/office/drawing/2014/main" id="{20705DAD-AB46-2BEB-AE9C-A8081826726E}"/>
              </a:ext>
            </a:extLst>
          </p:cNvPr>
          <p:cNvSpPr txBox="1"/>
          <p:nvPr/>
        </p:nvSpPr>
        <p:spPr>
          <a:xfrm>
            <a:off x="1031937" y="3427355"/>
            <a:ext cx="3564540"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00" b="0" i="0" u="none" strike="noStrike" kern="0" cap="none" spc="0" normalizeH="0" baseline="0" noProof="0">
                <a:ln>
                  <a:noFill/>
                </a:ln>
                <a:solidFill>
                  <a:srgbClr val="2D5EC1"/>
                </a:solidFill>
                <a:effectLst/>
                <a:uLnTx/>
                <a:uFillTx/>
                <a:latin typeface="Arial"/>
                <a:cs typeface="Arial"/>
                <a:sym typeface="Arial"/>
              </a:rPr>
              <a:t>Ziel-FEI-KPIs im Rahmen des Projekts im Vergleich zum aktuellen globalen Stand der Technik.</a:t>
            </a:r>
            <a:endParaRPr kumimoji="0" lang="en-IE" sz="1400" b="1" i="0" u="none" strike="noStrike" kern="0" cap="none" spc="0" normalizeH="0" baseline="0" noProof="0">
              <a:ln>
                <a:noFill/>
              </a:ln>
              <a:solidFill>
                <a:srgbClr val="2D5EC1"/>
              </a:solidFill>
              <a:effectLst/>
              <a:uLnTx/>
              <a:uFillTx/>
              <a:latin typeface="Arial"/>
              <a:cs typeface="Arial"/>
              <a:sym typeface="Arial"/>
            </a:endParaRPr>
          </a:p>
        </p:txBody>
      </p:sp>
      <p:sp>
        <p:nvSpPr>
          <p:cNvPr id="12" name="TextBox 11">
            <a:extLst>
              <a:ext uri="{FF2B5EF4-FFF2-40B4-BE49-F238E27FC236}">
                <a16:creationId xmlns:a16="http://schemas.microsoft.com/office/drawing/2014/main" id="{9A14F356-03FF-09B5-ECB5-5291126767B3}"/>
              </a:ext>
            </a:extLst>
          </p:cNvPr>
          <p:cNvSpPr txBox="1"/>
          <p:nvPr/>
        </p:nvSpPr>
        <p:spPr>
          <a:xfrm>
            <a:off x="6465249" y="3416452"/>
            <a:ext cx="386745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00" b="0" i="0" u="none" strike="noStrike" kern="0" cap="none" spc="0" normalizeH="0" baseline="0" noProof="0">
                <a:ln>
                  <a:noFill/>
                </a:ln>
                <a:solidFill>
                  <a:srgbClr val="000000"/>
                </a:solidFill>
                <a:effectLst/>
                <a:uLnTx/>
                <a:uFillTx/>
                <a:latin typeface="Arial"/>
                <a:cs typeface="Arial"/>
                <a:sym typeface="Arial"/>
              </a:rPr>
              <a:t>Die Massenproduktion beginnt so bald eine „kommerzielle Tätigkeit“ aufgenommen wird. </a:t>
            </a:r>
            <a:endParaRPr kumimoji="0" lang="en-IE" sz="1400" b="0" i="0" u="none" strike="noStrike" kern="0" cap="none" spc="0" normalizeH="0" baseline="0" noProof="0">
              <a:ln>
                <a:noFill/>
              </a:ln>
              <a:solidFill>
                <a:srgbClr val="000000"/>
              </a:solidFill>
              <a:effectLst/>
              <a:uLnTx/>
              <a:uFillTx/>
              <a:latin typeface="Arial"/>
              <a:cs typeface="Arial"/>
              <a:sym typeface="Arial"/>
            </a:endParaRPr>
          </a:p>
        </p:txBody>
      </p:sp>
      <p:sp>
        <p:nvSpPr>
          <p:cNvPr id="13" name="Right Brace 12">
            <a:extLst>
              <a:ext uri="{FF2B5EF4-FFF2-40B4-BE49-F238E27FC236}">
                <a16:creationId xmlns:a16="http://schemas.microsoft.com/office/drawing/2014/main" id="{C6C46D98-475C-80D7-6F7A-2F0AADD96AC8}"/>
              </a:ext>
            </a:extLst>
          </p:cNvPr>
          <p:cNvSpPr/>
          <p:nvPr/>
        </p:nvSpPr>
        <p:spPr>
          <a:xfrm rot="5400000">
            <a:off x="2605515" y="3023700"/>
            <a:ext cx="365760" cy="2967202"/>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E" sz="1400" b="0" i="0" u="none" strike="noStrike" kern="0" cap="none" spc="0" normalizeH="0" baseline="0" noProof="0">
              <a:ln>
                <a:noFill/>
              </a:ln>
              <a:solidFill>
                <a:prstClr val="black"/>
              </a:solidFill>
              <a:effectLst/>
              <a:uLnTx/>
              <a:uFillTx/>
              <a:latin typeface="Arial"/>
              <a:ea typeface="+mn-ea"/>
              <a:cs typeface="+mn-cs"/>
              <a:sym typeface="Arial"/>
            </a:endParaRPr>
          </a:p>
        </p:txBody>
      </p:sp>
      <p:sp>
        <p:nvSpPr>
          <p:cNvPr id="14" name="TextBox 13">
            <a:extLst>
              <a:ext uri="{FF2B5EF4-FFF2-40B4-BE49-F238E27FC236}">
                <a16:creationId xmlns:a16="http://schemas.microsoft.com/office/drawing/2014/main" id="{603AD46A-1DE1-EC7B-E954-BDE5D8B1F988}"/>
              </a:ext>
            </a:extLst>
          </p:cNvPr>
          <p:cNvSpPr txBox="1"/>
          <p:nvPr/>
        </p:nvSpPr>
        <p:spPr>
          <a:xfrm>
            <a:off x="1804792" y="4772892"/>
            <a:ext cx="196720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00" b="0" i="0" u="none" strike="noStrike" kern="0" cap="none" spc="0" normalizeH="0" baseline="0" noProof="0">
                <a:ln>
                  <a:noFill/>
                </a:ln>
                <a:solidFill>
                  <a:srgbClr val="00B050"/>
                </a:solidFill>
                <a:effectLst/>
                <a:uLnTx/>
                <a:uFillTx/>
                <a:latin typeface="Arial"/>
                <a:cs typeface="Arial"/>
                <a:sym typeface="Arial"/>
              </a:rPr>
              <a:t>Fördergrundlage</a:t>
            </a:r>
            <a:br>
              <a:rPr kumimoji="0" lang="de-DE" sz="1400" b="0" i="0" u="none" strike="noStrike" kern="0" cap="none" spc="0" normalizeH="0" baseline="0" noProof="0">
                <a:ln>
                  <a:noFill/>
                </a:ln>
                <a:solidFill>
                  <a:srgbClr val="00B050"/>
                </a:solidFill>
                <a:effectLst/>
                <a:uLnTx/>
                <a:uFillTx/>
                <a:latin typeface="Arial"/>
                <a:cs typeface="Arial"/>
                <a:sym typeface="Arial"/>
              </a:rPr>
            </a:br>
            <a:r>
              <a:rPr kumimoji="0" lang="de-DE" sz="1400" b="0" i="0" u="none" strike="noStrike" kern="0" cap="none" spc="0" normalizeH="0" baseline="0" noProof="0">
                <a:ln>
                  <a:noFill/>
                </a:ln>
                <a:solidFill>
                  <a:srgbClr val="00B050"/>
                </a:solidFill>
                <a:effectLst/>
                <a:uLnTx/>
                <a:uFillTx/>
                <a:latin typeface="Arial"/>
                <a:cs typeface="Arial"/>
                <a:sym typeface="Arial"/>
              </a:rPr>
              <a:t>Beihilfefähige Kosten </a:t>
            </a:r>
            <a:endParaRPr kumimoji="0" lang="en-IE" sz="1400" b="0" i="0" u="none" strike="noStrike" kern="0" cap="none" spc="0" normalizeH="0" baseline="0" noProof="0">
              <a:ln>
                <a:noFill/>
              </a:ln>
              <a:solidFill>
                <a:srgbClr val="00B050"/>
              </a:solidFill>
              <a:effectLst/>
              <a:uLnTx/>
              <a:uFillTx/>
              <a:latin typeface="Arial"/>
              <a:cs typeface="Arial"/>
              <a:sym typeface="Arial"/>
            </a:endParaRPr>
          </a:p>
        </p:txBody>
      </p:sp>
      <p:sp>
        <p:nvSpPr>
          <p:cNvPr id="16" name="Right Brace 15">
            <a:extLst>
              <a:ext uri="{FF2B5EF4-FFF2-40B4-BE49-F238E27FC236}">
                <a16:creationId xmlns:a16="http://schemas.microsoft.com/office/drawing/2014/main" id="{85DE920A-B0D9-DF3A-D453-E3721129A9E2}"/>
              </a:ext>
            </a:extLst>
          </p:cNvPr>
          <p:cNvSpPr/>
          <p:nvPr/>
        </p:nvSpPr>
        <p:spPr>
          <a:xfrm rot="5400000">
            <a:off x="5950837" y="722779"/>
            <a:ext cx="365760" cy="9657846"/>
          </a:xfrm>
          <a:prstGeom prst="righ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E" sz="1400" b="0" i="0" u="none" strike="noStrike" kern="0" cap="none" spc="0" normalizeH="0" baseline="0" noProof="0">
              <a:ln>
                <a:noFill/>
              </a:ln>
              <a:solidFill>
                <a:prstClr val="black"/>
              </a:solidFill>
              <a:effectLst/>
              <a:uLnTx/>
              <a:uFillTx/>
              <a:latin typeface="Arial"/>
              <a:ea typeface="+mn-ea"/>
              <a:cs typeface="+mn-cs"/>
              <a:sym typeface="Arial"/>
            </a:endParaRPr>
          </a:p>
        </p:txBody>
      </p:sp>
      <p:sp>
        <p:nvSpPr>
          <p:cNvPr id="17" name="TextBox 16">
            <a:extLst>
              <a:ext uri="{FF2B5EF4-FFF2-40B4-BE49-F238E27FC236}">
                <a16:creationId xmlns:a16="http://schemas.microsoft.com/office/drawing/2014/main" id="{C530D063-F367-DAC7-7D39-1301E686AEC7}"/>
              </a:ext>
            </a:extLst>
          </p:cNvPr>
          <p:cNvSpPr txBox="1"/>
          <p:nvPr/>
        </p:nvSpPr>
        <p:spPr>
          <a:xfrm>
            <a:off x="5133235" y="5807293"/>
            <a:ext cx="1925527"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00" b="0" i="0" u="none" strike="noStrike" kern="0" cap="none" spc="0" normalizeH="0" baseline="0" noProof="0">
                <a:ln>
                  <a:noFill/>
                </a:ln>
                <a:solidFill>
                  <a:srgbClr val="FF0000"/>
                </a:solidFill>
                <a:effectLst/>
                <a:uLnTx/>
                <a:uFillTx/>
                <a:latin typeface="Arial"/>
                <a:cs typeface="Arial"/>
                <a:sym typeface="Arial"/>
              </a:rPr>
              <a:t>Betrachtungszeitraum</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00" b="0" i="0" u="none" strike="noStrike" kern="0" cap="none" spc="0" normalizeH="0" baseline="0" noProof="0">
                <a:ln>
                  <a:noFill/>
                </a:ln>
                <a:solidFill>
                  <a:srgbClr val="FF0000"/>
                </a:solidFill>
                <a:effectLst/>
                <a:uLnTx/>
                <a:uFillTx/>
                <a:latin typeface="Arial"/>
                <a:cs typeface="Arial"/>
                <a:sym typeface="Arial"/>
              </a:rPr>
              <a:t>Finanzierungslücke</a:t>
            </a:r>
            <a:endParaRPr kumimoji="0" lang="en-IE" sz="1400" b="0" i="0" u="none" strike="noStrike" kern="0" cap="none" spc="0" normalizeH="0" baseline="0" noProof="0">
              <a:ln>
                <a:noFill/>
              </a:ln>
              <a:solidFill>
                <a:srgbClr val="FF0000"/>
              </a:solidFill>
              <a:effectLst/>
              <a:uLnTx/>
              <a:uFillTx/>
              <a:latin typeface="Arial"/>
              <a:cs typeface="Arial"/>
              <a:sym typeface="Arial"/>
            </a:endParaRPr>
          </a:p>
        </p:txBody>
      </p:sp>
    </p:spTree>
    <p:extLst>
      <p:ext uri="{BB962C8B-B14F-4D97-AF65-F5344CB8AC3E}">
        <p14:creationId xmlns:p14="http://schemas.microsoft.com/office/powerpoint/2010/main" val="17512481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F6BB4-B43B-0E7C-707B-FFE0B14F0732}"/>
              </a:ext>
            </a:extLst>
          </p:cNvPr>
          <p:cNvSpPr>
            <a:spLocks noGrp="1"/>
          </p:cNvSpPr>
          <p:nvPr>
            <p:ph type="title"/>
          </p:nvPr>
        </p:nvSpPr>
        <p:spPr/>
        <p:txBody>
          <a:bodyPr/>
          <a:lstStyle/>
          <a:p>
            <a:r>
              <a:rPr lang="de-DE"/>
              <a:t>Marktversagen Punkt 15</a:t>
            </a:r>
            <a:endParaRPr lang="en-IE"/>
          </a:p>
        </p:txBody>
      </p:sp>
      <p:sp>
        <p:nvSpPr>
          <p:cNvPr id="3" name="Content Placeholder 2">
            <a:extLst>
              <a:ext uri="{FF2B5EF4-FFF2-40B4-BE49-F238E27FC236}">
                <a16:creationId xmlns:a16="http://schemas.microsoft.com/office/drawing/2014/main" id="{9B518B2F-FC29-9C84-1937-93F2D2BD0F61}"/>
              </a:ext>
            </a:extLst>
          </p:cNvPr>
          <p:cNvSpPr>
            <a:spLocks noGrp="1"/>
          </p:cNvSpPr>
          <p:nvPr>
            <p:ph idx="1"/>
          </p:nvPr>
        </p:nvSpPr>
        <p:spPr>
          <a:xfrm>
            <a:off x="838200" y="1111136"/>
            <a:ext cx="10515600" cy="4882258"/>
          </a:xfrm>
        </p:spPr>
        <p:txBody>
          <a:bodyPr/>
          <a:lstStyle/>
          <a:p>
            <a:pPr marL="431006" indent="-285750" algn="just">
              <a:spcBef>
                <a:spcPts val="600"/>
              </a:spcBef>
              <a:spcAft>
                <a:spcPts val="600"/>
              </a:spcAft>
              <a:buClr>
                <a:srgbClr val="034EA2"/>
              </a:buClr>
              <a:buFont typeface="Arial" panose="020B0604020202020204" pitchFamily="34" charset="0"/>
              <a:buChar char="•"/>
            </a:pPr>
            <a:r>
              <a:rPr lang="de-DE" sz="1900" dirty="0">
                <a:ea typeface="Times New Roman" panose="02020603050405020304" pitchFamily="18" charset="0"/>
                <a:cs typeface="Times New Roman" panose="02020603050405020304" pitchFamily="18" charset="0"/>
              </a:rPr>
              <a:t>Ein Marktversagen ist ein </a:t>
            </a:r>
            <a:r>
              <a:rPr lang="de-DE" sz="1900" b="1" dirty="0">
                <a:ea typeface="Times New Roman" panose="02020603050405020304" pitchFamily="18" charset="0"/>
                <a:cs typeface="Times New Roman" panose="02020603050405020304" pitchFamily="18" charset="0"/>
              </a:rPr>
              <a:t>ineffizientes Marktergebnis</a:t>
            </a:r>
            <a:r>
              <a:rPr lang="de-DE" sz="1900" dirty="0">
                <a:ea typeface="Times New Roman" panose="02020603050405020304" pitchFamily="18" charset="0"/>
                <a:cs typeface="Times New Roman" panose="02020603050405020304" pitchFamily="18" charset="0"/>
              </a:rPr>
              <a:t>, das auf spezifische Merkmale eines Marktes für Waren und Dienstleistungen zurückzuführen ist. 
Es ist wichtig zu begründen, </a:t>
            </a:r>
            <a:r>
              <a:rPr lang="de-DE" sz="1900" b="1" dirty="0">
                <a:ea typeface="Times New Roman" panose="02020603050405020304" pitchFamily="18" charset="0"/>
                <a:cs typeface="Times New Roman" panose="02020603050405020304" pitchFamily="18" charset="0"/>
              </a:rPr>
              <a:t>warum der Markt allein nicht die gewünschten Ergebnisse liefern würde</a:t>
            </a:r>
            <a:r>
              <a:rPr lang="de-DE" sz="1900" dirty="0">
                <a:ea typeface="Times New Roman" panose="02020603050405020304" pitchFamily="18" charset="0"/>
                <a:cs typeface="Times New Roman" panose="02020603050405020304" pitchFamily="18" charset="0"/>
              </a:rPr>
              <a:t>. Ein „Marktversagen“ liegt vor, wenn der Markt auf sich selbst gestellt wahrscheinlich kein effizientes Ergebnis erbringt.
Marktversagen ist nicht regulatorisches und/oder politisches Versagen.
Vier Hauptkategorien von Marktversagen (nicht erschöpfende Liste): </a:t>
            </a:r>
          </a:p>
          <a:p>
            <a:pPr marL="1345406" lvl="1" indent="-457200" algn="just">
              <a:spcBef>
                <a:spcPts val="600"/>
              </a:spcBef>
              <a:spcAft>
                <a:spcPts val="600"/>
              </a:spcAft>
              <a:buClr>
                <a:srgbClr val="034EA2"/>
              </a:buClr>
              <a:buFont typeface="+mj-lt"/>
              <a:buAutoNum type="arabicParenR"/>
            </a:pPr>
            <a:r>
              <a:rPr lang="de-DE" sz="1900" dirty="0">
                <a:ea typeface="Times New Roman" panose="02020603050405020304" pitchFamily="18" charset="0"/>
                <a:cs typeface="Times New Roman" panose="02020603050405020304" pitchFamily="18" charset="0"/>
              </a:rPr>
              <a:t>Positive externe Effekte
Negative externe Effekte
Koordinationsprobleme
Asymmetrische Informationen</a:t>
            </a:r>
          </a:p>
          <a:p>
            <a:pPr marL="431006" indent="-285750" algn="just">
              <a:spcBef>
                <a:spcPts val="600"/>
              </a:spcBef>
              <a:spcAft>
                <a:spcPts val="600"/>
              </a:spcAft>
              <a:buClr>
                <a:srgbClr val="034EA2"/>
              </a:buClr>
              <a:buFont typeface="Arial" panose="020B0604020202020204" pitchFamily="34" charset="0"/>
              <a:buChar char="•"/>
            </a:pPr>
            <a:r>
              <a:rPr lang="de-DE" sz="1900" dirty="0">
                <a:cs typeface="Times New Roman" panose="02020603050405020304" pitchFamily="18" charset="0"/>
              </a:rPr>
              <a:t>Die Bewertung des Marktversagens muss auf der </a:t>
            </a:r>
            <a:r>
              <a:rPr lang="de-DE" sz="1900" b="1" dirty="0">
                <a:cs typeface="Times New Roman" panose="02020603050405020304" pitchFamily="18" charset="0"/>
              </a:rPr>
              <a:t>Ebene des IPCEI </a:t>
            </a:r>
            <a:r>
              <a:rPr lang="de-DE" sz="1900" dirty="0">
                <a:cs typeface="Times New Roman" panose="02020603050405020304" pitchFamily="18" charset="0"/>
              </a:rPr>
              <a:t>(mit dem Chapeau-Dokument) und auf </a:t>
            </a:r>
            <a:r>
              <a:rPr lang="de-DE" sz="1900" b="1" dirty="0">
                <a:cs typeface="Times New Roman" panose="02020603050405020304" pitchFamily="18" charset="0"/>
              </a:rPr>
              <a:t>Ebene jedes einzelnen Projekts </a:t>
            </a:r>
            <a:r>
              <a:rPr lang="de-DE" sz="1900" dirty="0">
                <a:cs typeface="Times New Roman" panose="02020603050405020304" pitchFamily="18" charset="0"/>
              </a:rPr>
              <a:t>(einzelne Projektportfolios) erfolgen. Für jede Komponente des Projekts und des IPCEI insgesamt sollte mindestens ein relevantes und dokumentiertes Marktversagen erläutert werden.</a:t>
            </a:r>
            <a:endParaRPr lang="en-IE" sz="1900" dirty="0">
              <a:cs typeface="Times New Roman" panose="02020603050405020304" pitchFamily="18" charset="0"/>
            </a:endParaRPr>
          </a:p>
        </p:txBody>
      </p:sp>
    </p:spTree>
    <p:extLst>
      <p:ext uri="{BB962C8B-B14F-4D97-AF65-F5344CB8AC3E}">
        <p14:creationId xmlns:p14="http://schemas.microsoft.com/office/powerpoint/2010/main" val="42388602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ACC37-E281-C1AC-7D56-6465EAAA4128}"/>
              </a:ext>
            </a:extLst>
          </p:cNvPr>
          <p:cNvSpPr>
            <a:spLocks noGrp="1"/>
          </p:cNvSpPr>
          <p:nvPr>
            <p:ph type="title"/>
          </p:nvPr>
        </p:nvSpPr>
        <p:spPr>
          <a:xfrm>
            <a:off x="838199" y="365126"/>
            <a:ext cx="10994679" cy="816904"/>
          </a:xfrm>
        </p:spPr>
        <p:txBody>
          <a:bodyPr/>
          <a:lstStyle/>
          <a:p>
            <a:r>
              <a:rPr lang="de-DE" dirty="0"/>
              <a:t>Was ist ein Marktversagen und was nicht?</a:t>
            </a:r>
          </a:p>
        </p:txBody>
      </p:sp>
      <p:graphicFrame>
        <p:nvGraphicFramePr>
          <p:cNvPr id="4" name="Table 3">
            <a:extLst>
              <a:ext uri="{FF2B5EF4-FFF2-40B4-BE49-F238E27FC236}">
                <a16:creationId xmlns:a16="http://schemas.microsoft.com/office/drawing/2014/main" id="{9B93453D-FBE4-5BD8-C04D-7B02AA6C2D1D}"/>
              </a:ext>
            </a:extLst>
          </p:cNvPr>
          <p:cNvGraphicFramePr>
            <a:graphicFrameLocks noGrp="1"/>
          </p:cNvGraphicFramePr>
          <p:nvPr>
            <p:extLst/>
          </p:nvPr>
        </p:nvGraphicFramePr>
        <p:xfrm>
          <a:off x="923454" y="1715075"/>
          <a:ext cx="10429592" cy="4150360"/>
        </p:xfrm>
        <a:graphic>
          <a:graphicData uri="http://schemas.openxmlformats.org/drawingml/2006/table">
            <a:tbl>
              <a:tblPr firstRow="1">
                <a:tableStyleId>{9DCAF9ED-07DC-4A11-8D7F-57B35C25682E}</a:tableStyleId>
              </a:tblPr>
              <a:tblGrid>
                <a:gridCol w="2737927">
                  <a:extLst>
                    <a:ext uri="{9D8B030D-6E8A-4147-A177-3AD203B41FA5}">
                      <a16:colId xmlns:a16="http://schemas.microsoft.com/office/drawing/2014/main" val="779934644"/>
                    </a:ext>
                  </a:extLst>
                </a:gridCol>
                <a:gridCol w="4088385">
                  <a:extLst>
                    <a:ext uri="{9D8B030D-6E8A-4147-A177-3AD203B41FA5}">
                      <a16:colId xmlns:a16="http://schemas.microsoft.com/office/drawing/2014/main" val="4003285502"/>
                    </a:ext>
                  </a:extLst>
                </a:gridCol>
                <a:gridCol w="3603280">
                  <a:extLst>
                    <a:ext uri="{9D8B030D-6E8A-4147-A177-3AD203B41FA5}">
                      <a16:colId xmlns:a16="http://schemas.microsoft.com/office/drawing/2014/main" val="3955073850"/>
                    </a:ext>
                  </a:extLst>
                </a:gridCol>
              </a:tblGrid>
              <a:tr h="370840">
                <a:tc>
                  <a:txBody>
                    <a:bodyPr/>
                    <a:lstStyle/>
                    <a:p>
                      <a:pPr algn="ctr"/>
                      <a:endParaRPr lang="de-DE" sz="1800" noProof="0" dirty="0">
                        <a:latin typeface="+mn-lt"/>
                      </a:endParaRPr>
                    </a:p>
                  </a:txBody>
                  <a:tcPr anchor="ctr">
                    <a:lnL w="12700" cap="flat" cmpd="sng" algn="ctr">
                      <a:solidFill>
                        <a:srgbClr val="3E6FD2"/>
                      </a:solidFill>
                      <a:prstDash val="solid"/>
                      <a:round/>
                      <a:headEnd type="none" w="med" len="med"/>
                      <a:tailEnd type="none" w="med" len="med"/>
                    </a:lnL>
                    <a:lnR w="12700" cap="flat" cmpd="sng" algn="ctr">
                      <a:solidFill>
                        <a:srgbClr val="3E6FD2"/>
                      </a:solidFill>
                      <a:prstDash val="solid"/>
                      <a:round/>
                      <a:headEnd type="none" w="med" len="med"/>
                      <a:tailEnd type="none" w="med" len="med"/>
                    </a:lnR>
                    <a:lnT w="12700" cap="flat" cmpd="sng" algn="ctr">
                      <a:solidFill>
                        <a:srgbClr val="3E6FD2"/>
                      </a:solidFill>
                      <a:prstDash val="solid"/>
                      <a:round/>
                      <a:headEnd type="none" w="med" len="med"/>
                      <a:tailEnd type="none" w="med" len="med"/>
                    </a:lnT>
                    <a:lnB w="12700" cap="flat" cmpd="sng" algn="ctr">
                      <a:solidFill>
                        <a:srgbClr val="3E6FD2"/>
                      </a:solidFill>
                      <a:prstDash val="solid"/>
                      <a:round/>
                      <a:headEnd type="none" w="med" len="med"/>
                      <a:tailEnd type="none" w="med" len="med"/>
                    </a:lnB>
                    <a:solidFill>
                      <a:schemeClr val="accent2"/>
                    </a:solidFill>
                  </a:tcPr>
                </a:tc>
                <a:tc>
                  <a:txBody>
                    <a:bodyPr/>
                    <a:lstStyle/>
                    <a:p>
                      <a:pPr algn="ctr"/>
                      <a:r>
                        <a:rPr lang="de-DE" sz="1800" noProof="0" dirty="0">
                          <a:latin typeface="+mn-lt"/>
                        </a:rPr>
                        <a:t>Ja</a:t>
                      </a:r>
                    </a:p>
                  </a:txBody>
                  <a:tcPr anchor="ctr">
                    <a:lnL w="12700" cap="flat" cmpd="sng" algn="ctr">
                      <a:solidFill>
                        <a:srgbClr val="3E6FD2"/>
                      </a:solidFill>
                      <a:prstDash val="solid"/>
                      <a:round/>
                      <a:headEnd type="none" w="med" len="med"/>
                      <a:tailEnd type="none" w="med" len="med"/>
                    </a:lnL>
                    <a:lnR w="12700" cap="flat" cmpd="sng" algn="ctr">
                      <a:solidFill>
                        <a:srgbClr val="3E6FD2"/>
                      </a:solidFill>
                      <a:prstDash val="solid"/>
                      <a:round/>
                      <a:headEnd type="none" w="med" len="med"/>
                      <a:tailEnd type="none" w="med" len="med"/>
                    </a:lnR>
                    <a:lnT w="12700" cap="flat" cmpd="sng" algn="ctr">
                      <a:solidFill>
                        <a:srgbClr val="3E6FD2"/>
                      </a:solidFill>
                      <a:prstDash val="solid"/>
                      <a:round/>
                      <a:headEnd type="none" w="med" len="med"/>
                      <a:tailEnd type="none" w="med" len="med"/>
                    </a:lnT>
                    <a:lnB w="12700" cap="flat" cmpd="sng" algn="ctr">
                      <a:solidFill>
                        <a:srgbClr val="3E6FD2"/>
                      </a:solidFill>
                      <a:prstDash val="solid"/>
                      <a:round/>
                      <a:headEnd type="none" w="med" len="med"/>
                      <a:tailEnd type="none" w="med" len="med"/>
                    </a:lnB>
                    <a:solidFill>
                      <a:schemeClr val="accent2"/>
                    </a:solidFill>
                  </a:tcPr>
                </a:tc>
                <a:tc>
                  <a:txBody>
                    <a:bodyPr/>
                    <a:lstStyle/>
                    <a:p>
                      <a:pPr algn="ctr"/>
                      <a:r>
                        <a:rPr lang="de-DE" sz="1800" noProof="0" dirty="0">
                          <a:latin typeface="+mn-lt"/>
                        </a:rPr>
                        <a:t>Nein</a:t>
                      </a:r>
                    </a:p>
                  </a:txBody>
                  <a:tcPr anchor="ctr">
                    <a:lnL w="12700" cap="flat" cmpd="sng" algn="ctr">
                      <a:solidFill>
                        <a:srgbClr val="3E6FD2"/>
                      </a:solidFill>
                      <a:prstDash val="solid"/>
                      <a:round/>
                      <a:headEnd type="none" w="med" len="med"/>
                      <a:tailEnd type="none" w="med" len="med"/>
                    </a:lnL>
                    <a:lnR w="12700" cap="flat" cmpd="sng" algn="ctr">
                      <a:solidFill>
                        <a:srgbClr val="3E6FD2"/>
                      </a:solidFill>
                      <a:prstDash val="solid"/>
                      <a:round/>
                      <a:headEnd type="none" w="med" len="med"/>
                      <a:tailEnd type="none" w="med" len="med"/>
                    </a:lnR>
                    <a:lnT w="12700" cap="flat" cmpd="sng" algn="ctr">
                      <a:solidFill>
                        <a:srgbClr val="3E6FD2"/>
                      </a:solidFill>
                      <a:prstDash val="solid"/>
                      <a:round/>
                      <a:headEnd type="none" w="med" len="med"/>
                      <a:tailEnd type="none" w="med" len="med"/>
                    </a:lnT>
                    <a:lnB w="12700" cap="flat" cmpd="sng" algn="ctr">
                      <a:solidFill>
                        <a:srgbClr val="3E6FD2"/>
                      </a:solidFill>
                      <a:prstDash val="solid"/>
                      <a:round/>
                      <a:headEnd type="none" w="med" len="med"/>
                      <a:tailEnd type="none" w="med" len="med"/>
                    </a:lnB>
                    <a:solidFill>
                      <a:schemeClr val="accent2"/>
                    </a:solidFill>
                  </a:tcPr>
                </a:tc>
                <a:extLst>
                  <a:ext uri="{0D108BD9-81ED-4DB2-BD59-A6C34878D82A}">
                    <a16:rowId xmlns:a16="http://schemas.microsoft.com/office/drawing/2014/main" val="84709238"/>
                  </a:ext>
                </a:extLst>
              </a:tr>
              <a:tr h="41659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DE" sz="1600" b="1" noProof="0" dirty="0">
                          <a:latin typeface="+mn-lt"/>
                        </a:rPr>
                        <a:t>Positive externe Effekte</a:t>
                      </a:r>
                    </a:p>
                  </a:txBody>
                  <a:tcPr anchor="ctr">
                    <a:lnL w="12700" cap="flat" cmpd="sng" algn="ctr">
                      <a:solidFill>
                        <a:srgbClr val="3E6FD2"/>
                      </a:solidFill>
                      <a:prstDash val="solid"/>
                      <a:round/>
                      <a:headEnd type="none" w="med" len="med"/>
                      <a:tailEnd type="none" w="med" len="med"/>
                    </a:lnL>
                    <a:lnR w="12700" cap="flat" cmpd="sng" algn="ctr">
                      <a:solidFill>
                        <a:srgbClr val="3E6FD2"/>
                      </a:solidFill>
                      <a:prstDash val="solid"/>
                      <a:round/>
                      <a:headEnd type="none" w="med" len="med"/>
                      <a:tailEnd type="none" w="med" len="med"/>
                    </a:lnR>
                    <a:lnT w="12700" cap="flat" cmpd="sng" algn="ctr">
                      <a:solidFill>
                        <a:srgbClr val="3E6FD2"/>
                      </a:solidFill>
                      <a:prstDash val="solid"/>
                      <a:round/>
                      <a:headEnd type="none" w="med" len="med"/>
                      <a:tailEnd type="none" w="med" len="med"/>
                    </a:lnT>
                    <a:lnB w="12700" cap="flat" cmpd="sng" algn="ctr">
                      <a:solidFill>
                        <a:srgbClr val="3E6FD2"/>
                      </a:solidFill>
                      <a:prstDash val="solid"/>
                      <a:round/>
                      <a:headEnd type="none" w="med" len="med"/>
                      <a:tailEnd type="none" w="med" len="med"/>
                    </a:lnB>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DE" sz="1600" kern="1200" noProof="0" dirty="0">
                          <a:solidFill>
                            <a:schemeClr val="dk1"/>
                          </a:solidFill>
                          <a:effectLst/>
                          <a:latin typeface="+mn-lt"/>
                          <a:ea typeface="+mn-ea"/>
                          <a:cs typeface="+mn-cs"/>
                        </a:rPr>
                        <a:t>Das Unternehmen erbringt der Gesellschaft einen Nutzen, den es nicht vollständig verinnerlicht</a:t>
                      </a:r>
                    </a:p>
                  </a:txBody>
                  <a:tcPr anchor="ctr">
                    <a:lnL w="12700" cap="flat" cmpd="sng" algn="ctr">
                      <a:solidFill>
                        <a:srgbClr val="3E6FD2"/>
                      </a:solidFill>
                      <a:prstDash val="solid"/>
                      <a:round/>
                      <a:headEnd type="none" w="med" len="med"/>
                      <a:tailEnd type="none" w="med" len="med"/>
                    </a:lnL>
                    <a:lnR w="12700" cap="flat" cmpd="sng" algn="ctr">
                      <a:solidFill>
                        <a:srgbClr val="3E6FD2"/>
                      </a:solidFill>
                      <a:prstDash val="solid"/>
                      <a:round/>
                      <a:headEnd type="none" w="med" len="med"/>
                      <a:tailEnd type="none" w="med" len="med"/>
                    </a:lnR>
                    <a:lnT w="12700" cap="flat" cmpd="sng" algn="ctr">
                      <a:solidFill>
                        <a:srgbClr val="3E6FD2"/>
                      </a:solidFill>
                      <a:prstDash val="solid"/>
                      <a:round/>
                      <a:headEnd type="none" w="med" len="med"/>
                      <a:tailEnd type="none" w="med" len="med"/>
                    </a:lnT>
                    <a:lnB w="12700" cap="flat" cmpd="sng" algn="ctr">
                      <a:solidFill>
                        <a:srgbClr val="3E6FD2"/>
                      </a:solidFill>
                      <a:prstDash val="solid"/>
                      <a:round/>
                      <a:headEnd type="none" w="med" len="med"/>
                      <a:tailEnd type="none" w="med" len="med"/>
                    </a:lnB>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DE" sz="1600" noProof="0" dirty="0">
                          <a:latin typeface="+mn-lt"/>
                        </a:rPr>
                        <a:t>Spillover-Effekte, die durch die IPCEI-Regeln vorgeschrieben sind</a:t>
                      </a:r>
                    </a:p>
                  </a:txBody>
                  <a:tcPr anchor="ctr">
                    <a:lnL w="12700" cap="flat" cmpd="sng" algn="ctr">
                      <a:solidFill>
                        <a:srgbClr val="3E6FD2"/>
                      </a:solidFill>
                      <a:prstDash val="solid"/>
                      <a:round/>
                      <a:headEnd type="none" w="med" len="med"/>
                      <a:tailEnd type="none" w="med" len="med"/>
                    </a:lnL>
                    <a:lnR w="12700" cap="flat" cmpd="sng" algn="ctr">
                      <a:solidFill>
                        <a:srgbClr val="3E6FD2"/>
                      </a:solidFill>
                      <a:prstDash val="solid"/>
                      <a:round/>
                      <a:headEnd type="none" w="med" len="med"/>
                      <a:tailEnd type="none" w="med" len="med"/>
                    </a:lnR>
                    <a:lnT w="12700" cap="flat" cmpd="sng" algn="ctr">
                      <a:solidFill>
                        <a:srgbClr val="3E6FD2"/>
                      </a:solidFill>
                      <a:prstDash val="solid"/>
                      <a:round/>
                      <a:headEnd type="none" w="med" len="med"/>
                      <a:tailEnd type="none" w="med" len="med"/>
                    </a:lnT>
                    <a:lnB w="12700" cap="flat" cmpd="sng" algn="ctr">
                      <a:solidFill>
                        <a:srgbClr val="3E6FD2"/>
                      </a:solidFill>
                      <a:prstDash val="solid"/>
                      <a:round/>
                      <a:headEnd type="none" w="med" len="med"/>
                      <a:tailEnd type="none" w="med" len="med"/>
                    </a:lnB>
                  </a:tcPr>
                </a:tc>
                <a:extLst>
                  <a:ext uri="{0D108BD9-81ED-4DB2-BD59-A6C34878D82A}">
                    <a16:rowId xmlns:a16="http://schemas.microsoft.com/office/drawing/2014/main" val="526323851"/>
                  </a:ext>
                </a:extLst>
              </a:tr>
              <a:tr h="37084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DE" sz="1600" b="1" noProof="0" dirty="0">
                          <a:latin typeface="+mn-lt"/>
                        </a:rPr>
                        <a:t>Negative externe Effekte</a:t>
                      </a:r>
                    </a:p>
                  </a:txBody>
                  <a:tcPr anchor="ctr">
                    <a:lnL w="12700" cap="flat" cmpd="sng" algn="ctr">
                      <a:solidFill>
                        <a:srgbClr val="3E6FD2"/>
                      </a:solidFill>
                      <a:prstDash val="solid"/>
                      <a:round/>
                      <a:headEnd type="none" w="med" len="med"/>
                      <a:tailEnd type="none" w="med" len="med"/>
                    </a:lnL>
                    <a:lnR w="12700" cap="flat" cmpd="sng" algn="ctr">
                      <a:solidFill>
                        <a:srgbClr val="3E6FD2"/>
                      </a:solidFill>
                      <a:prstDash val="solid"/>
                      <a:round/>
                      <a:headEnd type="none" w="med" len="med"/>
                      <a:tailEnd type="none" w="med" len="med"/>
                    </a:lnR>
                    <a:lnT w="12700" cap="flat" cmpd="sng" algn="ctr">
                      <a:solidFill>
                        <a:srgbClr val="3E6FD2"/>
                      </a:solidFill>
                      <a:prstDash val="solid"/>
                      <a:round/>
                      <a:headEnd type="none" w="med" len="med"/>
                      <a:tailEnd type="none" w="med" len="med"/>
                    </a:lnT>
                    <a:lnB w="12700" cap="flat" cmpd="sng" algn="ctr">
                      <a:solidFill>
                        <a:srgbClr val="3E6FD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kern="1200" noProof="0" dirty="0">
                          <a:solidFill>
                            <a:schemeClr val="dk1"/>
                          </a:solidFill>
                          <a:effectLst/>
                          <a:latin typeface="+mn-lt"/>
                          <a:ea typeface="+mn-ea"/>
                          <a:cs typeface="+mn-cs"/>
                        </a:rPr>
                        <a:t>Das Unternehmen trägt nicht die vollen Kosten des Schadens, den es der Gesellschaft zufügt</a:t>
                      </a:r>
                    </a:p>
                  </a:txBody>
                  <a:tcPr anchor="ctr">
                    <a:lnL w="12700" cap="flat" cmpd="sng" algn="ctr">
                      <a:solidFill>
                        <a:srgbClr val="3E6FD2"/>
                      </a:solidFill>
                      <a:prstDash val="solid"/>
                      <a:round/>
                      <a:headEnd type="none" w="med" len="med"/>
                      <a:tailEnd type="none" w="med" len="med"/>
                    </a:lnL>
                    <a:lnR w="12700" cap="flat" cmpd="sng" algn="ctr">
                      <a:solidFill>
                        <a:srgbClr val="3E6FD2"/>
                      </a:solidFill>
                      <a:prstDash val="solid"/>
                      <a:round/>
                      <a:headEnd type="none" w="med" len="med"/>
                      <a:tailEnd type="none" w="med" len="med"/>
                    </a:lnR>
                    <a:lnT w="12700" cap="flat" cmpd="sng" algn="ctr">
                      <a:solidFill>
                        <a:srgbClr val="3E6FD2"/>
                      </a:solidFill>
                      <a:prstDash val="solid"/>
                      <a:round/>
                      <a:headEnd type="none" w="med" len="med"/>
                      <a:tailEnd type="none" w="med" len="med"/>
                    </a:lnT>
                    <a:lnB w="12700" cap="flat" cmpd="sng" algn="ctr">
                      <a:solidFill>
                        <a:srgbClr val="3E6FD2"/>
                      </a:solidFill>
                      <a:prstDash val="solid"/>
                      <a:round/>
                      <a:headEnd type="none" w="med" len="med"/>
                      <a:tailEnd type="none" w="med" len="med"/>
                    </a:lnB>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de-DE" sz="1600" noProof="0" dirty="0">
                          <a:latin typeface="+mn-lt"/>
                        </a:rPr>
                        <a:t>Vermeidung negativer Auswirkungen von Projekten</a:t>
                      </a:r>
                    </a:p>
                  </a:txBody>
                  <a:tcPr anchor="ctr">
                    <a:lnL w="12700" cap="flat" cmpd="sng" algn="ctr">
                      <a:solidFill>
                        <a:srgbClr val="3E6FD2"/>
                      </a:solidFill>
                      <a:prstDash val="solid"/>
                      <a:round/>
                      <a:headEnd type="none" w="med" len="med"/>
                      <a:tailEnd type="none" w="med" len="med"/>
                    </a:lnL>
                    <a:lnR w="12700" cap="flat" cmpd="sng" algn="ctr">
                      <a:solidFill>
                        <a:srgbClr val="3E6FD2"/>
                      </a:solidFill>
                      <a:prstDash val="solid"/>
                      <a:round/>
                      <a:headEnd type="none" w="med" len="med"/>
                      <a:tailEnd type="none" w="med" len="med"/>
                    </a:lnR>
                    <a:lnT w="12700" cap="flat" cmpd="sng" algn="ctr">
                      <a:solidFill>
                        <a:srgbClr val="3E6FD2"/>
                      </a:solidFill>
                      <a:prstDash val="solid"/>
                      <a:round/>
                      <a:headEnd type="none" w="med" len="med"/>
                      <a:tailEnd type="none" w="med" len="med"/>
                    </a:lnT>
                    <a:lnB w="12700" cap="flat" cmpd="sng" algn="ctr">
                      <a:solidFill>
                        <a:srgbClr val="3E6FD2"/>
                      </a:solidFill>
                      <a:prstDash val="solid"/>
                      <a:round/>
                      <a:headEnd type="none" w="med" len="med"/>
                      <a:tailEnd type="none" w="med" len="med"/>
                    </a:lnB>
                  </a:tcPr>
                </a:tc>
                <a:extLst>
                  <a:ext uri="{0D108BD9-81ED-4DB2-BD59-A6C34878D82A}">
                    <a16:rowId xmlns:a16="http://schemas.microsoft.com/office/drawing/2014/main" val="2556380434"/>
                  </a:ext>
                </a:extLst>
              </a:tr>
              <a:tr h="370840">
                <a:tc>
                  <a:txBody>
                    <a:bodyPr/>
                    <a:lstStyle/>
                    <a:p>
                      <a:pPr algn="ctr"/>
                      <a:r>
                        <a:rPr lang="de-DE" sz="1600" b="1" noProof="0" dirty="0">
                          <a:latin typeface="+mn-lt"/>
                        </a:rPr>
                        <a:t>Koordinationsprobleme</a:t>
                      </a:r>
                    </a:p>
                  </a:txBody>
                  <a:tcPr anchor="ctr">
                    <a:lnL w="12700" cap="flat" cmpd="sng" algn="ctr">
                      <a:solidFill>
                        <a:srgbClr val="3E6FD2"/>
                      </a:solidFill>
                      <a:prstDash val="solid"/>
                      <a:round/>
                      <a:headEnd type="none" w="med" len="med"/>
                      <a:tailEnd type="none" w="med" len="med"/>
                    </a:lnL>
                    <a:lnR w="12700" cap="flat" cmpd="sng" algn="ctr">
                      <a:solidFill>
                        <a:srgbClr val="3E6FD2"/>
                      </a:solidFill>
                      <a:prstDash val="solid"/>
                      <a:round/>
                      <a:headEnd type="none" w="med" len="med"/>
                      <a:tailEnd type="none" w="med" len="med"/>
                    </a:lnR>
                    <a:lnT w="12700" cap="flat" cmpd="sng" algn="ctr">
                      <a:solidFill>
                        <a:srgbClr val="3E6FD2"/>
                      </a:solidFill>
                      <a:prstDash val="solid"/>
                      <a:round/>
                      <a:headEnd type="none" w="med" len="med"/>
                      <a:tailEnd type="none" w="med" len="med"/>
                    </a:lnT>
                    <a:lnB w="12700" cap="flat" cmpd="sng" algn="ctr">
                      <a:solidFill>
                        <a:srgbClr val="3E6FD2"/>
                      </a:solidFill>
                      <a:prstDash val="solid"/>
                      <a:round/>
                      <a:headEnd type="none" w="med" len="med"/>
                      <a:tailEnd type="none" w="med" len="med"/>
                    </a:lnB>
                  </a:tcPr>
                </a:tc>
                <a:tc>
                  <a:txBody>
                    <a:bodyPr/>
                    <a:lstStyle/>
                    <a:p>
                      <a:pPr marL="0" algn="ctr" defTabSz="914400" rtl="0" eaLnBrk="1" latinLnBrk="0" hangingPunct="1"/>
                      <a:r>
                        <a:rPr lang="de-DE" sz="1600" kern="1200" noProof="0" dirty="0">
                          <a:solidFill>
                            <a:schemeClr val="dk1"/>
                          </a:solidFill>
                          <a:effectLst/>
                          <a:latin typeface="+mn-lt"/>
                          <a:ea typeface="+mn-ea"/>
                          <a:cs typeface="+mn-cs"/>
                        </a:rPr>
                        <a:t>Mehrere Akteure müssen gleichzeitig investieren, um ein neues Projekt/eine neue Technologie zum Nutzen der Gesellschaft zu realisieren</a:t>
                      </a:r>
                    </a:p>
                  </a:txBody>
                  <a:tcPr anchor="ctr">
                    <a:lnL w="12700" cap="flat" cmpd="sng" algn="ctr">
                      <a:solidFill>
                        <a:srgbClr val="3E6FD2"/>
                      </a:solidFill>
                      <a:prstDash val="solid"/>
                      <a:round/>
                      <a:headEnd type="none" w="med" len="med"/>
                      <a:tailEnd type="none" w="med" len="med"/>
                    </a:lnL>
                    <a:lnR w="12700" cap="flat" cmpd="sng" algn="ctr">
                      <a:solidFill>
                        <a:srgbClr val="3E6FD2"/>
                      </a:solidFill>
                      <a:prstDash val="solid"/>
                      <a:round/>
                      <a:headEnd type="none" w="med" len="med"/>
                      <a:tailEnd type="none" w="med" len="med"/>
                    </a:lnR>
                    <a:lnT w="12700" cap="flat" cmpd="sng" algn="ctr">
                      <a:solidFill>
                        <a:srgbClr val="3E6FD2"/>
                      </a:solidFill>
                      <a:prstDash val="solid"/>
                      <a:round/>
                      <a:headEnd type="none" w="med" len="med"/>
                      <a:tailEnd type="none" w="med" len="med"/>
                    </a:lnT>
                    <a:lnB w="12700" cap="flat" cmpd="sng" algn="ctr">
                      <a:solidFill>
                        <a:srgbClr val="3E6FD2"/>
                      </a:solidFill>
                      <a:prstDash val="solid"/>
                      <a:round/>
                      <a:headEnd type="none" w="med" len="med"/>
                      <a:tailEnd type="none" w="med" len="med"/>
                    </a:lnB>
                  </a:tcPr>
                </a:tc>
                <a:tc>
                  <a:txBody>
                    <a:bodyPr/>
                    <a:lstStyle/>
                    <a:p>
                      <a:pPr algn="ctr"/>
                      <a:r>
                        <a:rPr lang="de-DE" sz="1600" noProof="0" dirty="0">
                          <a:latin typeface="+mn-lt"/>
                        </a:rPr>
                        <a:t>Managementschwierigkeiten bei der Zusammenarbeit mit vielen Partnern</a:t>
                      </a:r>
                    </a:p>
                  </a:txBody>
                  <a:tcPr anchor="ctr">
                    <a:lnL w="12700" cap="flat" cmpd="sng" algn="ctr">
                      <a:solidFill>
                        <a:srgbClr val="3E6FD2"/>
                      </a:solidFill>
                      <a:prstDash val="solid"/>
                      <a:round/>
                      <a:headEnd type="none" w="med" len="med"/>
                      <a:tailEnd type="none" w="med" len="med"/>
                    </a:lnL>
                    <a:lnR w="12700" cap="flat" cmpd="sng" algn="ctr">
                      <a:solidFill>
                        <a:srgbClr val="3E6FD2"/>
                      </a:solidFill>
                      <a:prstDash val="solid"/>
                      <a:round/>
                      <a:headEnd type="none" w="med" len="med"/>
                      <a:tailEnd type="none" w="med" len="med"/>
                    </a:lnR>
                    <a:lnT w="12700" cap="flat" cmpd="sng" algn="ctr">
                      <a:solidFill>
                        <a:srgbClr val="3E6FD2"/>
                      </a:solidFill>
                      <a:prstDash val="solid"/>
                      <a:round/>
                      <a:headEnd type="none" w="med" len="med"/>
                      <a:tailEnd type="none" w="med" len="med"/>
                    </a:lnT>
                    <a:lnB w="12700" cap="flat" cmpd="sng" algn="ctr">
                      <a:solidFill>
                        <a:srgbClr val="3E6FD2"/>
                      </a:solidFill>
                      <a:prstDash val="solid"/>
                      <a:round/>
                      <a:headEnd type="none" w="med" len="med"/>
                      <a:tailEnd type="none" w="med" len="med"/>
                    </a:lnB>
                  </a:tcPr>
                </a:tc>
                <a:extLst>
                  <a:ext uri="{0D108BD9-81ED-4DB2-BD59-A6C34878D82A}">
                    <a16:rowId xmlns:a16="http://schemas.microsoft.com/office/drawing/2014/main" val="1994448033"/>
                  </a:ext>
                </a:extLst>
              </a:tr>
              <a:tr h="370840">
                <a:tc>
                  <a:txBody>
                    <a:bodyPr/>
                    <a:lstStyle/>
                    <a:p>
                      <a:pPr algn="ctr"/>
                      <a:r>
                        <a:rPr lang="de-DE" sz="1600" b="1" noProof="0" dirty="0">
                          <a:latin typeface="+mn-lt"/>
                        </a:rPr>
                        <a:t>Asymmetrische Informationen</a:t>
                      </a:r>
                    </a:p>
                  </a:txBody>
                  <a:tcPr anchor="ctr">
                    <a:lnL w="12700" cap="flat" cmpd="sng" algn="ctr">
                      <a:solidFill>
                        <a:srgbClr val="3E6FD2"/>
                      </a:solidFill>
                      <a:prstDash val="solid"/>
                      <a:round/>
                      <a:headEnd type="none" w="med" len="med"/>
                      <a:tailEnd type="none" w="med" len="med"/>
                    </a:lnL>
                    <a:lnR w="12700" cap="flat" cmpd="sng" algn="ctr">
                      <a:solidFill>
                        <a:srgbClr val="3E6FD2"/>
                      </a:solidFill>
                      <a:prstDash val="solid"/>
                      <a:round/>
                      <a:headEnd type="none" w="med" len="med"/>
                      <a:tailEnd type="none" w="med" len="med"/>
                    </a:lnR>
                    <a:lnT w="12700" cap="flat" cmpd="sng" algn="ctr">
                      <a:solidFill>
                        <a:srgbClr val="3E6FD2"/>
                      </a:solidFill>
                      <a:prstDash val="solid"/>
                      <a:round/>
                      <a:headEnd type="none" w="med" len="med"/>
                      <a:tailEnd type="none" w="med" len="med"/>
                    </a:lnT>
                    <a:lnB w="12700" cap="flat" cmpd="sng" algn="ctr">
                      <a:solidFill>
                        <a:srgbClr val="3E6FD2"/>
                      </a:solidFill>
                      <a:prstDash val="solid"/>
                      <a:round/>
                      <a:headEnd type="none" w="med" len="med"/>
                      <a:tailEnd type="none" w="med" len="med"/>
                    </a:lnB>
                  </a:tcPr>
                </a:tc>
                <a:tc>
                  <a:txBody>
                    <a:bodyPr/>
                    <a:lstStyle/>
                    <a:p>
                      <a:pPr algn="ctr"/>
                      <a:r>
                        <a:rPr lang="de-DE" sz="1600" kern="1200" noProof="0" dirty="0">
                          <a:solidFill>
                            <a:schemeClr val="dk1"/>
                          </a:solidFill>
                          <a:effectLst/>
                          <a:latin typeface="+mn-lt"/>
                          <a:ea typeface="+mn-ea"/>
                          <a:cs typeface="+mn-cs"/>
                        </a:rPr>
                        <a:t>Unternehmen oder potentielle Innovatoren sind über die tatsächlichen Aussichten ihrer Projekte besser informiert als Investoren</a:t>
                      </a:r>
                      <a:endParaRPr lang="de-DE" sz="1600" noProof="0" dirty="0">
                        <a:latin typeface="+mn-lt"/>
                      </a:endParaRPr>
                    </a:p>
                  </a:txBody>
                  <a:tcPr anchor="ctr">
                    <a:lnL w="12700" cap="flat" cmpd="sng" algn="ctr">
                      <a:solidFill>
                        <a:srgbClr val="3E6FD2"/>
                      </a:solidFill>
                      <a:prstDash val="solid"/>
                      <a:round/>
                      <a:headEnd type="none" w="med" len="med"/>
                      <a:tailEnd type="none" w="med" len="med"/>
                    </a:lnL>
                    <a:lnR w="12700" cap="flat" cmpd="sng" algn="ctr">
                      <a:solidFill>
                        <a:srgbClr val="3E6FD2"/>
                      </a:solidFill>
                      <a:prstDash val="solid"/>
                      <a:round/>
                      <a:headEnd type="none" w="med" len="med"/>
                      <a:tailEnd type="none" w="med" len="med"/>
                    </a:lnR>
                    <a:lnT w="12700" cap="flat" cmpd="sng" algn="ctr">
                      <a:solidFill>
                        <a:srgbClr val="3E6FD2"/>
                      </a:solidFill>
                      <a:prstDash val="solid"/>
                      <a:round/>
                      <a:headEnd type="none" w="med" len="med"/>
                      <a:tailEnd type="none" w="med" len="med"/>
                    </a:lnT>
                    <a:lnB w="12700" cap="flat" cmpd="sng" algn="ctr">
                      <a:solidFill>
                        <a:srgbClr val="3E6FD2"/>
                      </a:solidFill>
                      <a:prstDash val="solid"/>
                      <a:round/>
                      <a:headEnd type="none" w="med" len="med"/>
                      <a:tailEnd type="none" w="med" len="med"/>
                    </a:lnB>
                  </a:tcPr>
                </a:tc>
                <a:tc>
                  <a:txBody>
                    <a:bodyPr/>
                    <a:lstStyle/>
                    <a:p>
                      <a:pPr algn="ctr"/>
                      <a:r>
                        <a:rPr lang="de-DE" sz="1600" noProof="0" dirty="0">
                          <a:latin typeface="+mn-lt"/>
                        </a:rPr>
                        <a:t>Es ist nicht überzeugend, einen Mangel an Finanzmitteln zu argumentieren, z. B. bei großen/etablierten Unternehmen</a:t>
                      </a:r>
                    </a:p>
                  </a:txBody>
                  <a:tcPr anchor="ctr">
                    <a:lnL w="12700" cap="flat" cmpd="sng" algn="ctr">
                      <a:solidFill>
                        <a:srgbClr val="3E6FD2"/>
                      </a:solidFill>
                      <a:prstDash val="solid"/>
                      <a:round/>
                      <a:headEnd type="none" w="med" len="med"/>
                      <a:tailEnd type="none" w="med" len="med"/>
                    </a:lnL>
                    <a:lnR w="12700" cap="flat" cmpd="sng" algn="ctr">
                      <a:solidFill>
                        <a:srgbClr val="3E6FD2"/>
                      </a:solidFill>
                      <a:prstDash val="solid"/>
                      <a:round/>
                      <a:headEnd type="none" w="med" len="med"/>
                      <a:tailEnd type="none" w="med" len="med"/>
                    </a:lnR>
                    <a:lnT w="12700" cap="flat" cmpd="sng" algn="ctr">
                      <a:solidFill>
                        <a:srgbClr val="3E6FD2"/>
                      </a:solidFill>
                      <a:prstDash val="solid"/>
                      <a:round/>
                      <a:headEnd type="none" w="med" len="med"/>
                      <a:tailEnd type="none" w="med" len="med"/>
                    </a:lnT>
                    <a:lnB w="12700" cap="flat" cmpd="sng" algn="ctr">
                      <a:solidFill>
                        <a:srgbClr val="3E6FD2"/>
                      </a:solidFill>
                      <a:prstDash val="solid"/>
                      <a:round/>
                      <a:headEnd type="none" w="med" len="med"/>
                      <a:tailEnd type="none" w="med" len="med"/>
                    </a:lnB>
                  </a:tcPr>
                </a:tc>
                <a:extLst>
                  <a:ext uri="{0D108BD9-81ED-4DB2-BD59-A6C34878D82A}">
                    <a16:rowId xmlns:a16="http://schemas.microsoft.com/office/drawing/2014/main" val="3161641146"/>
                  </a:ext>
                </a:extLst>
              </a:tr>
            </a:tbl>
          </a:graphicData>
        </a:graphic>
      </p:graphicFrame>
    </p:spTree>
    <p:extLst>
      <p:ext uri="{BB962C8B-B14F-4D97-AF65-F5344CB8AC3E}">
        <p14:creationId xmlns:p14="http://schemas.microsoft.com/office/powerpoint/2010/main" val="42797630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D3A65-0609-1E32-F081-673F047A09F8}"/>
              </a:ext>
            </a:extLst>
          </p:cNvPr>
          <p:cNvSpPr>
            <a:spLocks noGrp="1"/>
          </p:cNvSpPr>
          <p:nvPr>
            <p:ph type="title"/>
          </p:nvPr>
        </p:nvSpPr>
        <p:spPr/>
        <p:txBody>
          <a:bodyPr/>
          <a:lstStyle/>
          <a:p>
            <a:r>
              <a:rPr lang="de-DE" dirty="0"/>
              <a:t>Spill-</a:t>
            </a:r>
            <a:r>
              <a:rPr lang="de-DE" dirty="0" err="1"/>
              <a:t>over</a:t>
            </a:r>
            <a:r>
              <a:rPr lang="pl-PL" dirty="0"/>
              <a:t>-</a:t>
            </a:r>
            <a:r>
              <a:rPr lang="de-DE" dirty="0"/>
              <a:t>Aktivitäten</a:t>
            </a:r>
            <a:endParaRPr lang="en-IE" dirty="0"/>
          </a:p>
        </p:txBody>
      </p:sp>
      <p:sp>
        <p:nvSpPr>
          <p:cNvPr id="3" name="Content Placeholder 2">
            <a:extLst>
              <a:ext uri="{FF2B5EF4-FFF2-40B4-BE49-F238E27FC236}">
                <a16:creationId xmlns:a16="http://schemas.microsoft.com/office/drawing/2014/main" id="{58DE6B7C-DF67-3F92-BE4F-B5057FE59C58}"/>
              </a:ext>
            </a:extLst>
          </p:cNvPr>
          <p:cNvSpPr>
            <a:spLocks noGrp="1"/>
          </p:cNvSpPr>
          <p:nvPr>
            <p:ph idx="1"/>
          </p:nvPr>
        </p:nvSpPr>
        <p:spPr>
          <a:xfrm>
            <a:off x="838200" y="1305707"/>
            <a:ext cx="10515600" cy="4289335"/>
          </a:xfrm>
        </p:spPr>
        <p:txBody>
          <a:bodyPr/>
          <a:lstStyle/>
          <a:p>
            <a:pPr marL="285750" indent="-285750">
              <a:buFont typeface="Arial" panose="020B0604020202020204" pitchFamily="34" charset="0"/>
              <a:buChar char="•"/>
            </a:pPr>
            <a:r>
              <a:rPr lang="de-DE" sz="1800" dirty="0">
                <a:solidFill>
                  <a:srgbClr val="000000"/>
                </a:solidFill>
                <a:ea typeface="Calibri" panose="020F0502020204030204" pitchFamily="34" charset="0"/>
              </a:rPr>
              <a:t>Um den Vorteil auszugleichen, den der Begünstigte durch die staatliche Beihilfe erhält, muss er einen Teil des Vorteils durch Spill</a:t>
            </a:r>
            <a:r>
              <a:rPr lang="pl-PL" sz="1800" dirty="0">
                <a:solidFill>
                  <a:srgbClr val="000000"/>
                </a:solidFill>
                <a:ea typeface="Calibri" panose="020F0502020204030204" pitchFamily="34" charset="0"/>
              </a:rPr>
              <a:t>-</a:t>
            </a:r>
            <a:r>
              <a:rPr lang="de-DE" sz="1800" dirty="0" err="1">
                <a:solidFill>
                  <a:srgbClr val="000000"/>
                </a:solidFill>
                <a:ea typeface="Calibri" panose="020F0502020204030204" pitchFamily="34" charset="0"/>
              </a:rPr>
              <a:t>over</a:t>
            </a:r>
            <a:r>
              <a:rPr lang="de-DE" sz="1800" dirty="0">
                <a:solidFill>
                  <a:srgbClr val="000000"/>
                </a:solidFill>
                <a:ea typeface="Calibri" panose="020F0502020204030204" pitchFamily="34" charset="0"/>
              </a:rPr>
              <a:t>-Aktivitäten zurückgeben.</a:t>
            </a:r>
            <a:endParaRPr lang="pl-PL" sz="1800" dirty="0">
              <a:solidFill>
                <a:srgbClr val="000000"/>
              </a:solidFill>
              <a:ea typeface="Calibri" panose="020F0502020204030204" pitchFamily="34" charset="0"/>
            </a:endParaRPr>
          </a:p>
          <a:p>
            <a:pPr marL="285750" indent="-285750">
              <a:buFont typeface="Arial" panose="020B0604020202020204" pitchFamily="34" charset="0"/>
              <a:buChar char="•"/>
            </a:pPr>
            <a:r>
              <a:rPr lang="de-DE" sz="1800" dirty="0">
                <a:solidFill>
                  <a:srgbClr val="000000"/>
                </a:solidFill>
                <a:ea typeface="Calibri" panose="020F0502020204030204" pitchFamily="34" charset="0"/>
              </a:rPr>
              <a:t>Bei den Spill</a:t>
            </a:r>
            <a:r>
              <a:rPr lang="pl-PL" sz="1800" dirty="0">
                <a:solidFill>
                  <a:srgbClr val="000000"/>
                </a:solidFill>
                <a:ea typeface="Calibri" panose="020F0502020204030204" pitchFamily="34" charset="0"/>
              </a:rPr>
              <a:t>-</a:t>
            </a:r>
            <a:r>
              <a:rPr lang="de-DE" sz="1800" dirty="0" err="1">
                <a:solidFill>
                  <a:srgbClr val="000000"/>
                </a:solidFill>
                <a:ea typeface="Calibri" panose="020F0502020204030204" pitchFamily="34" charset="0"/>
              </a:rPr>
              <a:t>over</a:t>
            </a:r>
            <a:r>
              <a:rPr lang="de-DE" sz="1800" dirty="0">
                <a:solidFill>
                  <a:srgbClr val="000000"/>
                </a:solidFill>
                <a:ea typeface="Calibri" panose="020F0502020204030204" pitchFamily="34" charset="0"/>
              </a:rPr>
              <a:t>-Aktivitäten handelt es sich i</a:t>
            </a:r>
            <a:r>
              <a:rPr lang="pl-PL" sz="1800" dirty="0">
                <a:solidFill>
                  <a:srgbClr val="000000"/>
                </a:solidFill>
                <a:ea typeface="Calibri" panose="020F0502020204030204" pitchFamily="34" charset="0"/>
              </a:rPr>
              <a:t>.</a:t>
            </a:r>
            <a:r>
              <a:rPr lang="de-DE" sz="1800" dirty="0">
                <a:solidFill>
                  <a:srgbClr val="000000"/>
                </a:solidFill>
                <a:ea typeface="Calibri" panose="020F0502020204030204" pitchFamily="34" charset="0"/>
              </a:rPr>
              <a:t> d</a:t>
            </a:r>
            <a:r>
              <a:rPr lang="pl-PL" sz="1800" dirty="0">
                <a:solidFill>
                  <a:srgbClr val="000000"/>
                </a:solidFill>
                <a:ea typeface="Calibri" panose="020F0502020204030204" pitchFamily="34" charset="0"/>
              </a:rPr>
              <a:t>.</a:t>
            </a:r>
            <a:r>
              <a:rPr lang="de-DE" sz="1800" dirty="0">
                <a:solidFill>
                  <a:srgbClr val="000000"/>
                </a:solidFill>
                <a:ea typeface="Calibri" panose="020F0502020204030204" pitchFamily="34" charset="0"/>
              </a:rPr>
              <a:t> R</a:t>
            </a:r>
            <a:r>
              <a:rPr lang="pl-PL" sz="1800" dirty="0">
                <a:solidFill>
                  <a:srgbClr val="000000"/>
                </a:solidFill>
                <a:ea typeface="Calibri" panose="020F0502020204030204" pitchFamily="34" charset="0"/>
              </a:rPr>
              <a:t>.</a:t>
            </a:r>
            <a:r>
              <a:rPr lang="de-DE" sz="1800" dirty="0">
                <a:solidFill>
                  <a:srgbClr val="000000"/>
                </a:solidFill>
                <a:ea typeface="Calibri" panose="020F0502020204030204" pitchFamily="34" charset="0"/>
              </a:rPr>
              <a:t> um die Verbreitung nicht IP-geschützter Ergebnisse, die Verpflichtung zur Lizenzierung IP-geschützter Ergebnisse zu FRAND-Bedingungen oder die Öffnung der IPCEI-Einrichtungen für Dritte.</a:t>
            </a:r>
            <a:endParaRPr lang="pl-PL" sz="1800" dirty="0">
              <a:solidFill>
                <a:srgbClr val="000000"/>
              </a:solidFill>
              <a:ea typeface="Calibri" panose="020F0502020204030204" pitchFamily="34" charset="0"/>
            </a:endParaRPr>
          </a:p>
          <a:p>
            <a:pPr marL="285750" indent="-285750">
              <a:buFont typeface="Arial" panose="020B0604020202020204" pitchFamily="34" charset="0"/>
              <a:buChar char="•"/>
            </a:pPr>
            <a:r>
              <a:rPr lang="de-DE" sz="1800" dirty="0">
                <a:solidFill>
                  <a:srgbClr val="000000"/>
                </a:solidFill>
                <a:ea typeface="Calibri" panose="020F0502020204030204" pitchFamily="34" charset="0"/>
              </a:rPr>
              <a:t>Spill-</a:t>
            </a:r>
            <a:r>
              <a:rPr lang="de-DE" sz="1800" dirty="0" err="1">
                <a:solidFill>
                  <a:srgbClr val="000000"/>
                </a:solidFill>
                <a:ea typeface="Calibri" panose="020F0502020204030204" pitchFamily="34" charset="0"/>
              </a:rPr>
              <a:t>over</a:t>
            </a:r>
            <a:r>
              <a:rPr lang="de-DE" sz="1800" dirty="0">
                <a:solidFill>
                  <a:srgbClr val="000000"/>
                </a:solidFill>
                <a:ea typeface="Calibri" panose="020F0502020204030204" pitchFamily="34" charset="0"/>
              </a:rPr>
              <a:t>-Aktivitäten sollen auf Unternehmen, Sektoren und Mitgliedstaaten gerichtet sein, die nicht dem IPCEI angehören. 
Die Aktivitäten müssen </a:t>
            </a:r>
            <a:r>
              <a:rPr lang="de-DE" sz="1800" b="1" dirty="0">
                <a:solidFill>
                  <a:srgbClr val="000000"/>
                </a:solidFill>
                <a:ea typeface="Calibri" panose="020F0502020204030204" pitchFamily="34" charset="0"/>
              </a:rPr>
              <a:t>klar definiert</a:t>
            </a:r>
            <a:r>
              <a:rPr lang="de-DE" sz="1800" dirty="0">
                <a:solidFill>
                  <a:srgbClr val="000000"/>
                </a:solidFill>
                <a:ea typeface="Calibri" panose="020F0502020204030204" pitchFamily="34" charset="0"/>
              </a:rPr>
              <a:t>, </a:t>
            </a:r>
            <a:r>
              <a:rPr lang="de-DE" sz="1800" b="1" dirty="0">
                <a:solidFill>
                  <a:srgbClr val="000000"/>
                </a:solidFill>
                <a:ea typeface="Calibri" panose="020F0502020204030204" pitchFamily="34" charset="0"/>
              </a:rPr>
              <a:t>konkret</a:t>
            </a:r>
            <a:r>
              <a:rPr lang="de-DE" sz="1800" dirty="0">
                <a:solidFill>
                  <a:srgbClr val="000000"/>
                </a:solidFill>
                <a:ea typeface="Calibri" panose="020F0502020204030204" pitchFamily="34" charset="0"/>
              </a:rPr>
              <a:t>, </a:t>
            </a:r>
            <a:r>
              <a:rPr lang="de-DE" sz="1800" b="1" dirty="0">
                <a:solidFill>
                  <a:srgbClr val="000000"/>
                </a:solidFill>
                <a:ea typeface="Calibri" panose="020F0502020204030204" pitchFamily="34" charset="0"/>
              </a:rPr>
              <a:t>identifizierbar</a:t>
            </a:r>
            <a:r>
              <a:rPr lang="de-DE" sz="1800" dirty="0">
                <a:solidFill>
                  <a:srgbClr val="000000"/>
                </a:solidFill>
                <a:ea typeface="Calibri" panose="020F0502020204030204" pitchFamily="34" charset="0"/>
              </a:rPr>
              <a:t> und </a:t>
            </a:r>
            <a:r>
              <a:rPr lang="de-DE" sz="1800" b="1" dirty="0">
                <a:solidFill>
                  <a:srgbClr val="000000"/>
                </a:solidFill>
                <a:ea typeface="Calibri" panose="020F0502020204030204" pitchFamily="34" charset="0"/>
              </a:rPr>
              <a:t>überwachbar</a:t>
            </a:r>
            <a:r>
              <a:rPr lang="de-DE" sz="1800" dirty="0">
                <a:solidFill>
                  <a:srgbClr val="000000"/>
                </a:solidFill>
                <a:ea typeface="Calibri" panose="020F0502020204030204" pitchFamily="34" charset="0"/>
              </a:rPr>
              <a:t> sein.</a:t>
            </a:r>
          </a:p>
          <a:p>
            <a:r>
              <a:rPr lang="de-DE" sz="1800" dirty="0">
                <a:solidFill>
                  <a:srgbClr val="000000"/>
                </a:solidFill>
                <a:ea typeface="Calibri" panose="020F0502020204030204" pitchFamily="34" charset="0"/>
              </a:rPr>
              <a:t>Spill-</a:t>
            </a:r>
            <a:r>
              <a:rPr lang="de-DE" sz="1800" dirty="0" err="1">
                <a:solidFill>
                  <a:srgbClr val="000000"/>
                </a:solidFill>
                <a:ea typeface="Calibri" panose="020F0502020204030204" pitchFamily="34" charset="0"/>
              </a:rPr>
              <a:t>over</a:t>
            </a:r>
            <a:r>
              <a:rPr lang="de-DE" sz="1800" dirty="0">
                <a:solidFill>
                  <a:srgbClr val="000000"/>
                </a:solidFill>
                <a:ea typeface="Calibri" panose="020F0502020204030204" pitchFamily="34" charset="0"/>
              </a:rPr>
              <a:t>-Aktivitäten sind </a:t>
            </a:r>
            <a:r>
              <a:rPr lang="de-DE" sz="1800" b="1" dirty="0">
                <a:solidFill>
                  <a:srgbClr val="000000"/>
                </a:solidFill>
                <a:ea typeface="Calibri" panose="020F0502020204030204" pitchFamily="34" charset="0"/>
              </a:rPr>
              <a:t>nicht</a:t>
            </a:r>
            <a:r>
              <a:rPr lang="de-DE" sz="1800" dirty="0">
                <a:solidFill>
                  <a:srgbClr val="000000"/>
                </a:solidFill>
                <a:ea typeface="Calibri" panose="020F0502020204030204" pitchFamily="34" charset="0"/>
              </a:rPr>
              <a:t> Ergebnisse des IPCEI-Projekts des Unternehmens und dürfen </a:t>
            </a:r>
            <a:r>
              <a:rPr lang="de-DE" sz="1800" b="1" dirty="0">
                <a:solidFill>
                  <a:srgbClr val="000000"/>
                </a:solidFill>
                <a:ea typeface="Calibri" panose="020F0502020204030204" pitchFamily="34" charset="0"/>
              </a:rPr>
              <a:t>nicht</a:t>
            </a:r>
            <a:r>
              <a:rPr lang="de-DE" sz="1800" dirty="0">
                <a:solidFill>
                  <a:srgbClr val="000000"/>
                </a:solidFill>
                <a:ea typeface="Calibri" panose="020F0502020204030204" pitchFamily="34" charset="0"/>
              </a:rPr>
              <a:t> durch die staatlichen Beihilfen finanziert werden.</a:t>
            </a:r>
          </a:p>
        </p:txBody>
      </p:sp>
      <p:pic>
        <p:nvPicPr>
          <p:cNvPr id="23" name="Picture 22">
            <a:extLst>
              <a:ext uri="{FF2B5EF4-FFF2-40B4-BE49-F238E27FC236}">
                <a16:creationId xmlns:a16="http://schemas.microsoft.com/office/drawing/2014/main" id="{CA344B2C-0499-3D55-FD62-FA9B8D70C7CA}"/>
              </a:ext>
            </a:extLst>
          </p:cNvPr>
          <p:cNvPicPr>
            <a:picLocks noChangeAspect="1"/>
          </p:cNvPicPr>
          <p:nvPr/>
        </p:nvPicPr>
        <p:blipFill>
          <a:blip r:embed="rId3"/>
          <a:stretch>
            <a:fillRect/>
          </a:stretch>
        </p:blipFill>
        <p:spPr>
          <a:xfrm>
            <a:off x="331637" y="4986431"/>
            <a:ext cx="1248680" cy="1148080"/>
          </a:xfrm>
          <a:prstGeom prst="rect">
            <a:avLst/>
          </a:prstGeom>
          <a:solidFill>
            <a:srgbClr val="FFFFFF">
              <a:shade val="85000"/>
            </a:srgbClr>
          </a:solidFill>
          <a:ln w="190500" cap="sq">
            <a:no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5" name="Picture 24">
            <a:extLst>
              <a:ext uri="{FF2B5EF4-FFF2-40B4-BE49-F238E27FC236}">
                <a16:creationId xmlns:a16="http://schemas.microsoft.com/office/drawing/2014/main" id="{EC991D0F-7EB3-5C7B-3826-4DE8B8145776}"/>
              </a:ext>
            </a:extLst>
          </p:cNvPr>
          <p:cNvPicPr>
            <a:picLocks noChangeAspect="1"/>
          </p:cNvPicPr>
          <p:nvPr/>
        </p:nvPicPr>
        <p:blipFill>
          <a:blip r:embed="rId4"/>
          <a:stretch>
            <a:fillRect/>
          </a:stretch>
        </p:blipFill>
        <p:spPr>
          <a:xfrm>
            <a:off x="2004474" y="5427026"/>
            <a:ext cx="1158340" cy="1158340"/>
          </a:xfrm>
          <a:prstGeom prst="rect">
            <a:avLst/>
          </a:prstGeom>
          <a:solidFill>
            <a:srgbClr val="FFFFFF">
              <a:shade val="85000"/>
            </a:srgbClr>
          </a:solidFill>
          <a:ln w="190500" cap="sq">
            <a:no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7" name="Picture 26">
            <a:extLst>
              <a:ext uri="{FF2B5EF4-FFF2-40B4-BE49-F238E27FC236}">
                <a16:creationId xmlns:a16="http://schemas.microsoft.com/office/drawing/2014/main" id="{C4623A79-F171-6316-CEEB-64A46B375682}"/>
              </a:ext>
            </a:extLst>
          </p:cNvPr>
          <p:cNvPicPr>
            <a:picLocks noChangeAspect="1"/>
          </p:cNvPicPr>
          <p:nvPr/>
        </p:nvPicPr>
        <p:blipFill>
          <a:blip r:embed="rId5"/>
          <a:stretch>
            <a:fillRect/>
          </a:stretch>
        </p:blipFill>
        <p:spPr>
          <a:xfrm>
            <a:off x="3586971" y="4970074"/>
            <a:ext cx="1121761" cy="1164437"/>
          </a:xfrm>
          <a:prstGeom prst="rect">
            <a:avLst/>
          </a:prstGeom>
          <a:solidFill>
            <a:srgbClr val="FFFFFF">
              <a:shade val="85000"/>
            </a:srgbClr>
          </a:solidFill>
          <a:ln w="190500" cap="sq">
            <a:no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8" name="Picture 27">
            <a:extLst>
              <a:ext uri="{FF2B5EF4-FFF2-40B4-BE49-F238E27FC236}">
                <a16:creationId xmlns:a16="http://schemas.microsoft.com/office/drawing/2014/main" id="{8BFA60CA-FBC6-9C5A-F930-B5E72808AFE5}"/>
              </a:ext>
            </a:extLst>
          </p:cNvPr>
          <p:cNvPicPr>
            <a:picLocks noChangeAspect="1"/>
          </p:cNvPicPr>
          <p:nvPr/>
        </p:nvPicPr>
        <p:blipFill>
          <a:blip r:embed="rId6"/>
          <a:stretch>
            <a:fillRect/>
          </a:stretch>
        </p:blipFill>
        <p:spPr>
          <a:xfrm>
            <a:off x="8371044" y="5427026"/>
            <a:ext cx="1268078" cy="1158340"/>
          </a:xfrm>
          <a:prstGeom prst="rect">
            <a:avLst/>
          </a:prstGeom>
          <a:solidFill>
            <a:srgbClr val="FFFFFF">
              <a:shade val="85000"/>
            </a:srgbClr>
          </a:solidFill>
          <a:ln w="190500" cap="sq">
            <a:no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30" name="Picture 29">
            <a:extLst>
              <a:ext uri="{FF2B5EF4-FFF2-40B4-BE49-F238E27FC236}">
                <a16:creationId xmlns:a16="http://schemas.microsoft.com/office/drawing/2014/main" id="{95921A7C-687A-CC72-11FB-6985F18D50CB}"/>
              </a:ext>
            </a:extLst>
          </p:cNvPr>
          <p:cNvPicPr>
            <a:picLocks noChangeAspect="1"/>
          </p:cNvPicPr>
          <p:nvPr/>
        </p:nvPicPr>
        <p:blipFill>
          <a:blip r:embed="rId7"/>
          <a:stretch>
            <a:fillRect/>
          </a:stretch>
        </p:blipFill>
        <p:spPr>
          <a:xfrm>
            <a:off x="6666614" y="4970074"/>
            <a:ext cx="1280271" cy="1164437"/>
          </a:xfrm>
          <a:prstGeom prst="rect">
            <a:avLst/>
          </a:prstGeom>
          <a:solidFill>
            <a:srgbClr val="FFFFFF">
              <a:shade val="85000"/>
            </a:srgbClr>
          </a:solidFill>
          <a:ln w="190500" cap="sq">
            <a:no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33" name="Picture 32">
            <a:extLst>
              <a:ext uri="{FF2B5EF4-FFF2-40B4-BE49-F238E27FC236}">
                <a16:creationId xmlns:a16="http://schemas.microsoft.com/office/drawing/2014/main" id="{FA5736EA-0FD0-D1D8-C1DB-992D05C1431F}"/>
              </a:ext>
            </a:extLst>
          </p:cNvPr>
          <p:cNvPicPr>
            <a:picLocks noChangeAspect="1"/>
          </p:cNvPicPr>
          <p:nvPr/>
        </p:nvPicPr>
        <p:blipFill>
          <a:blip r:embed="rId8"/>
          <a:stretch>
            <a:fillRect/>
          </a:stretch>
        </p:blipFill>
        <p:spPr>
          <a:xfrm>
            <a:off x="5132890" y="5427026"/>
            <a:ext cx="1109568" cy="1158340"/>
          </a:xfrm>
          <a:prstGeom prst="rect">
            <a:avLst/>
          </a:prstGeom>
          <a:solidFill>
            <a:srgbClr val="FFFFFF">
              <a:shade val="85000"/>
            </a:srgbClr>
          </a:solidFill>
          <a:ln w="190500" cap="sq">
            <a:no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34" name="Picture 33">
            <a:extLst>
              <a:ext uri="{FF2B5EF4-FFF2-40B4-BE49-F238E27FC236}">
                <a16:creationId xmlns:a16="http://schemas.microsoft.com/office/drawing/2014/main" id="{E061DF36-0C57-FA34-D5FE-CB00F2DF6FAB}"/>
              </a:ext>
            </a:extLst>
          </p:cNvPr>
          <p:cNvPicPr>
            <a:picLocks noChangeAspect="1"/>
          </p:cNvPicPr>
          <p:nvPr/>
        </p:nvPicPr>
        <p:blipFill>
          <a:blip r:embed="rId9"/>
          <a:stretch>
            <a:fillRect/>
          </a:stretch>
        </p:blipFill>
        <p:spPr>
          <a:xfrm>
            <a:off x="10063280" y="4970074"/>
            <a:ext cx="1201016" cy="1164437"/>
          </a:xfrm>
          <a:prstGeom prst="rect">
            <a:avLst/>
          </a:prstGeom>
          <a:solidFill>
            <a:srgbClr val="FFFFFF">
              <a:shade val="85000"/>
            </a:srgbClr>
          </a:solidFill>
          <a:ln w="190500" cap="sq">
            <a:no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40923350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83C736-E16E-7447-58DA-0DEB9409488F}"/>
              </a:ext>
            </a:extLst>
          </p:cNvPr>
          <p:cNvSpPr>
            <a:spLocks noGrp="1"/>
          </p:cNvSpPr>
          <p:nvPr>
            <p:ph type="title"/>
          </p:nvPr>
        </p:nvSpPr>
        <p:spPr/>
        <p:txBody>
          <a:bodyPr/>
          <a:lstStyle/>
          <a:p>
            <a:r>
              <a:rPr lang="de-DE"/>
              <a:t>Prüfung der EU-Kommission</a:t>
            </a:r>
            <a:endParaRPr lang="en-IE"/>
          </a:p>
        </p:txBody>
      </p:sp>
      <p:sp>
        <p:nvSpPr>
          <p:cNvPr id="5" name="Content Placeholder 4">
            <a:extLst>
              <a:ext uri="{FF2B5EF4-FFF2-40B4-BE49-F238E27FC236}">
                <a16:creationId xmlns:a16="http://schemas.microsoft.com/office/drawing/2014/main" id="{E208F48A-2941-34DA-DDAE-39769CEABAD9}"/>
              </a:ext>
            </a:extLst>
          </p:cNvPr>
          <p:cNvSpPr>
            <a:spLocks noGrp="1"/>
          </p:cNvSpPr>
          <p:nvPr>
            <p:ph idx="1"/>
          </p:nvPr>
        </p:nvSpPr>
        <p:spPr>
          <a:xfrm>
            <a:off x="838200" y="1182030"/>
            <a:ext cx="10515600" cy="4920615"/>
          </a:xfrm>
        </p:spPr>
        <p:txBody>
          <a:bodyPr/>
          <a:lstStyle/>
          <a:p>
            <a:pPr marL="342900" indent="-342900">
              <a:spcBef>
                <a:spcPts val="0"/>
              </a:spcBef>
              <a:spcAft>
                <a:spcPts val="600"/>
              </a:spcAft>
              <a:buFont typeface="Arial" panose="020B0604020202020204" pitchFamily="34" charset="0"/>
              <a:buChar char="•"/>
            </a:pPr>
            <a:r>
              <a:rPr lang="de-DE" sz="1600" b="1"/>
              <a:t>DG COMP </a:t>
            </a:r>
            <a:r>
              <a:rPr lang="de-DE" sz="1600"/>
              <a:t>zusammen mit anderen relevanten DGs (insb. </a:t>
            </a:r>
            <a:r>
              <a:rPr lang="de-DE" sz="1600" b="1"/>
              <a:t>DG CNECT</a:t>
            </a:r>
            <a:r>
              <a:rPr lang="de-DE" sz="1600"/>
              <a:t>) </a:t>
            </a:r>
          </a:p>
          <a:p>
            <a:pPr marL="342900" indent="-342900">
              <a:spcBef>
                <a:spcPts val="0"/>
              </a:spcBef>
              <a:spcAft>
                <a:spcPts val="600"/>
              </a:spcAft>
              <a:buFont typeface="Arial" panose="020B0604020202020204" pitchFamily="34" charset="0"/>
              <a:buChar char="•"/>
            </a:pPr>
            <a:r>
              <a:rPr lang="de-DE" sz="1600" b="1"/>
              <a:t>IPCEI Projektportfolio</a:t>
            </a:r>
          </a:p>
          <a:p>
            <a:pPr marL="1085850" lvl="1" indent="-342900">
              <a:spcBef>
                <a:spcPts val="0"/>
              </a:spcBef>
              <a:spcAft>
                <a:spcPts val="600"/>
              </a:spcAft>
            </a:pPr>
            <a:r>
              <a:rPr lang="de-DE" sz="1600"/>
              <a:t>Projektbeschreibung   </a:t>
            </a:r>
          </a:p>
          <a:p>
            <a:pPr marL="1085850" lvl="1" indent="-342900">
              <a:spcBef>
                <a:spcPts val="0"/>
              </a:spcBef>
              <a:spcAft>
                <a:spcPts val="600"/>
              </a:spcAft>
            </a:pPr>
            <a:r>
              <a:rPr lang="de-DE" sz="1600"/>
              <a:t>Innovationsgrad angesichts des Stands der Technik</a:t>
            </a:r>
          </a:p>
          <a:p>
            <a:pPr marL="1085850" lvl="1" indent="-342900">
              <a:spcBef>
                <a:spcPts val="0"/>
              </a:spcBef>
              <a:spcAft>
                <a:spcPts val="600"/>
              </a:spcAft>
            </a:pPr>
            <a:r>
              <a:rPr lang="de-DE" sz="1600"/>
              <a:t>Integration des Projektes (Zusammenarbeit mit anderen Unternehmen, Einbindung in die das gesamte IPCEI)</a:t>
            </a:r>
          </a:p>
          <a:p>
            <a:pPr marL="1085850" lvl="1" indent="-342900">
              <a:spcBef>
                <a:spcPts val="0"/>
              </a:spcBef>
              <a:spcAft>
                <a:spcPts val="600"/>
              </a:spcAft>
            </a:pPr>
            <a:r>
              <a:rPr lang="de-DE" sz="1600"/>
              <a:t>etc.</a:t>
            </a:r>
          </a:p>
          <a:p>
            <a:pPr marL="342900" indent="-342900">
              <a:spcBef>
                <a:spcPts val="0"/>
              </a:spcBef>
              <a:spcAft>
                <a:spcPts val="600"/>
              </a:spcAft>
              <a:buFont typeface="Arial" panose="020B0604020202020204" pitchFamily="34" charset="0"/>
              <a:buChar char="•"/>
            </a:pPr>
            <a:r>
              <a:rPr lang="de-DE" sz="1600" b="1"/>
              <a:t>IPCEI Funding Gap</a:t>
            </a:r>
          </a:p>
          <a:p>
            <a:pPr marL="1085850" lvl="1" indent="-342900">
              <a:spcBef>
                <a:spcPts val="0"/>
              </a:spcBef>
              <a:spcAft>
                <a:spcPts val="600"/>
              </a:spcAft>
            </a:pPr>
            <a:r>
              <a:rPr lang="de-DE" sz="1600"/>
              <a:t>CAPEX/OPEX</a:t>
            </a:r>
          </a:p>
          <a:p>
            <a:pPr marL="1085850" lvl="1" indent="-342900">
              <a:spcBef>
                <a:spcPts val="0"/>
              </a:spcBef>
              <a:spcAft>
                <a:spcPts val="600"/>
              </a:spcAft>
            </a:pPr>
            <a:r>
              <a:rPr lang="de-DE" sz="1600"/>
              <a:t>Umsatzberechnung</a:t>
            </a:r>
          </a:p>
          <a:p>
            <a:pPr marL="1085850" lvl="1" indent="-342900">
              <a:spcBef>
                <a:spcPts val="0"/>
              </a:spcBef>
              <a:spcAft>
                <a:spcPts val="600"/>
              </a:spcAft>
            </a:pPr>
            <a:r>
              <a:rPr lang="de-DE" sz="1600"/>
              <a:t>WACC</a:t>
            </a:r>
          </a:p>
          <a:p>
            <a:pPr marL="1085850" lvl="1" indent="-342900">
              <a:spcBef>
                <a:spcPts val="0"/>
              </a:spcBef>
              <a:spcAft>
                <a:spcPts val="600"/>
              </a:spcAft>
            </a:pPr>
            <a:r>
              <a:rPr lang="de-DE" sz="1600"/>
              <a:t>etc.</a:t>
            </a:r>
            <a:endParaRPr lang="de-DE" sz="1600">
              <a:solidFill>
                <a:schemeClr val="tx1"/>
              </a:solidFill>
            </a:endParaRPr>
          </a:p>
          <a:p>
            <a:pPr marL="342900" indent="-342900">
              <a:spcBef>
                <a:spcPts val="0"/>
              </a:spcBef>
              <a:spcAft>
                <a:spcPts val="600"/>
              </a:spcAft>
              <a:buClr>
                <a:srgbClr val="000000"/>
              </a:buClr>
              <a:buFont typeface="Arial" panose="020B0604020202020204" pitchFamily="34" charset="0"/>
              <a:buChar char="•"/>
              <a:defRPr/>
            </a:pPr>
            <a:r>
              <a:rPr lang="de-DE" sz="1600">
                <a:solidFill>
                  <a:schemeClr val="tx1"/>
                </a:solidFill>
              </a:rPr>
              <a:t>Auch interne Dokumente müssen vorgelegt werden. Es ist </a:t>
            </a:r>
            <a:r>
              <a:rPr lang="de-DE" sz="1600" b="1">
                <a:solidFill>
                  <a:schemeClr val="tx1"/>
                </a:solidFill>
              </a:rPr>
              <a:t>nicht </a:t>
            </a:r>
            <a:r>
              <a:rPr lang="de-DE" sz="1600">
                <a:solidFill>
                  <a:schemeClr val="tx1"/>
                </a:solidFill>
              </a:rPr>
              <a:t>möglich, die Vorlage von Unterlagen mit dem Argument der Vertraulichkeit zu verweigern! </a:t>
            </a:r>
            <a:r>
              <a:rPr lang="de-DE" sz="1600">
                <a:solidFill>
                  <a:schemeClr val="tx1"/>
                </a:solidFill>
                <a:sym typeface="Wingdings" panose="05000000000000000000" pitchFamily="2" charset="2"/>
              </a:rPr>
              <a:t> Die Kommission ist verpflichtet, Geschäftsgeheimnisse zu schützen. Vertraulichkeit bei der Veröffentlichung des Beschlusses ist gegeben!</a:t>
            </a:r>
            <a:endParaRPr lang="de-DE" sz="1600">
              <a:solidFill>
                <a:schemeClr val="tx1"/>
              </a:solidFill>
            </a:endParaRPr>
          </a:p>
          <a:p>
            <a:pPr marL="342900" indent="-342900">
              <a:spcBef>
                <a:spcPts val="0"/>
              </a:spcBef>
              <a:spcAft>
                <a:spcPts val="600"/>
              </a:spcAft>
              <a:buClr>
                <a:srgbClr val="000000"/>
              </a:buClr>
              <a:buFont typeface="Arial" panose="020B0604020202020204" pitchFamily="34" charset="0"/>
              <a:buChar char="•"/>
              <a:defRPr/>
            </a:pPr>
            <a:r>
              <a:rPr lang="de-DE" sz="1600">
                <a:solidFill>
                  <a:schemeClr val="tx1"/>
                </a:solidFill>
              </a:rPr>
              <a:t>Da </a:t>
            </a:r>
            <a:r>
              <a:rPr lang="de-DE" sz="1600" b="1">
                <a:solidFill>
                  <a:schemeClr val="tx1"/>
                </a:solidFill>
              </a:rPr>
              <a:t>alle</a:t>
            </a:r>
            <a:r>
              <a:rPr lang="de-DE" sz="1600">
                <a:solidFill>
                  <a:schemeClr val="tx1"/>
                </a:solidFill>
              </a:rPr>
              <a:t> auf dem EU-Markt tätigen Wettbewerber eine gerichtliche Aufhebung der Genehmigung einer staatlichen Beihilfe beantragen können, ist eine detaillierte Prüfung im Interesse der Beihilfeempfänger.</a:t>
            </a:r>
          </a:p>
          <a:p>
            <a:pPr marL="342900" indent="-342900"/>
            <a:endParaRPr lang="de-DE" dirty="0"/>
          </a:p>
        </p:txBody>
      </p:sp>
    </p:spTree>
    <p:extLst>
      <p:ext uri="{BB962C8B-B14F-4D97-AF65-F5344CB8AC3E}">
        <p14:creationId xmlns:p14="http://schemas.microsoft.com/office/powerpoint/2010/main" val="2906240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C81075-7E47-9FAE-7B64-0E21174D401A}"/>
              </a:ext>
            </a:extLst>
          </p:cNvPr>
          <p:cNvSpPr>
            <a:spLocks noGrp="1"/>
          </p:cNvSpPr>
          <p:nvPr>
            <p:ph type="title"/>
          </p:nvPr>
        </p:nvSpPr>
        <p:spPr/>
        <p:txBody>
          <a:bodyPr/>
          <a:lstStyle/>
          <a:p>
            <a:r>
              <a:rPr lang="en-IE" err="1"/>
              <a:t>Anmeldefreiheit</a:t>
            </a:r>
            <a:r>
              <a:rPr lang="en-IE"/>
              <a:t> </a:t>
            </a:r>
            <a:r>
              <a:rPr lang="en-IE">
                <a:sym typeface="Wingdings" panose="05000000000000000000" pitchFamily="2" charset="2"/>
              </a:rPr>
              <a:t></a:t>
            </a:r>
            <a:r>
              <a:rPr lang="en-IE"/>
              <a:t> Art. 25 AGVO</a:t>
            </a:r>
          </a:p>
        </p:txBody>
      </p:sp>
      <p:sp>
        <p:nvSpPr>
          <p:cNvPr id="4" name="Content Placeholder 1">
            <a:extLst>
              <a:ext uri="{FF2B5EF4-FFF2-40B4-BE49-F238E27FC236}">
                <a16:creationId xmlns:a16="http://schemas.microsoft.com/office/drawing/2014/main" id="{A84F41C7-A599-A00F-2F45-36793A9FDAD9}"/>
              </a:ext>
            </a:extLst>
          </p:cNvPr>
          <p:cNvSpPr>
            <a:spLocks noGrp="1"/>
          </p:cNvSpPr>
          <p:nvPr>
            <p:ph idx="1"/>
          </p:nvPr>
        </p:nvSpPr>
        <p:spPr>
          <a:xfrm>
            <a:off x="728388" y="1470752"/>
            <a:ext cx="11061036" cy="5137420"/>
          </a:xfrm>
        </p:spPr>
        <p:txBody>
          <a:bodyPr/>
          <a:lstStyle/>
          <a:p>
            <a:pPr marL="342900" indent="-342900">
              <a:spcAft>
                <a:spcPts val="1200"/>
              </a:spcAft>
              <a:buFont typeface="Arial" panose="020B0604020202020204" pitchFamily="34" charset="0"/>
              <a:buChar char="•"/>
              <a:defRPr sz="2000"/>
            </a:pPr>
            <a:r>
              <a:rPr lang="de-DE" sz="1600" b="1" dirty="0">
                <a:solidFill>
                  <a:schemeClr val="tx1"/>
                </a:solidFill>
              </a:rPr>
              <a:t>Industrielle Forschung </a:t>
            </a:r>
            <a:r>
              <a:rPr lang="de-DE" sz="1600" dirty="0">
                <a:solidFill>
                  <a:schemeClr val="tx1"/>
                </a:solidFill>
              </a:rPr>
              <a:t>(ähnlich Pkt. 22 IPCEI-Mitteilung) bis zu einem Schwellenwert von 35 Mio. EUR pro Unternehmen und Vorhaben:</a:t>
            </a:r>
          </a:p>
          <a:p>
            <a:pPr lvl="1">
              <a:spcBef>
                <a:spcPts val="0"/>
              </a:spcBef>
              <a:spcAft>
                <a:spcPts val="601"/>
              </a:spcAft>
              <a:buClr>
                <a:srgbClr val="000000"/>
              </a:buClr>
            </a:pPr>
            <a:r>
              <a:rPr lang="de-DE" sz="1600" dirty="0"/>
              <a:t>Bis zu 50 % der beihilfefähigen Kosten plus Boni (jedenfalls 15 % für Forschung und Wissensverbreitung und ggfs. 10 % für mittlere Unternehmen und 20 % für kleine Unternehmen). </a:t>
            </a:r>
          </a:p>
          <a:p>
            <a:pPr marL="342900" indent="-342900">
              <a:spcAft>
                <a:spcPts val="1200"/>
              </a:spcAft>
              <a:buFont typeface="Arial" panose="020B0604020202020204" pitchFamily="34" charset="0"/>
              <a:buChar char="•"/>
              <a:defRPr sz="2000"/>
            </a:pPr>
            <a:r>
              <a:rPr lang="de-DE" sz="1600" b="1" dirty="0">
                <a:solidFill>
                  <a:schemeClr val="tx1"/>
                </a:solidFill>
              </a:rPr>
              <a:t>Experimentelle Entwicklung </a:t>
            </a:r>
            <a:r>
              <a:rPr lang="de-DE" sz="1600" dirty="0">
                <a:solidFill>
                  <a:schemeClr val="tx1"/>
                </a:solidFill>
              </a:rPr>
              <a:t>(ähnlich Pkt. 23 IPCEI-Mitteilung) bis zu einem Schwellenwert von 25 Mio. EUR pro Unternehmen und Vorhaben:</a:t>
            </a:r>
          </a:p>
          <a:p>
            <a:pPr lvl="1">
              <a:spcBef>
                <a:spcPts val="0"/>
              </a:spcBef>
              <a:spcAft>
                <a:spcPts val="601"/>
              </a:spcAft>
              <a:buClr>
                <a:srgbClr val="000000"/>
              </a:buClr>
            </a:pPr>
            <a:r>
              <a:rPr lang="de-DE" sz="1600" dirty="0"/>
              <a:t>Bis zu 25 % der beihilfefähigen Kosten zuzüglich derselben Boni.</a:t>
            </a:r>
          </a:p>
          <a:p>
            <a:pPr marL="342900" indent="-342900">
              <a:spcAft>
                <a:spcPts val="1200"/>
              </a:spcAft>
              <a:buFont typeface="Arial" panose="020B0604020202020204" pitchFamily="34" charset="0"/>
              <a:buChar char="•"/>
              <a:defRPr sz="2000"/>
            </a:pPr>
            <a:r>
              <a:rPr lang="de-DE" sz="1600" b="1" dirty="0">
                <a:solidFill>
                  <a:schemeClr val="tx1"/>
                </a:solidFill>
              </a:rPr>
              <a:t>Für im Rahmen von IPCEI ausgewählte Projekte</a:t>
            </a:r>
            <a:r>
              <a:rPr lang="de-DE" sz="1600" dirty="0">
                <a:solidFill>
                  <a:schemeClr val="tx1"/>
                </a:solidFill>
              </a:rPr>
              <a:t> zusätzlich 25 % (max. 80 %) + doppelter Schwellenwert (d.h. bis zu 50 bzw. 70 Mio. EUR), wenn:  </a:t>
            </a:r>
          </a:p>
          <a:p>
            <a:pPr lvl="1">
              <a:spcBef>
                <a:spcPts val="0"/>
              </a:spcBef>
              <a:spcAft>
                <a:spcPts val="601"/>
              </a:spcAft>
              <a:buClr>
                <a:srgbClr val="000000"/>
              </a:buClr>
              <a:defRPr/>
            </a:pPr>
            <a:r>
              <a:rPr lang="de-DE" sz="1600" dirty="0"/>
              <a:t>Aufgrund von Ausschreibung von 3 Mitgliedstaaten &amp; grenzüberschreitende Zusammenarbeit (2-3 Mitgliedstaaten),</a:t>
            </a:r>
          </a:p>
          <a:p>
            <a:pPr lvl="1">
              <a:spcBef>
                <a:spcPts val="0"/>
              </a:spcBef>
              <a:spcAft>
                <a:spcPts val="601"/>
              </a:spcAft>
              <a:buClr>
                <a:srgbClr val="000000"/>
              </a:buClr>
              <a:defRPr/>
            </a:pPr>
            <a:r>
              <a:rPr lang="de-DE" sz="1600" dirty="0"/>
              <a:t>Bei grenzüberschreitender Verbreitung der Resultate (Konferenzen oder Lizenzen). </a:t>
            </a:r>
          </a:p>
          <a:p>
            <a:pPr marL="342900" indent="-342900">
              <a:spcBef>
                <a:spcPts val="600"/>
              </a:spcBef>
              <a:spcAft>
                <a:spcPts val="601"/>
              </a:spcAft>
              <a:buClr>
                <a:srgbClr val="000000"/>
              </a:buClr>
              <a:buFont typeface="Arial" panose="020B0604020202020204" pitchFamily="34" charset="0"/>
              <a:buChar char="•"/>
              <a:defRPr/>
            </a:pPr>
            <a:r>
              <a:rPr lang="de-DE" sz="1600" dirty="0">
                <a:solidFill>
                  <a:schemeClr val="tx1"/>
                </a:solidFill>
              </a:rPr>
              <a:t>Begünstigte können als </a:t>
            </a:r>
            <a:r>
              <a:rPr lang="de-DE" sz="1600" b="1" dirty="0">
                <a:solidFill>
                  <a:schemeClr val="tx1"/>
                </a:solidFill>
              </a:rPr>
              <a:t>assoziierter/indirekter Partner </a:t>
            </a:r>
            <a:r>
              <a:rPr lang="de-DE" sz="1600" dirty="0">
                <a:solidFill>
                  <a:schemeClr val="tx1"/>
                </a:solidFill>
              </a:rPr>
              <a:t>im IPCEI Ökosystem bleiben. </a:t>
            </a:r>
            <a:endParaRPr lang="de-DE" sz="1800" dirty="0">
              <a:solidFill>
                <a:schemeClr val="tx1"/>
              </a:solidFill>
            </a:endParaRPr>
          </a:p>
        </p:txBody>
      </p:sp>
    </p:spTree>
    <p:extLst>
      <p:ext uri="{BB962C8B-B14F-4D97-AF65-F5344CB8AC3E}">
        <p14:creationId xmlns:p14="http://schemas.microsoft.com/office/powerpoint/2010/main" val="29014298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DAC3EC-0D85-86C1-9BA5-9908A9F4B34C}"/>
              </a:ext>
            </a:extLst>
          </p:cNvPr>
          <p:cNvSpPr>
            <a:spLocks noGrp="1"/>
          </p:cNvSpPr>
          <p:nvPr>
            <p:ph type="title"/>
          </p:nvPr>
        </p:nvSpPr>
        <p:spPr>
          <a:xfrm>
            <a:off x="838200" y="564303"/>
            <a:ext cx="6768921" cy="816904"/>
          </a:xfrm>
        </p:spPr>
        <p:txBody>
          <a:bodyPr/>
          <a:lstStyle/>
          <a:p>
            <a:r>
              <a:rPr lang="de-DE" sz="4000"/>
              <a:t>Erfolgreiche IPCEI-Projekte</a:t>
            </a:r>
            <a:endParaRPr lang="en-IE" sz="4000"/>
          </a:p>
        </p:txBody>
      </p:sp>
      <p:sp>
        <p:nvSpPr>
          <p:cNvPr id="3" name="Content Placeholder 2">
            <a:extLst>
              <a:ext uri="{FF2B5EF4-FFF2-40B4-BE49-F238E27FC236}">
                <a16:creationId xmlns:a16="http://schemas.microsoft.com/office/drawing/2014/main" id="{E5D6B7FE-03BF-F584-384C-7BB10B823BD4}"/>
              </a:ext>
            </a:extLst>
          </p:cNvPr>
          <p:cNvSpPr>
            <a:spLocks noGrp="1"/>
          </p:cNvSpPr>
          <p:nvPr>
            <p:ph idx="1"/>
          </p:nvPr>
        </p:nvSpPr>
        <p:spPr>
          <a:xfrm>
            <a:off x="838200" y="1547156"/>
            <a:ext cx="6505170" cy="4553802"/>
          </a:xfrm>
        </p:spPr>
        <p:txBody>
          <a:bodyPr/>
          <a:lstStyle/>
          <a:p>
            <a:pPr marL="342900" indent="-342900">
              <a:buFont typeface="Arial" panose="020B0604020202020204" pitchFamily="34" charset="0"/>
              <a:buChar char="•"/>
            </a:pPr>
            <a:r>
              <a:rPr lang="de-DE" dirty="0"/>
              <a:t>Instrument, trägt zur EU-Industriestrategie bei und wurde in diverse nationalen Konjunktur- und </a:t>
            </a:r>
            <a:r>
              <a:rPr lang="de-DE" dirty="0" err="1"/>
              <a:t>Resilienzpläne</a:t>
            </a:r>
            <a:r>
              <a:rPr lang="de-DE" dirty="0"/>
              <a:t> aufgenommen.</a:t>
            </a:r>
          </a:p>
          <a:p>
            <a:pPr marL="342900" indent="-342900">
              <a:buFont typeface="Arial" panose="020B0604020202020204" pitchFamily="34" charset="0"/>
              <a:buChar char="•"/>
            </a:pPr>
            <a:r>
              <a:rPr lang="de-DE" dirty="0"/>
              <a:t>Bislang wurden 10 integrierte IPCEI in fünf strategischen Wertschöpfungsketten (Mikroelektronik, Batterien, Wasserstoff, Cloud- und Edge-Computing, Gesundheit) genehmigt.</a:t>
            </a:r>
          </a:p>
          <a:p>
            <a:pPr marL="342900" indent="-342900">
              <a:buFont typeface="Arial" panose="020B0604020202020204" pitchFamily="34" charset="0"/>
              <a:buChar char="•"/>
            </a:pPr>
            <a:r>
              <a:rPr lang="de-DE" dirty="0"/>
              <a:t>Insgesamt 335 Projekte in 22 Mitgliedstaaten.</a:t>
            </a:r>
          </a:p>
          <a:p>
            <a:pPr marL="342900" indent="-342900">
              <a:buFont typeface="Arial" panose="020B0604020202020204" pitchFamily="34" charset="0"/>
              <a:buChar char="•"/>
            </a:pPr>
            <a:r>
              <a:rPr lang="de-DE" dirty="0"/>
              <a:t>Für einen Gesamtbetrag von 100 Milliarden Euro an öffentlichen und privaten Mitteln.</a:t>
            </a:r>
          </a:p>
          <a:p>
            <a:pPr marL="342900" indent="-342900">
              <a:buFont typeface="Arial" panose="020B0604020202020204" pitchFamily="34" charset="0"/>
              <a:buChar char="•"/>
            </a:pPr>
            <a:r>
              <a:rPr lang="de-DE" dirty="0"/>
              <a:t>Steigender Anteil von KMU, auch indirekte Partner. </a:t>
            </a:r>
          </a:p>
          <a:p>
            <a:endParaRPr lang="en-IE" sz="1600" dirty="0"/>
          </a:p>
        </p:txBody>
      </p:sp>
      <p:pic>
        <p:nvPicPr>
          <p:cNvPr id="6" name="Picture 5" descr="A table of flags with numbers&#10;&#10;AI-generated content may be incorrect.">
            <a:extLst>
              <a:ext uri="{FF2B5EF4-FFF2-40B4-BE49-F238E27FC236}">
                <a16:creationId xmlns:a16="http://schemas.microsoft.com/office/drawing/2014/main" id="{9554FE5F-6648-C226-9559-D94CE263D77C}"/>
              </a:ext>
            </a:extLst>
          </p:cNvPr>
          <p:cNvPicPr>
            <a:picLocks noChangeAspect="1"/>
          </p:cNvPicPr>
          <p:nvPr/>
        </p:nvPicPr>
        <p:blipFill>
          <a:blip r:embed="rId2"/>
          <a:stretch>
            <a:fillRect/>
          </a:stretch>
        </p:blipFill>
        <p:spPr>
          <a:xfrm>
            <a:off x="7607121" y="0"/>
            <a:ext cx="4584879" cy="6858000"/>
          </a:xfrm>
          <a:prstGeom prst="rect">
            <a:avLst/>
          </a:prstGeom>
        </p:spPr>
      </p:pic>
    </p:spTree>
    <p:extLst>
      <p:ext uri="{BB962C8B-B14F-4D97-AF65-F5344CB8AC3E}">
        <p14:creationId xmlns:p14="http://schemas.microsoft.com/office/powerpoint/2010/main" val="172743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25BFDD-F69E-102D-B119-B9BD8DFAC716}"/>
              </a:ext>
            </a:extLst>
          </p:cNvPr>
          <p:cNvSpPr>
            <a:spLocks noGrp="1"/>
          </p:cNvSpPr>
          <p:nvPr>
            <p:ph type="title"/>
          </p:nvPr>
        </p:nvSpPr>
        <p:spPr>
          <a:xfrm>
            <a:off x="811039" y="383233"/>
            <a:ext cx="8640779" cy="816904"/>
          </a:xfrm>
        </p:spPr>
        <p:txBody>
          <a:bodyPr/>
          <a:lstStyle/>
          <a:p>
            <a:r>
              <a:rPr lang="en-IE" sz="4000" err="1"/>
              <a:t>Exkurs</a:t>
            </a:r>
            <a:r>
              <a:rPr lang="en-IE" sz="4000"/>
              <a:t>: Joint European Forum IPCEI (JEF-IPCEI)</a:t>
            </a:r>
          </a:p>
        </p:txBody>
      </p:sp>
      <p:sp>
        <p:nvSpPr>
          <p:cNvPr id="3" name="Content Placeholder 2">
            <a:extLst>
              <a:ext uri="{FF2B5EF4-FFF2-40B4-BE49-F238E27FC236}">
                <a16:creationId xmlns:a16="http://schemas.microsoft.com/office/drawing/2014/main" id="{9E660667-ABE9-0C51-F355-C1987B20CF4F}"/>
              </a:ext>
            </a:extLst>
          </p:cNvPr>
          <p:cNvSpPr>
            <a:spLocks noGrp="1"/>
          </p:cNvSpPr>
          <p:nvPr>
            <p:ph idx="1"/>
          </p:nvPr>
        </p:nvSpPr>
        <p:spPr>
          <a:xfrm>
            <a:off x="671945" y="1421864"/>
            <a:ext cx="10515600" cy="5222776"/>
          </a:xfrm>
        </p:spPr>
        <p:txBody>
          <a:bodyPr/>
          <a:lstStyle/>
          <a:p>
            <a:pPr marL="342900" indent="-342900">
              <a:spcAft>
                <a:spcPts val="601"/>
              </a:spcAft>
              <a:buFont typeface="Arial" panose="020B0604020202020204" pitchFamily="34" charset="0"/>
              <a:buChar char="•"/>
            </a:pPr>
            <a:r>
              <a:rPr lang="de-AT" dirty="0"/>
              <a:t>Offizieller Start war im Oktober 2023. </a:t>
            </a:r>
          </a:p>
          <a:p>
            <a:pPr marL="342900" indent="-342900">
              <a:spcAft>
                <a:spcPts val="601"/>
              </a:spcAft>
              <a:buFont typeface="Arial" panose="020B0604020202020204" pitchFamily="34" charset="0"/>
              <a:buChar char="•"/>
            </a:pPr>
            <a:r>
              <a:rPr lang="de-AT" dirty="0"/>
              <a:t>Zielt auf eine Steigerung der Effizienz, Geschwindigkeit und Effektivität des Instruments ab:  </a:t>
            </a:r>
          </a:p>
          <a:p>
            <a:pPr marL="685810" lvl="2">
              <a:spcBef>
                <a:spcPts val="0"/>
              </a:spcBef>
              <a:spcAft>
                <a:spcPts val="601"/>
              </a:spcAft>
              <a:defRPr/>
            </a:pPr>
            <a:r>
              <a:rPr lang="de-AT" sz="2000" dirty="0"/>
              <a:t>Spürbare Verbesserungen hinsichtlich der einzelnen Abschnitte eines IPCEI:</a:t>
            </a:r>
          </a:p>
          <a:p>
            <a:pPr marL="1143016" lvl="4">
              <a:spcBef>
                <a:spcPts val="0"/>
              </a:spcBef>
              <a:spcAft>
                <a:spcPts val="601"/>
              </a:spcAft>
              <a:defRPr/>
            </a:pPr>
            <a:r>
              <a:rPr lang="de-AT" sz="2000" dirty="0"/>
              <a:t>Gemeinsame Identifizierung von Themen,</a:t>
            </a:r>
          </a:p>
          <a:p>
            <a:pPr marL="1143016" lvl="4">
              <a:spcBef>
                <a:spcPts val="0"/>
              </a:spcBef>
              <a:spcAft>
                <a:spcPts val="601"/>
              </a:spcAft>
              <a:defRPr/>
            </a:pPr>
            <a:r>
              <a:rPr lang="de-AT" sz="2000" dirty="0"/>
              <a:t>Gemeinsame Vorbereitung des IPCEI (Design, Matchmaking, Description) und  </a:t>
            </a:r>
          </a:p>
          <a:p>
            <a:pPr marL="1143016" lvl="4">
              <a:spcBef>
                <a:spcPts val="0"/>
              </a:spcBef>
              <a:spcAft>
                <a:spcPts val="601"/>
              </a:spcAft>
              <a:defRPr/>
            </a:pPr>
            <a:r>
              <a:rPr lang="de-AT" sz="2000" dirty="0"/>
              <a:t>Implementierung von IPCEI und Begleitung nach den Projektstarts der Mitgliedstaaten,</a:t>
            </a:r>
            <a:endParaRPr lang="de-DE" sz="2000" dirty="0"/>
          </a:p>
          <a:p>
            <a:pPr marL="685810" lvl="2">
              <a:spcBef>
                <a:spcPts val="0"/>
              </a:spcBef>
              <a:spcAft>
                <a:spcPts val="601"/>
              </a:spcAft>
              <a:defRPr/>
            </a:pPr>
            <a:r>
              <a:rPr lang="de-DE" sz="2000" dirty="0"/>
              <a:t>Bessere Abstimmung potenzieller neuer IPCEIs auf die politischen Ziele der EU-Industriestrategie.</a:t>
            </a:r>
            <a:endParaRPr lang="de-AT" sz="2000" dirty="0"/>
          </a:p>
          <a:p>
            <a:pPr marL="342900" indent="-342900">
              <a:spcAft>
                <a:spcPts val="601"/>
              </a:spcAft>
              <a:buFont typeface="Arial" panose="020B0604020202020204" pitchFamily="34" charset="0"/>
              <a:buChar char="•"/>
            </a:pPr>
            <a:r>
              <a:rPr lang="de-AT" dirty="0"/>
              <a:t>Gemeinsame Arbeit in Arbeitsgruppen mit inhaltlichen Schwerpunkten, z.B.:</a:t>
            </a:r>
          </a:p>
          <a:p>
            <a:pPr lvl="1">
              <a:spcAft>
                <a:spcPts val="601"/>
              </a:spcAft>
            </a:pPr>
            <a:r>
              <a:rPr lang="de-AT" sz="2000" i="1" dirty="0"/>
              <a:t>National Best Practices </a:t>
            </a:r>
            <a:r>
              <a:rPr lang="de-AT" sz="2000" dirty="0"/>
              <a:t>in der Vorbereitungs- und Implementierungsphase,</a:t>
            </a:r>
          </a:p>
          <a:p>
            <a:pPr lvl="1">
              <a:spcAft>
                <a:spcPts val="601"/>
              </a:spcAft>
            </a:pPr>
            <a:r>
              <a:rPr lang="de-DE" sz="2000" dirty="0"/>
              <a:t>Vereinfachte Teilnahme von KMU (Teilnahmequote von KMUs bei IPCEIs stetig gestiegen - Durchschnitt 17%)</a:t>
            </a:r>
            <a:r>
              <a:rPr lang="de-AT" sz="2000" dirty="0"/>
              <a:t>.</a:t>
            </a:r>
          </a:p>
          <a:p>
            <a:pPr marL="342900" indent="-342900">
              <a:buFont typeface="Arial" panose="020B0604020202020204" pitchFamily="34" charset="0"/>
              <a:buChar char="•"/>
            </a:pPr>
            <a:endParaRPr lang="de-AT" sz="1600" dirty="0"/>
          </a:p>
          <a:p>
            <a:endParaRPr lang="en-IE" sz="1600" dirty="0"/>
          </a:p>
        </p:txBody>
      </p:sp>
    </p:spTree>
    <p:extLst>
      <p:ext uri="{BB962C8B-B14F-4D97-AF65-F5344CB8AC3E}">
        <p14:creationId xmlns:p14="http://schemas.microsoft.com/office/powerpoint/2010/main" val="33389506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83B6D7B-562B-45DC-952A-377858164B64}"/>
              </a:ext>
            </a:extLst>
          </p:cNvPr>
          <p:cNvSpPr>
            <a:spLocks noGrp="1"/>
          </p:cNvSpPr>
          <p:nvPr>
            <p:ph type="title"/>
          </p:nvPr>
        </p:nvSpPr>
        <p:spPr>
          <a:xfrm>
            <a:off x="912284" y="1653739"/>
            <a:ext cx="10656324" cy="1271206"/>
          </a:xfrm>
        </p:spPr>
        <p:txBody>
          <a:bodyPr/>
          <a:lstStyle/>
          <a:p>
            <a:r>
              <a:rPr lang="de-DE" dirty="0"/>
              <a:t>Vorstellung  </a:t>
            </a:r>
            <a:br>
              <a:rPr lang="de-DE" dirty="0"/>
            </a:br>
            <a:r>
              <a:rPr lang="de-DE" dirty="0"/>
              <a:t>Förderinstrument </a:t>
            </a:r>
            <a:r>
              <a:rPr lang="de-DE" dirty="0" err="1"/>
              <a:t>Important</a:t>
            </a:r>
            <a:r>
              <a:rPr lang="de-DE" dirty="0"/>
              <a:t> Project </a:t>
            </a:r>
            <a:r>
              <a:rPr lang="de-DE" dirty="0" err="1"/>
              <a:t>of</a:t>
            </a:r>
            <a:r>
              <a:rPr lang="de-DE" dirty="0"/>
              <a:t> Common European Interest (IPCEI)</a:t>
            </a:r>
          </a:p>
        </p:txBody>
      </p:sp>
      <p:sp>
        <p:nvSpPr>
          <p:cNvPr id="3" name="Foliennummernplatzhalter 2">
            <a:extLst>
              <a:ext uri="{FF2B5EF4-FFF2-40B4-BE49-F238E27FC236}">
                <a16:creationId xmlns:a16="http://schemas.microsoft.com/office/drawing/2014/main" id="{A74000FF-92D7-4E52-893B-9D2BB419F46A}"/>
              </a:ext>
            </a:extLst>
          </p:cNvPr>
          <p:cNvSpPr>
            <a:spLocks noGrp="1"/>
          </p:cNvSpPr>
          <p:nvPr>
            <p:ph type="sldNum" sz="quarter" idx="4294967295"/>
          </p:nvPr>
        </p:nvSpPr>
        <p:spPr>
          <a:xfrm>
            <a:off x="1708150" y="6375400"/>
            <a:ext cx="10483850" cy="220663"/>
          </a:xfrm>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smtClean="0">
                <a:solidFill>
                  <a:schemeClr val="accent5"/>
                </a:solidFill>
              </a:rPr>
              <a:pPr algn="l" rtl="0"/>
              <a:t>3</a:t>
            </a:fld>
            <a:r>
              <a:rPr lang="en-GB" sz="1000" b="0" i="0" u="none" baseline="0">
                <a:solidFill>
                  <a:schemeClr val="accent5"/>
                </a:solidFill>
              </a:rPr>
              <a:t> </a:t>
            </a:r>
          </a:p>
        </p:txBody>
      </p:sp>
      <p:sp>
        <p:nvSpPr>
          <p:cNvPr id="4" name="Textplatzhalter 2">
            <a:extLst>
              <a:ext uri="{FF2B5EF4-FFF2-40B4-BE49-F238E27FC236}">
                <a16:creationId xmlns:a16="http://schemas.microsoft.com/office/drawing/2014/main" id="{5D36830A-E9DE-4E72-8D92-111A1A1A1BB9}"/>
              </a:ext>
            </a:extLst>
          </p:cNvPr>
          <p:cNvSpPr>
            <a:spLocks noGrp="1"/>
          </p:cNvSpPr>
          <p:nvPr>
            <p:ph type="body" sz="quarter" idx="11"/>
          </p:nvPr>
        </p:nvSpPr>
        <p:spPr>
          <a:xfrm>
            <a:off x="912285" y="3645024"/>
            <a:ext cx="10526183" cy="335413"/>
          </a:xfrm>
        </p:spPr>
        <p:txBody>
          <a:bodyPr/>
          <a:lstStyle/>
          <a:p>
            <a:r>
              <a:rPr lang="de-DE" dirty="0"/>
              <a:t>Michael A. Müller | VDI/VDE Innovation + Technik GmbH (Projektträger)</a:t>
            </a:r>
          </a:p>
        </p:txBody>
      </p:sp>
    </p:spTree>
    <p:extLst>
      <p:ext uri="{BB962C8B-B14F-4D97-AF65-F5344CB8AC3E}">
        <p14:creationId xmlns:p14="http://schemas.microsoft.com/office/powerpoint/2010/main" val="19705122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9F8B37-22A7-01CF-EB2D-BE160FEDE170}"/>
              </a:ext>
            </a:extLst>
          </p:cNvPr>
          <p:cNvSpPr>
            <a:spLocks noGrp="1"/>
          </p:cNvSpPr>
          <p:nvPr>
            <p:ph type="title"/>
          </p:nvPr>
        </p:nvSpPr>
        <p:spPr>
          <a:xfrm>
            <a:off x="838200" y="365126"/>
            <a:ext cx="11353800" cy="816904"/>
          </a:xfrm>
        </p:spPr>
        <p:txBody>
          <a:bodyPr/>
          <a:lstStyle/>
          <a:p>
            <a:r>
              <a:rPr lang="de-DE" dirty="0"/>
              <a:t>Weitere Informationen:</a:t>
            </a:r>
          </a:p>
        </p:txBody>
      </p:sp>
      <p:sp>
        <p:nvSpPr>
          <p:cNvPr id="3" name="Content Placeholder 2">
            <a:extLst>
              <a:ext uri="{FF2B5EF4-FFF2-40B4-BE49-F238E27FC236}">
                <a16:creationId xmlns:a16="http://schemas.microsoft.com/office/drawing/2014/main" id="{D92E0FB6-A951-8C77-CD67-6A60A40016ED}"/>
              </a:ext>
            </a:extLst>
          </p:cNvPr>
          <p:cNvSpPr>
            <a:spLocks noGrp="1"/>
          </p:cNvSpPr>
          <p:nvPr>
            <p:ph idx="1"/>
          </p:nvPr>
        </p:nvSpPr>
        <p:spPr>
          <a:xfrm>
            <a:off x="838200" y="1358969"/>
            <a:ext cx="10515600" cy="4473575"/>
          </a:xfrm>
        </p:spPr>
        <p:txBody>
          <a:bodyPr/>
          <a:lstStyle/>
          <a:p>
            <a:pPr marL="431006" indent="-285750" algn="just">
              <a:spcBef>
                <a:spcPts val="600"/>
              </a:spcBef>
              <a:spcAft>
                <a:spcPts val="600"/>
              </a:spcAft>
              <a:buClr>
                <a:srgbClr val="034EA2"/>
              </a:buClr>
              <a:buFont typeface="Arial" panose="020B0604020202020204" pitchFamily="34" charset="0"/>
              <a:buChar char="•"/>
            </a:pPr>
            <a:r>
              <a:rPr lang="de-DE" dirty="0">
                <a:ea typeface="Calibri"/>
              </a:rPr>
              <a:t>Informationen zu IPCEIs</a:t>
            </a:r>
            <a:endParaRPr lang="de-DE">
              <a:ea typeface="Calibri"/>
            </a:endParaRPr>
          </a:p>
          <a:p>
            <a:pPr marL="145256" algn="just">
              <a:spcBef>
                <a:spcPts val="600"/>
              </a:spcBef>
              <a:spcAft>
                <a:spcPts val="600"/>
              </a:spcAft>
              <a:buClr>
                <a:srgbClr val="034EA2"/>
              </a:buClr>
            </a:pPr>
            <a:r>
              <a:rPr lang="en-IE" sz="1600" dirty="0">
                <a:hlinkClick r:id="rId2"/>
              </a:rPr>
              <a:t>https://competition-policy.ec.europa.eu/state-aid/ipcei_en</a:t>
            </a:r>
            <a:endParaRPr lang="en-IE" sz="1600"/>
          </a:p>
          <a:p>
            <a:pPr marL="431006" indent="-285750" algn="just">
              <a:spcBef>
                <a:spcPts val="600"/>
              </a:spcBef>
              <a:spcAft>
                <a:spcPts val="600"/>
              </a:spcAft>
              <a:buClr>
                <a:srgbClr val="034EA2"/>
              </a:buClr>
              <a:buFont typeface="Arial" panose="020B0604020202020204" pitchFamily="34" charset="0"/>
              <a:buChar char="•"/>
            </a:pPr>
            <a:r>
              <a:rPr lang="de-DE" dirty="0">
                <a:latin typeface="+mn-lt"/>
                <a:ea typeface="Calibri"/>
              </a:rPr>
              <a:t>Vorlage </a:t>
            </a:r>
            <a:r>
              <a:rPr lang="de-DE" dirty="0">
                <a:ea typeface="Calibri"/>
              </a:rPr>
              <a:t>vom Projektportfolio</a:t>
            </a:r>
            <a:r>
              <a:rPr lang="de-DE" dirty="0">
                <a:latin typeface="+mn-lt"/>
                <a:ea typeface="Calibri"/>
              </a:rPr>
              <a:t> (</a:t>
            </a:r>
            <a:r>
              <a:rPr lang="de-DE">
                <a:latin typeface="+mn-lt"/>
                <a:ea typeface="Calibri"/>
              </a:rPr>
              <a:t>Marktversagen</a:t>
            </a:r>
            <a:r>
              <a:rPr lang="de-DE" dirty="0">
                <a:latin typeface="+mn-lt"/>
                <a:ea typeface="Calibri"/>
              </a:rPr>
              <a:t> in Abschnitt 7; Spill-</a:t>
            </a:r>
            <a:r>
              <a:rPr lang="de-DE" dirty="0" err="1">
                <a:latin typeface="+mn-lt"/>
                <a:ea typeface="Calibri"/>
              </a:rPr>
              <a:t>over</a:t>
            </a:r>
            <a:r>
              <a:rPr lang="de-DE" dirty="0">
                <a:latin typeface="+mn-lt"/>
                <a:ea typeface="Calibri"/>
              </a:rPr>
              <a:t> in Abschnitt 8)</a:t>
            </a:r>
            <a:endParaRPr lang="de-DE">
              <a:latin typeface="+mn-lt"/>
              <a:ea typeface="Calibri"/>
            </a:endParaRPr>
          </a:p>
          <a:p>
            <a:pPr marL="145256" algn="just">
              <a:spcBef>
                <a:spcPts val="600"/>
              </a:spcBef>
              <a:spcAft>
                <a:spcPts val="1800"/>
              </a:spcAft>
              <a:buClr>
                <a:srgbClr val="034EA2"/>
              </a:buClr>
            </a:pPr>
            <a:r>
              <a:rPr lang="de-DE" sz="1600" u="sng" dirty="0">
                <a:solidFill>
                  <a:srgbClr val="0000FF"/>
                </a:solidFill>
                <a:effectLst/>
                <a:latin typeface="+mn-lt"/>
                <a:ea typeface="Calibri" panose="020F0502020204030204" pitchFamily="34" charset="0"/>
                <a:cs typeface="Aptos" panose="020B0004020202020204" pitchFamily="34" charset="0"/>
                <a:hlinkClick r:id="rId3"/>
              </a:rPr>
              <a:t>https://competition-policy.ec.europa.eu/document/download/04b18665-fcd2-44b3-a34b-375d702158c2_en?filename=IPCEI_project_portfolio_template_october_2023.docx</a:t>
            </a:r>
            <a:endParaRPr lang="de-DE" sz="1600">
              <a:latin typeface="+mn-lt"/>
              <a:ea typeface="Calibri"/>
            </a:endParaRPr>
          </a:p>
          <a:p>
            <a:pPr marL="431006" indent="-285750" algn="just">
              <a:spcBef>
                <a:spcPts val="600"/>
              </a:spcBef>
              <a:spcAft>
                <a:spcPts val="600"/>
              </a:spcAft>
              <a:buClr>
                <a:srgbClr val="034EA2"/>
              </a:buClr>
              <a:buFont typeface="Arial" panose="020B0604020202020204" pitchFamily="34" charset="0"/>
              <a:buChar char="•"/>
            </a:pPr>
            <a:r>
              <a:rPr lang="de-DE">
                <a:ea typeface="Calibri"/>
              </a:rPr>
              <a:t>The Code </a:t>
            </a:r>
            <a:r>
              <a:rPr lang="de-DE" err="1">
                <a:ea typeface="Calibri"/>
              </a:rPr>
              <a:t>of</a:t>
            </a:r>
            <a:r>
              <a:rPr lang="de-DE">
                <a:ea typeface="Calibri"/>
              </a:rPr>
              <a:t> </a:t>
            </a:r>
            <a:r>
              <a:rPr lang="de-DE" err="1">
                <a:ea typeface="Calibri"/>
              </a:rPr>
              <a:t>Good</a:t>
            </a:r>
            <a:r>
              <a:rPr lang="de-DE">
                <a:ea typeface="Calibri"/>
              </a:rPr>
              <a:t> Practices </a:t>
            </a:r>
          </a:p>
          <a:p>
            <a:pPr marL="145256" algn="just">
              <a:spcBef>
                <a:spcPts val="600"/>
              </a:spcBef>
              <a:spcAft>
                <a:spcPts val="600"/>
              </a:spcAft>
              <a:buClr>
                <a:srgbClr val="034EA2"/>
              </a:buClr>
            </a:pPr>
            <a:r>
              <a:rPr lang="de-DE" sz="1600">
                <a:ea typeface="Calibri"/>
                <a:hlinkClick r:id="rId4"/>
              </a:rPr>
              <a:t>https://competition-policy.ec.europa.eu/document/download/00d45d71-26f3-44e5-b0fc-c36a05fe0538_en?filename=IPCEIs_DG_COMP_code_of_good_practices.pdf</a:t>
            </a:r>
            <a:r>
              <a:rPr lang="de-DE" sz="1600">
                <a:ea typeface="Calibri"/>
              </a:rPr>
              <a:t> </a:t>
            </a:r>
          </a:p>
          <a:p>
            <a:pPr marL="431006" indent="-285750" algn="just">
              <a:spcBef>
                <a:spcPts val="600"/>
              </a:spcBef>
              <a:spcAft>
                <a:spcPts val="600"/>
              </a:spcAft>
              <a:buClr>
                <a:srgbClr val="034EA2"/>
              </a:buClr>
              <a:buFont typeface="Arial" panose="020B0604020202020204" pitchFamily="34" charset="0"/>
              <a:buChar char="•"/>
            </a:pPr>
            <a:r>
              <a:rPr lang="de-DE">
                <a:ea typeface="Calibri"/>
              </a:rPr>
              <a:t>V</a:t>
            </a:r>
            <a:r>
              <a:rPr lang="de-DE">
                <a:latin typeface="+mn-lt"/>
                <a:ea typeface="Calibri"/>
              </a:rPr>
              <a:t>orherige</a:t>
            </a:r>
            <a:r>
              <a:rPr lang="de-DE" dirty="0">
                <a:latin typeface="+mn-lt"/>
                <a:ea typeface="Calibri"/>
              </a:rPr>
              <a:t> IPCEI Entscheidungen (</a:t>
            </a:r>
            <a:r>
              <a:rPr lang="de-DE" dirty="0">
                <a:ea typeface="Calibri"/>
              </a:rPr>
              <a:t>z.B. </a:t>
            </a:r>
            <a:r>
              <a:rPr lang="de-DE" dirty="0">
                <a:latin typeface="+mn-lt"/>
                <a:ea typeface="Calibri"/>
              </a:rPr>
              <a:t>IPCEI ME/CT…) </a:t>
            </a:r>
            <a:endParaRPr lang="de-DE">
              <a:latin typeface="+mn-lt"/>
              <a:ea typeface="Calibri"/>
            </a:endParaRPr>
          </a:p>
          <a:p>
            <a:pPr marL="145256" algn="just">
              <a:spcBef>
                <a:spcPts val="600"/>
              </a:spcBef>
              <a:spcAft>
                <a:spcPts val="1800"/>
              </a:spcAft>
              <a:buClr>
                <a:srgbClr val="034EA2"/>
              </a:buClr>
            </a:pPr>
            <a:r>
              <a:rPr lang="de-DE" sz="1600" dirty="0">
                <a:latin typeface="+mn-lt"/>
                <a:ea typeface="Calibri"/>
                <a:hlinkClick r:id="rId5"/>
              </a:rPr>
              <a:t>https://competition-policy.ec.europa.eu/state-aid/ipcei/approved-ipceis_en</a:t>
            </a:r>
            <a:r>
              <a:rPr lang="de-DE" sz="1600" dirty="0">
                <a:latin typeface="+mn-lt"/>
                <a:ea typeface="Calibri"/>
              </a:rPr>
              <a:t> </a:t>
            </a:r>
            <a:endParaRPr lang="de-DE" sz="1600">
              <a:latin typeface="+mn-lt"/>
              <a:ea typeface="Calibri"/>
            </a:endParaRPr>
          </a:p>
          <a:p>
            <a:pPr marL="431006" indent="-285750" algn="just">
              <a:spcBef>
                <a:spcPts val="600"/>
              </a:spcBef>
              <a:spcAft>
                <a:spcPts val="600"/>
              </a:spcAft>
              <a:buClr>
                <a:srgbClr val="034EA2"/>
              </a:buClr>
              <a:buFont typeface="Arial" panose="020B0604020202020204" pitchFamily="34" charset="0"/>
              <a:buChar char="•"/>
            </a:pPr>
            <a:r>
              <a:rPr lang="de-DE" dirty="0">
                <a:ea typeface="Calibri"/>
              </a:rPr>
              <a:t>Gemeinschaftsrahmen für staatliche Beihilfen für Forschung, Entwicklung und Innovation </a:t>
            </a:r>
            <a:r>
              <a:rPr lang="de-DE" dirty="0">
                <a:latin typeface="+mn-lt"/>
                <a:ea typeface="Calibri"/>
              </a:rPr>
              <a:t>(siehe insb. </a:t>
            </a:r>
            <a:r>
              <a:rPr lang="de-DE" i="1" dirty="0">
                <a:latin typeface="+mn-lt"/>
                <a:ea typeface="Calibri"/>
              </a:rPr>
              <a:t>Punkt 61 </a:t>
            </a:r>
            <a:r>
              <a:rPr lang="de-DE" dirty="0">
                <a:latin typeface="+mn-lt"/>
                <a:ea typeface="Calibri"/>
              </a:rPr>
              <a:t>für Marktversagen)</a:t>
            </a:r>
            <a:endParaRPr lang="de-DE">
              <a:latin typeface="+mn-lt"/>
              <a:ea typeface="Calibri"/>
            </a:endParaRPr>
          </a:p>
          <a:p>
            <a:pPr marL="145256" algn="just">
              <a:spcBef>
                <a:spcPts val="600"/>
              </a:spcBef>
              <a:spcAft>
                <a:spcPts val="1800"/>
              </a:spcAft>
              <a:buClr>
                <a:srgbClr val="034EA2"/>
              </a:buClr>
            </a:pPr>
            <a:r>
              <a:rPr lang="de-DE" sz="1600" dirty="0">
                <a:latin typeface="+mn-lt"/>
                <a:ea typeface="Calibri"/>
                <a:hlinkClick r:id="rId6"/>
              </a:rPr>
              <a:t>https://eur-lex.europa.eu/legal-content/EN/TXT/?uri=celex%3A52022XC1028%2803%29</a:t>
            </a:r>
            <a:r>
              <a:rPr lang="de-DE" sz="1600" dirty="0">
                <a:latin typeface="+mn-lt"/>
                <a:ea typeface="Calibri"/>
              </a:rPr>
              <a:t> </a:t>
            </a:r>
            <a:endParaRPr lang="de-DE" sz="1600">
              <a:latin typeface="+mn-lt"/>
              <a:ea typeface="Calibri"/>
            </a:endParaRPr>
          </a:p>
          <a:p>
            <a:pPr>
              <a:spcBef>
                <a:spcPts val="600"/>
              </a:spcBef>
            </a:pPr>
            <a:endParaRPr lang="de-DE" sz="1600"/>
          </a:p>
        </p:txBody>
      </p:sp>
    </p:spTree>
    <p:extLst>
      <p:ext uri="{BB962C8B-B14F-4D97-AF65-F5344CB8AC3E}">
        <p14:creationId xmlns:p14="http://schemas.microsoft.com/office/powerpoint/2010/main" val="1793133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82AE2-D00B-E017-7D0B-4FA45947C049}"/>
              </a:ext>
            </a:extLst>
          </p:cNvPr>
          <p:cNvSpPr>
            <a:spLocks noGrp="1"/>
          </p:cNvSpPr>
          <p:nvPr>
            <p:ph type="title"/>
          </p:nvPr>
        </p:nvSpPr>
        <p:spPr/>
        <p:txBody>
          <a:bodyPr/>
          <a:lstStyle/>
          <a:p>
            <a:r>
              <a:rPr lang="de-DE"/>
              <a:t>Vielen Dank</a:t>
            </a:r>
            <a:endParaRPr lang="en-IE"/>
          </a:p>
        </p:txBody>
      </p:sp>
      <p:sp>
        <p:nvSpPr>
          <p:cNvPr id="3" name="Text Placeholder 2">
            <a:extLst>
              <a:ext uri="{FF2B5EF4-FFF2-40B4-BE49-F238E27FC236}">
                <a16:creationId xmlns:a16="http://schemas.microsoft.com/office/drawing/2014/main" id="{48BDA4BD-D528-4109-56ED-2F3C7A7F011E}"/>
              </a:ext>
            </a:extLst>
          </p:cNvPr>
          <p:cNvSpPr>
            <a:spLocks noGrp="1"/>
          </p:cNvSpPr>
          <p:nvPr>
            <p:ph type="body" sz="quarter" idx="10"/>
          </p:nvPr>
        </p:nvSpPr>
        <p:spPr>
          <a:xfrm>
            <a:off x="553720" y="5191125"/>
            <a:ext cx="10515600" cy="1666875"/>
          </a:xfrm>
        </p:spPr>
        <p:txBody>
          <a:bodyPr/>
          <a:lstStyle/>
          <a:p>
            <a:r>
              <a:rPr lang="de-DE" sz="1100"/>
              <a:t>© Europäische Union 2020</a:t>
            </a:r>
          </a:p>
          <a:p>
            <a:r>
              <a:rPr lang="de-DE" sz="1100"/>
              <a:t>Sofern nichts anderes angegeben ist, wird die Weiterverwendung dieser Präsentation zu den Bedingungen der Lizenz CC BY 4.0 gestattet. Für jede Verwendung oder Wiedergabe von Elementen, die nicht Eigentum der EU sind, muss gegebenenfalls direkt bei den jeweiligen Rechteinhabern eine Genehmigung eingeholt werden.</a:t>
            </a:r>
          </a:p>
        </p:txBody>
      </p:sp>
    </p:spTree>
    <p:extLst>
      <p:ext uri="{BB962C8B-B14F-4D97-AF65-F5344CB8AC3E}">
        <p14:creationId xmlns:p14="http://schemas.microsoft.com/office/powerpoint/2010/main" val="238208620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83B6D7B-562B-45DC-952A-377858164B64}"/>
              </a:ext>
            </a:extLst>
          </p:cNvPr>
          <p:cNvSpPr>
            <a:spLocks noGrp="1"/>
          </p:cNvSpPr>
          <p:nvPr>
            <p:ph type="title"/>
          </p:nvPr>
        </p:nvSpPr>
        <p:spPr/>
        <p:txBody>
          <a:bodyPr/>
          <a:lstStyle/>
          <a:p>
            <a:r>
              <a:rPr lang="de-DE" dirty="0"/>
              <a:t>geplantes IPCEI Advanced SemiConductor Technologies (AST)</a:t>
            </a:r>
          </a:p>
        </p:txBody>
      </p:sp>
      <p:sp>
        <p:nvSpPr>
          <p:cNvPr id="3" name="Foliennummernplatzhalter 2">
            <a:extLst>
              <a:ext uri="{FF2B5EF4-FFF2-40B4-BE49-F238E27FC236}">
                <a16:creationId xmlns:a16="http://schemas.microsoft.com/office/drawing/2014/main" id="{A74000FF-92D7-4E52-893B-9D2BB419F46A}"/>
              </a:ext>
            </a:extLst>
          </p:cNvPr>
          <p:cNvSpPr>
            <a:spLocks noGrp="1"/>
          </p:cNvSpPr>
          <p:nvPr>
            <p:ph type="sldNum" sz="quarter" idx="4294967295"/>
          </p:nvPr>
        </p:nvSpPr>
        <p:spPr>
          <a:xfrm>
            <a:off x="1708150" y="6375400"/>
            <a:ext cx="10483850" cy="220663"/>
          </a:xfrm>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smtClean="0">
                <a:solidFill>
                  <a:schemeClr val="accent5"/>
                </a:solidFill>
              </a:rPr>
              <a:pPr algn="l" rtl="0"/>
              <a:t>32</a:t>
            </a:fld>
            <a:r>
              <a:rPr lang="en-GB" sz="1000" b="0" i="0" u="none" baseline="0">
                <a:solidFill>
                  <a:schemeClr val="accent5"/>
                </a:solidFill>
              </a:rPr>
              <a:t> </a:t>
            </a:r>
          </a:p>
        </p:txBody>
      </p:sp>
      <p:sp>
        <p:nvSpPr>
          <p:cNvPr id="4" name="Textplatzhalter 2">
            <a:extLst>
              <a:ext uri="{FF2B5EF4-FFF2-40B4-BE49-F238E27FC236}">
                <a16:creationId xmlns:a16="http://schemas.microsoft.com/office/drawing/2014/main" id="{E795342A-6DE8-4A85-A3B3-7BBD4D4F5EE1}"/>
              </a:ext>
            </a:extLst>
          </p:cNvPr>
          <p:cNvSpPr>
            <a:spLocks noGrp="1"/>
          </p:cNvSpPr>
          <p:nvPr>
            <p:ph type="body" sz="quarter" idx="11"/>
          </p:nvPr>
        </p:nvSpPr>
        <p:spPr>
          <a:xfrm>
            <a:off x="912285" y="3068960"/>
            <a:ext cx="10526183" cy="335413"/>
          </a:xfrm>
        </p:spPr>
        <p:txBody>
          <a:bodyPr/>
          <a:lstStyle/>
          <a:p>
            <a:r>
              <a:rPr lang="de-DE" dirty="0"/>
              <a:t>Michael A. Müller | VDI/VDE Innovation + Technik GmbH (Projektträger)</a:t>
            </a:r>
          </a:p>
        </p:txBody>
      </p:sp>
    </p:spTree>
    <p:extLst>
      <p:ext uri="{BB962C8B-B14F-4D97-AF65-F5344CB8AC3E}">
        <p14:creationId xmlns:p14="http://schemas.microsoft.com/office/powerpoint/2010/main" val="16981130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900000" y="720000"/>
            <a:ext cx="8557008" cy="774491"/>
          </a:xfrm>
        </p:spPr>
        <p:txBody>
          <a:bodyPr/>
          <a:lstStyle/>
          <a:p>
            <a:r>
              <a:rPr lang="de-DE" dirty="0"/>
              <a:t>IPCEI AST | Einleitung</a:t>
            </a:r>
          </a:p>
        </p:txBody>
      </p:sp>
      <p:sp>
        <p:nvSpPr>
          <p:cNvPr id="3" name="Foliennummernplatzhalter 2"/>
          <p:cNvSpPr>
            <a:spLocks noGrp="1"/>
          </p:cNvSpPr>
          <p:nvPr>
            <p:ph type="sldNum" sz="quarter" idx="10"/>
          </p:nvPr>
        </p:nvSpPr>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smtClean="0">
                <a:solidFill>
                  <a:schemeClr val="accent5"/>
                </a:solidFill>
              </a:rPr>
              <a:pPr algn="l" rtl="0"/>
              <a:t>33</a:t>
            </a:fld>
            <a:r>
              <a:rPr lang="en-GB" sz="1000" b="0" i="0" u="none" baseline="0">
                <a:solidFill>
                  <a:schemeClr val="accent5"/>
                </a:solidFill>
              </a:rPr>
              <a:t> </a:t>
            </a:r>
          </a:p>
        </p:txBody>
      </p:sp>
      <p:sp>
        <p:nvSpPr>
          <p:cNvPr id="4" name="Textplatzhalter 3"/>
          <p:cNvSpPr>
            <a:spLocks noGrp="1"/>
          </p:cNvSpPr>
          <p:nvPr>
            <p:ph type="body" sz="quarter" idx="15"/>
          </p:nvPr>
        </p:nvSpPr>
        <p:spPr/>
        <p:txBody>
          <a:bodyPr/>
          <a:lstStyle/>
          <a:p>
            <a:pPr>
              <a:spcBef>
                <a:spcPts val="2000"/>
              </a:spcBef>
            </a:pPr>
            <a:r>
              <a:rPr lang="de-DE" u="none" dirty="0">
                <a:solidFill>
                  <a:schemeClr val="tx1"/>
                </a:solidFill>
              </a:rPr>
              <a:t>3. IPCEI zum Thema Mikroelektronik in Planung („IPCEI </a:t>
            </a:r>
            <a:r>
              <a:rPr lang="de-DE" u="none" dirty="0" err="1">
                <a:solidFill>
                  <a:schemeClr val="tx1"/>
                </a:solidFill>
              </a:rPr>
              <a:t>Advanced</a:t>
            </a:r>
            <a:r>
              <a:rPr lang="de-DE" u="none" dirty="0">
                <a:solidFill>
                  <a:schemeClr val="tx1"/>
                </a:solidFill>
              </a:rPr>
              <a:t> Semiconductor Technologies“)</a:t>
            </a:r>
          </a:p>
          <a:p>
            <a:pPr>
              <a:spcBef>
                <a:spcPts val="2000"/>
              </a:spcBef>
            </a:pPr>
            <a:r>
              <a:rPr lang="de-DE" u="none" dirty="0">
                <a:solidFill>
                  <a:schemeClr val="tx1"/>
                </a:solidFill>
              </a:rPr>
              <a:t>Rolle der Mikroelektronik weiterhin für DEU und Europa essentiell, insbesondere aus geopolitischer und technologischer Sicht</a:t>
            </a:r>
          </a:p>
          <a:p>
            <a:pPr>
              <a:spcBef>
                <a:spcPts val="2000"/>
              </a:spcBef>
            </a:pPr>
            <a:r>
              <a:rPr lang="de-DE" u="none" dirty="0">
                <a:solidFill>
                  <a:schemeClr val="tx1"/>
                </a:solidFill>
              </a:rPr>
              <a:t>16 Mitgliedstaaten im November 2024 Absichtserklärung unterschrieben</a:t>
            </a:r>
          </a:p>
          <a:p>
            <a:pPr>
              <a:spcBef>
                <a:spcPts val="2000"/>
              </a:spcBef>
            </a:pPr>
            <a:r>
              <a:rPr lang="de-DE" u="none" dirty="0">
                <a:solidFill>
                  <a:schemeClr val="tx1"/>
                </a:solidFill>
              </a:rPr>
              <a:t>Koordination erfolgt über DEU, FRA und NLD</a:t>
            </a:r>
          </a:p>
        </p:txBody>
      </p:sp>
    </p:spTree>
    <p:extLst>
      <p:ext uri="{BB962C8B-B14F-4D97-AF65-F5344CB8AC3E}">
        <p14:creationId xmlns:p14="http://schemas.microsoft.com/office/powerpoint/2010/main" val="11765859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900000" y="720000"/>
            <a:ext cx="8557008" cy="774491"/>
          </a:xfrm>
        </p:spPr>
        <p:txBody>
          <a:bodyPr/>
          <a:lstStyle/>
          <a:p>
            <a:r>
              <a:rPr lang="de-DE" dirty="0"/>
              <a:t>IPCEI AST | Themenfindung </a:t>
            </a:r>
            <a:r>
              <a:rPr lang="de-DE" dirty="0" err="1"/>
              <a:t>Eu</a:t>
            </a:r>
            <a:endParaRPr lang="de-DE" dirty="0"/>
          </a:p>
        </p:txBody>
      </p:sp>
      <p:sp>
        <p:nvSpPr>
          <p:cNvPr id="3" name="Foliennummernplatzhalter 2"/>
          <p:cNvSpPr>
            <a:spLocks noGrp="1"/>
          </p:cNvSpPr>
          <p:nvPr>
            <p:ph type="sldNum" sz="quarter" idx="10"/>
          </p:nvPr>
        </p:nvSpPr>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smtClean="0">
                <a:solidFill>
                  <a:schemeClr val="accent5"/>
                </a:solidFill>
              </a:rPr>
              <a:pPr algn="l" rtl="0"/>
              <a:t>34</a:t>
            </a:fld>
            <a:r>
              <a:rPr lang="en-GB" sz="1000" b="0" i="0" u="none" baseline="0">
                <a:solidFill>
                  <a:schemeClr val="accent5"/>
                </a:solidFill>
              </a:rPr>
              <a:t> </a:t>
            </a:r>
          </a:p>
        </p:txBody>
      </p:sp>
      <p:sp>
        <p:nvSpPr>
          <p:cNvPr id="4" name="Textplatzhalter 3"/>
          <p:cNvSpPr>
            <a:spLocks noGrp="1"/>
          </p:cNvSpPr>
          <p:nvPr>
            <p:ph type="body" sz="quarter" idx="15"/>
          </p:nvPr>
        </p:nvSpPr>
        <p:spPr/>
        <p:txBody>
          <a:bodyPr/>
          <a:lstStyle/>
          <a:p>
            <a:pPr>
              <a:spcBef>
                <a:spcPts val="2000"/>
              </a:spcBef>
            </a:pPr>
            <a:r>
              <a:rPr lang="de-DE" u="none" dirty="0">
                <a:solidFill>
                  <a:schemeClr val="tx1"/>
                </a:solidFill>
              </a:rPr>
              <a:t>Das IPCEI AST aktuell in </a:t>
            </a:r>
            <a:r>
              <a:rPr lang="de-DE" b="1" u="none" dirty="0">
                <a:solidFill>
                  <a:schemeClr val="tx1"/>
                </a:solidFill>
              </a:rPr>
              <a:t>Zieldefinierung und Themenfindung</a:t>
            </a:r>
            <a:endParaRPr lang="de-DE" u="none" dirty="0">
              <a:solidFill>
                <a:schemeClr val="tx1"/>
              </a:solidFill>
            </a:endParaRPr>
          </a:p>
          <a:p>
            <a:pPr>
              <a:spcBef>
                <a:spcPts val="2000"/>
              </a:spcBef>
            </a:pPr>
            <a:r>
              <a:rPr lang="de-DE" u="none" dirty="0">
                <a:solidFill>
                  <a:schemeClr val="tx1"/>
                </a:solidFill>
              </a:rPr>
              <a:t>Hierzu:</a:t>
            </a:r>
          </a:p>
          <a:p>
            <a:pPr marL="720725" lvl="1" indent="-277813"/>
            <a:r>
              <a:rPr lang="de-DE" sz="2000" dirty="0">
                <a:solidFill>
                  <a:schemeClr val="tx1"/>
                </a:solidFill>
              </a:rPr>
              <a:t>Mehrere Fachgespräche mit der Europäischen Kommission und Mitgliedstaaten</a:t>
            </a:r>
          </a:p>
          <a:p>
            <a:pPr marL="720725" lvl="1" indent="-277813"/>
            <a:r>
              <a:rPr lang="de-DE" sz="2000" dirty="0">
                <a:solidFill>
                  <a:schemeClr val="tx1"/>
                </a:solidFill>
              </a:rPr>
              <a:t>Mehrstufiges Technologieauswahlverfahren</a:t>
            </a:r>
          </a:p>
          <a:p>
            <a:pPr marL="720725" lvl="1" indent="-277813"/>
            <a:r>
              <a:rPr lang="de-DE" sz="2000" dirty="0">
                <a:solidFill>
                  <a:schemeClr val="tx1"/>
                </a:solidFill>
              </a:rPr>
              <a:t>Fokus auf industriepolitische Gesichtspunkte, gesellschaftliche Beiträge und Synergien mit vorherigen Maßnahmen (insbesondere Pilotlinien des ECA)</a:t>
            </a:r>
          </a:p>
          <a:p>
            <a:pPr>
              <a:spcBef>
                <a:spcPts val="2000"/>
              </a:spcBef>
            </a:pPr>
            <a:r>
              <a:rPr lang="de-DE" u="none" dirty="0">
                <a:solidFill>
                  <a:schemeClr val="tx1"/>
                </a:solidFill>
              </a:rPr>
              <a:t>Finalisierung der Themenfindung</a:t>
            </a:r>
          </a:p>
        </p:txBody>
      </p:sp>
    </p:spTree>
    <p:extLst>
      <p:ext uri="{BB962C8B-B14F-4D97-AF65-F5344CB8AC3E}">
        <p14:creationId xmlns:p14="http://schemas.microsoft.com/office/powerpoint/2010/main" val="18109758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F56755F0-73F4-4960-ADF4-5FF1706B6DFC}"/>
              </a:ext>
            </a:extLst>
          </p:cNvPr>
          <p:cNvSpPr>
            <a:spLocks noGrp="1"/>
          </p:cNvSpPr>
          <p:nvPr>
            <p:ph type="sldNum" sz="quarter" idx="10"/>
          </p:nvPr>
        </p:nvSpPr>
        <p:spPr/>
        <p:txBody>
          <a:bodyPr/>
          <a:lstStyle/>
          <a:p>
            <a:pPr algn="l" rtl="0"/>
            <a:r>
              <a:rPr lang="en-GB" b="0" i="0" u="none" baseline="0" dirty="0"/>
              <a:t>  </a:t>
            </a:r>
            <a:r>
              <a:rPr lang="en-GB" sz="1000" b="0" i="0" u="none" baseline="0" dirty="0">
                <a:solidFill>
                  <a:schemeClr val="accent5"/>
                </a:solidFill>
              </a:rPr>
              <a:t>© VDI/VDE-IT </a:t>
            </a:r>
            <a:r>
              <a:rPr lang="en-GB" sz="1000" b="0" i="0" u="none" baseline="0" dirty="0">
                <a:solidFill>
                  <a:schemeClr val="accent5"/>
                </a:solidFill>
                <a:sym typeface="Wingdings" panose="05000000000000000000" pitchFamily="2" charset="2"/>
              </a:rPr>
              <a:t></a:t>
            </a:r>
            <a:r>
              <a:rPr lang="en-GB" sz="1000" b="0" i="0" u="none" baseline="0" dirty="0">
                <a:solidFill>
                  <a:schemeClr val="accent5"/>
                </a:solidFill>
              </a:rPr>
              <a:t>  </a:t>
            </a:r>
            <a:fld id="{12CCBF5E-5E1E-43A5-B4E2-C140E7BD9013}" type="slidenum">
              <a:rPr sz="1000" smtClean="0">
                <a:solidFill>
                  <a:schemeClr val="accent5"/>
                </a:solidFill>
              </a:rPr>
              <a:pPr algn="l" rtl="0"/>
              <a:t>35</a:t>
            </a:fld>
            <a:r>
              <a:rPr lang="en-GB" sz="1000" b="0" i="0" u="none" baseline="0" dirty="0">
                <a:solidFill>
                  <a:schemeClr val="accent5"/>
                </a:solidFill>
              </a:rPr>
              <a:t> </a:t>
            </a:r>
          </a:p>
        </p:txBody>
      </p:sp>
      <p:sp>
        <p:nvSpPr>
          <p:cNvPr id="5" name="Textplatzhalter 7">
            <a:extLst>
              <a:ext uri="{FF2B5EF4-FFF2-40B4-BE49-F238E27FC236}">
                <a16:creationId xmlns:a16="http://schemas.microsoft.com/office/drawing/2014/main" id="{BD6500C2-F950-42D4-8021-3CAA7A27308E}"/>
              </a:ext>
            </a:extLst>
          </p:cNvPr>
          <p:cNvSpPr txBox="1">
            <a:spLocks/>
          </p:cNvSpPr>
          <p:nvPr/>
        </p:nvSpPr>
        <p:spPr>
          <a:xfrm>
            <a:off x="791326" y="1769089"/>
            <a:ext cx="10883016" cy="4378271"/>
          </a:xfrm>
          <a:prstGeom prst="rect">
            <a:avLst/>
          </a:prstGeom>
          <a:ln w="31750">
            <a:noFill/>
          </a:ln>
        </p:spPr>
        <p:txBody>
          <a:bodyPr numCol="1">
            <a:noAutofit/>
          </a:bodyPr>
          <a:lstStyle>
            <a:lvl1pPr marL="177800" indent="-177800" algn="l" defTabSz="914400" rtl="0" eaLnBrk="1" latinLnBrk="0" hangingPunct="1">
              <a:lnSpc>
                <a:spcPct val="120000"/>
              </a:lnSpc>
              <a:spcBef>
                <a:spcPts val="1000"/>
              </a:spcBef>
              <a:buClr>
                <a:schemeClr val="tx2"/>
              </a:buClr>
              <a:buSzPct val="80000"/>
              <a:buFont typeface="Wingdings" panose="05000000000000000000" pitchFamily="2" charset="2"/>
              <a:buChar char=""/>
              <a:defRPr sz="2000" kern="1200">
                <a:solidFill>
                  <a:schemeClr val="accent5"/>
                </a:solidFill>
                <a:latin typeface="+mn-lt"/>
                <a:ea typeface="+mn-ea"/>
                <a:cs typeface="+mn-cs"/>
              </a:defRPr>
            </a:lvl1pPr>
            <a:lvl2pPr marL="361950" indent="-184150" algn="l" defTabSz="914400" rtl="0" eaLnBrk="1" latinLnBrk="0" hangingPunct="1">
              <a:lnSpc>
                <a:spcPct val="120000"/>
              </a:lnSpc>
              <a:spcBef>
                <a:spcPts val="500"/>
              </a:spcBef>
              <a:buClr>
                <a:schemeClr val="tx2"/>
              </a:buClr>
              <a:buSzPct val="80000"/>
              <a:buFont typeface="Wingdings" panose="05000000000000000000" pitchFamily="2" charset="2"/>
              <a:buChar char=""/>
              <a:defRPr sz="1800" kern="1200">
                <a:solidFill>
                  <a:schemeClr val="accent5"/>
                </a:solidFill>
                <a:latin typeface="+mn-lt"/>
                <a:ea typeface="+mn-ea"/>
                <a:cs typeface="+mn-cs"/>
              </a:defRPr>
            </a:lvl2pPr>
            <a:lvl3pPr marL="539750" indent="-177800" algn="l" defTabSz="914400" rtl="0" eaLnBrk="1" latinLnBrk="0" hangingPunct="1">
              <a:lnSpc>
                <a:spcPct val="120000"/>
              </a:lnSpc>
              <a:spcBef>
                <a:spcPts val="500"/>
              </a:spcBef>
              <a:buClr>
                <a:schemeClr val="tx2"/>
              </a:buClr>
              <a:buSzPct val="80000"/>
              <a:buFont typeface="Wingdings" panose="05000000000000000000" pitchFamily="2" charset="2"/>
              <a:buChar char=""/>
              <a:defRPr sz="1600" kern="1200">
                <a:solidFill>
                  <a:schemeClr val="accent5"/>
                </a:solidFill>
                <a:latin typeface="+mn-lt"/>
                <a:ea typeface="+mn-ea"/>
                <a:cs typeface="+mn-cs"/>
              </a:defRPr>
            </a:lvl3pPr>
            <a:lvl4pPr marL="717550" indent="-177800" algn="l" defTabSz="914400" rtl="0" eaLnBrk="1" latinLnBrk="0" hangingPunct="1">
              <a:lnSpc>
                <a:spcPct val="120000"/>
              </a:lnSpc>
              <a:spcBef>
                <a:spcPts val="500"/>
              </a:spcBef>
              <a:buClr>
                <a:schemeClr val="tx2"/>
              </a:buClr>
              <a:buSzPct val="80000"/>
              <a:buFont typeface="Wingdings" panose="05000000000000000000" pitchFamily="2" charset="2"/>
              <a:buChar char=""/>
              <a:defRPr sz="1400" kern="1200">
                <a:solidFill>
                  <a:schemeClr val="accent5"/>
                </a:solidFill>
                <a:latin typeface="+mn-lt"/>
                <a:ea typeface="+mn-ea"/>
                <a:cs typeface="+mn-cs"/>
              </a:defRPr>
            </a:lvl4pPr>
            <a:lvl5pPr marL="895350" indent="-177800" algn="l" defTabSz="914400" rtl="0" eaLnBrk="1" latinLnBrk="0" hangingPunct="1">
              <a:lnSpc>
                <a:spcPct val="120000"/>
              </a:lnSpc>
              <a:spcBef>
                <a:spcPts val="500"/>
              </a:spcBef>
              <a:buClr>
                <a:schemeClr val="tx2"/>
              </a:buClr>
              <a:buSzPct val="80000"/>
              <a:buFont typeface="Wingdings" panose="05000000000000000000" pitchFamily="2" charset="2"/>
              <a:buChar char=""/>
              <a:defRPr sz="1200" kern="1200">
                <a:solidFill>
                  <a:schemeClr val="accent5"/>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t">
              <a:buClrTx/>
              <a:buNone/>
            </a:pPr>
            <a:r>
              <a:rPr lang="de-DE" b="1" dirty="0">
                <a:solidFill>
                  <a:schemeClr val="tx1"/>
                </a:solidFill>
              </a:rPr>
              <a:t>Technologiefelder:</a:t>
            </a:r>
          </a:p>
          <a:p>
            <a:pPr marL="358775" indent="-358775" fontAlgn="t">
              <a:buClrTx/>
              <a:buFont typeface="Symbol" panose="05050102010706020507" pitchFamily="18" charset="2"/>
              <a:buChar char="-"/>
            </a:pPr>
            <a:r>
              <a:rPr lang="de-DE" dirty="0">
                <a:solidFill>
                  <a:schemeClr val="tx1"/>
                </a:solidFill>
              </a:rPr>
              <a:t>KI-Chips und -Acceleratoren</a:t>
            </a:r>
          </a:p>
          <a:p>
            <a:pPr marL="358775" indent="-358775" fontAlgn="t">
              <a:buClrTx/>
              <a:buFont typeface="Symbol" panose="05050102010706020507" pitchFamily="18" charset="2"/>
              <a:buChar char="-"/>
            </a:pPr>
            <a:r>
              <a:rPr lang="de-DE" dirty="0">
                <a:solidFill>
                  <a:schemeClr val="tx1"/>
                </a:solidFill>
              </a:rPr>
              <a:t>Chiplets und Heterointegration</a:t>
            </a:r>
          </a:p>
          <a:p>
            <a:pPr marL="358775" indent="-358775" fontAlgn="t">
              <a:buClrTx/>
              <a:buFont typeface="Symbol" panose="05050102010706020507" pitchFamily="18" charset="2"/>
              <a:buChar char="-"/>
            </a:pPr>
            <a:r>
              <a:rPr lang="de-DE" dirty="0">
                <a:solidFill>
                  <a:schemeClr val="tx1"/>
                </a:solidFill>
              </a:rPr>
              <a:t>Siliziumphotonik</a:t>
            </a:r>
          </a:p>
          <a:p>
            <a:pPr marL="358775" indent="-358775" fontAlgn="t">
              <a:buClrTx/>
              <a:buFont typeface="Symbol" panose="05050102010706020507" pitchFamily="18" charset="2"/>
              <a:buChar char="-"/>
            </a:pPr>
            <a:r>
              <a:rPr lang="de-DE" dirty="0">
                <a:solidFill>
                  <a:schemeClr val="tx1"/>
                </a:solidFill>
              </a:rPr>
              <a:t>Sensoren (z. B. Quanten-, Bio-, Photonische Sensoren)</a:t>
            </a:r>
          </a:p>
          <a:p>
            <a:pPr marL="358775" indent="-358775" fontAlgn="t">
              <a:buClrTx/>
              <a:buFont typeface="Symbol" panose="05050102010706020507" pitchFamily="18" charset="2"/>
              <a:buChar char="-"/>
            </a:pPr>
            <a:r>
              <a:rPr lang="de-DE" dirty="0">
                <a:solidFill>
                  <a:schemeClr val="tx1"/>
                </a:solidFill>
              </a:rPr>
              <a:t>Ultra Wide </a:t>
            </a:r>
            <a:r>
              <a:rPr lang="de-DE" dirty="0" err="1">
                <a:solidFill>
                  <a:schemeClr val="tx1"/>
                </a:solidFill>
              </a:rPr>
              <a:t>Bandgap</a:t>
            </a:r>
            <a:r>
              <a:rPr lang="de-DE" dirty="0">
                <a:solidFill>
                  <a:schemeClr val="tx1"/>
                </a:solidFill>
              </a:rPr>
              <a:t>-basierte Leistungselektronik</a:t>
            </a:r>
          </a:p>
          <a:p>
            <a:pPr marL="358775" indent="-358775" fontAlgn="t">
              <a:buClrTx/>
              <a:buFont typeface="Symbol" panose="05050102010706020507" pitchFamily="18" charset="2"/>
              <a:buChar char="-"/>
            </a:pPr>
            <a:r>
              <a:rPr lang="de-DE" dirty="0">
                <a:solidFill>
                  <a:schemeClr val="tx1"/>
                </a:solidFill>
              </a:rPr>
              <a:t>Sichere Kommunikation</a:t>
            </a:r>
          </a:p>
          <a:p>
            <a:pPr marL="0" indent="0" fontAlgn="t">
              <a:spcBef>
                <a:spcPts val="1800"/>
              </a:spcBef>
              <a:buClrTx/>
              <a:buNone/>
            </a:pPr>
            <a:r>
              <a:rPr lang="de-DE" b="1" dirty="0">
                <a:solidFill>
                  <a:schemeClr val="tx1"/>
                </a:solidFill>
              </a:rPr>
              <a:t>Querschnittstechnologien </a:t>
            </a:r>
            <a:r>
              <a:rPr lang="de-DE" dirty="0">
                <a:solidFill>
                  <a:schemeClr val="tx1"/>
                </a:solidFill>
              </a:rPr>
              <a:t>als „Enabler“: EDA, Front- &amp; Back-End-Prozesse, Advanced Packaging, Produktions- und Metrologieanlagen, Materialien, Rohwaferherstellung</a:t>
            </a:r>
          </a:p>
        </p:txBody>
      </p:sp>
      <p:sp>
        <p:nvSpPr>
          <p:cNvPr id="6" name="Titel 4">
            <a:extLst>
              <a:ext uri="{FF2B5EF4-FFF2-40B4-BE49-F238E27FC236}">
                <a16:creationId xmlns:a16="http://schemas.microsoft.com/office/drawing/2014/main" id="{F087769D-B13F-437C-9D3F-E493F40CA09A}"/>
              </a:ext>
            </a:extLst>
          </p:cNvPr>
          <p:cNvSpPr txBox="1">
            <a:spLocks/>
          </p:cNvSpPr>
          <p:nvPr/>
        </p:nvSpPr>
        <p:spPr>
          <a:xfrm>
            <a:off x="900000" y="720000"/>
            <a:ext cx="10883016" cy="571344"/>
          </a:xfrm>
          <a:prstGeom prst="rect">
            <a:avLst/>
          </a:prstGeom>
        </p:spPr>
        <p:txBody>
          <a:bodyPr vert="horz" lIns="0" tIns="0" rIns="108000" bIns="0" rtlCol="0" anchor="t">
            <a:noAutofit/>
          </a:bodyPr>
          <a:lstStyle>
            <a:lvl1pPr algn="l" defTabSz="914400" rtl="0" eaLnBrk="1" latinLnBrk="0" hangingPunct="1">
              <a:lnSpc>
                <a:spcPct val="100000"/>
              </a:lnSpc>
              <a:spcBef>
                <a:spcPct val="0"/>
              </a:spcBef>
              <a:buNone/>
              <a:defRPr sz="3000" kern="1200" cap="all" baseline="0">
                <a:solidFill>
                  <a:schemeClr val="tx2"/>
                </a:solidFill>
                <a:latin typeface="+mj-lt"/>
                <a:ea typeface="+mj-ea"/>
                <a:cs typeface="+mj-cs"/>
              </a:defRPr>
            </a:lvl1pPr>
          </a:lstStyle>
          <a:p>
            <a:r>
              <a:rPr lang="de-DE" dirty="0"/>
              <a:t>IPCEI AST | Technologien</a:t>
            </a:r>
            <a:endParaRPr lang="en-US" dirty="0"/>
          </a:p>
        </p:txBody>
      </p:sp>
      <p:grpSp>
        <p:nvGrpSpPr>
          <p:cNvPr id="10" name="Group 166">
            <a:extLst>
              <a:ext uri="{FF2B5EF4-FFF2-40B4-BE49-F238E27FC236}">
                <a16:creationId xmlns:a16="http://schemas.microsoft.com/office/drawing/2014/main" id="{1BD7C47F-BCF9-43B7-963A-7E15ADDC12AE}"/>
              </a:ext>
            </a:extLst>
          </p:cNvPr>
          <p:cNvGrpSpPr>
            <a:grpSpLocks noChangeAspect="1"/>
          </p:cNvGrpSpPr>
          <p:nvPr/>
        </p:nvGrpSpPr>
        <p:grpSpPr bwMode="auto">
          <a:xfrm>
            <a:off x="10829450" y="5457293"/>
            <a:ext cx="927832" cy="1021735"/>
            <a:chOff x="6698" y="3673"/>
            <a:chExt cx="415" cy="457"/>
          </a:xfrm>
          <a:solidFill>
            <a:schemeClr val="bg2"/>
          </a:solidFill>
        </p:grpSpPr>
        <p:sp>
          <p:nvSpPr>
            <p:cNvPr id="11" name="Freeform 167">
              <a:extLst>
                <a:ext uri="{FF2B5EF4-FFF2-40B4-BE49-F238E27FC236}">
                  <a16:creationId xmlns:a16="http://schemas.microsoft.com/office/drawing/2014/main" id="{B474FEA7-267A-4565-BD29-BE1D199D5816}"/>
                </a:ext>
              </a:extLst>
            </p:cNvPr>
            <p:cNvSpPr>
              <a:spLocks/>
            </p:cNvSpPr>
            <p:nvPr/>
          </p:nvSpPr>
          <p:spPr bwMode="auto">
            <a:xfrm>
              <a:off x="6866" y="3957"/>
              <a:ext cx="88" cy="165"/>
            </a:xfrm>
            <a:custGeom>
              <a:avLst/>
              <a:gdLst>
                <a:gd name="T0" fmla="*/ 12 w 110"/>
                <a:gd name="T1" fmla="*/ 208 h 208"/>
                <a:gd name="T2" fmla="*/ 0 w 110"/>
                <a:gd name="T3" fmla="*/ 208 h 208"/>
                <a:gd name="T4" fmla="*/ 0 w 110"/>
                <a:gd name="T5" fmla="*/ 129 h 208"/>
                <a:gd name="T6" fmla="*/ 9 w 110"/>
                <a:gd name="T7" fmla="*/ 113 h 208"/>
                <a:gd name="T8" fmla="*/ 34 w 110"/>
                <a:gd name="T9" fmla="*/ 111 h 208"/>
                <a:gd name="T10" fmla="*/ 37 w 110"/>
                <a:gd name="T11" fmla="*/ 112 h 208"/>
                <a:gd name="T12" fmla="*/ 38 w 110"/>
                <a:gd name="T13" fmla="*/ 115 h 208"/>
                <a:gd name="T14" fmla="*/ 66 w 110"/>
                <a:gd name="T15" fmla="*/ 133 h 208"/>
                <a:gd name="T16" fmla="*/ 98 w 110"/>
                <a:gd name="T17" fmla="*/ 102 h 208"/>
                <a:gd name="T18" fmla="*/ 66 w 110"/>
                <a:gd name="T19" fmla="*/ 70 h 208"/>
                <a:gd name="T20" fmla="*/ 38 w 110"/>
                <a:gd name="T21" fmla="*/ 88 h 208"/>
                <a:gd name="T22" fmla="*/ 37 w 110"/>
                <a:gd name="T23" fmla="*/ 90 h 208"/>
                <a:gd name="T24" fmla="*/ 35 w 110"/>
                <a:gd name="T25" fmla="*/ 91 h 208"/>
                <a:gd name="T26" fmla="*/ 10 w 110"/>
                <a:gd name="T27" fmla="*/ 91 h 208"/>
                <a:gd name="T28" fmla="*/ 0 w 110"/>
                <a:gd name="T29" fmla="*/ 76 h 208"/>
                <a:gd name="T30" fmla="*/ 0 w 110"/>
                <a:gd name="T31" fmla="*/ 75 h 208"/>
                <a:gd name="T32" fmla="*/ 0 w 110"/>
                <a:gd name="T33" fmla="*/ 0 h 208"/>
                <a:gd name="T34" fmla="*/ 12 w 110"/>
                <a:gd name="T35" fmla="*/ 0 h 208"/>
                <a:gd name="T36" fmla="*/ 12 w 110"/>
                <a:gd name="T37" fmla="*/ 74 h 208"/>
                <a:gd name="T38" fmla="*/ 16 w 110"/>
                <a:gd name="T39" fmla="*/ 81 h 208"/>
                <a:gd name="T40" fmla="*/ 28 w 110"/>
                <a:gd name="T41" fmla="*/ 81 h 208"/>
                <a:gd name="T42" fmla="*/ 66 w 110"/>
                <a:gd name="T43" fmla="*/ 58 h 208"/>
                <a:gd name="T44" fmla="*/ 110 w 110"/>
                <a:gd name="T45" fmla="*/ 102 h 208"/>
                <a:gd name="T46" fmla="*/ 66 w 110"/>
                <a:gd name="T47" fmla="*/ 145 h 208"/>
                <a:gd name="T48" fmla="*/ 28 w 110"/>
                <a:gd name="T49" fmla="*/ 122 h 208"/>
                <a:gd name="T50" fmla="*/ 16 w 110"/>
                <a:gd name="T51" fmla="*/ 123 h 208"/>
                <a:gd name="T52" fmla="*/ 12 w 110"/>
                <a:gd name="T53" fmla="*/ 130 h 208"/>
                <a:gd name="T54" fmla="*/ 12 w 110"/>
                <a:gd name="T55"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0" h="208">
                  <a:moveTo>
                    <a:pt x="12" y="208"/>
                  </a:moveTo>
                  <a:cubicBezTo>
                    <a:pt x="0" y="208"/>
                    <a:pt x="0" y="208"/>
                    <a:pt x="0" y="208"/>
                  </a:cubicBezTo>
                  <a:cubicBezTo>
                    <a:pt x="0" y="129"/>
                    <a:pt x="0" y="129"/>
                    <a:pt x="0" y="129"/>
                  </a:cubicBezTo>
                  <a:cubicBezTo>
                    <a:pt x="1" y="120"/>
                    <a:pt x="6" y="115"/>
                    <a:pt x="9" y="113"/>
                  </a:cubicBezTo>
                  <a:cubicBezTo>
                    <a:pt x="19" y="107"/>
                    <a:pt x="33" y="111"/>
                    <a:pt x="34" y="111"/>
                  </a:cubicBezTo>
                  <a:cubicBezTo>
                    <a:pt x="37" y="112"/>
                    <a:pt x="37" y="112"/>
                    <a:pt x="37" y="112"/>
                  </a:cubicBezTo>
                  <a:cubicBezTo>
                    <a:pt x="38" y="115"/>
                    <a:pt x="38" y="115"/>
                    <a:pt x="38" y="115"/>
                  </a:cubicBezTo>
                  <a:cubicBezTo>
                    <a:pt x="43" y="126"/>
                    <a:pt x="54" y="133"/>
                    <a:pt x="66" y="133"/>
                  </a:cubicBezTo>
                  <a:cubicBezTo>
                    <a:pt x="84" y="133"/>
                    <a:pt x="98" y="119"/>
                    <a:pt x="98" y="102"/>
                  </a:cubicBezTo>
                  <a:cubicBezTo>
                    <a:pt x="98" y="84"/>
                    <a:pt x="84" y="70"/>
                    <a:pt x="66" y="70"/>
                  </a:cubicBezTo>
                  <a:cubicBezTo>
                    <a:pt x="54" y="70"/>
                    <a:pt x="43" y="77"/>
                    <a:pt x="38" y="88"/>
                  </a:cubicBezTo>
                  <a:cubicBezTo>
                    <a:pt x="37" y="90"/>
                    <a:pt x="37" y="90"/>
                    <a:pt x="37" y="90"/>
                  </a:cubicBezTo>
                  <a:cubicBezTo>
                    <a:pt x="35" y="91"/>
                    <a:pt x="35" y="91"/>
                    <a:pt x="35" y="91"/>
                  </a:cubicBezTo>
                  <a:cubicBezTo>
                    <a:pt x="33" y="92"/>
                    <a:pt x="20" y="97"/>
                    <a:pt x="10" y="91"/>
                  </a:cubicBezTo>
                  <a:cubicBezTo>
                    <a:pt x="6" y="89"/>
                    <a:pt x="2" y="85"/>
                    <a:pt x="0" y="76"/>
                  </a:cubicBezTo>
                  <a:cubicBezTo>
                    <a:pt x="0" y="75"/>
                    <a:pt x="0" y="75"/>
                    <a:pt x="0" y="75"/>
                  </a:cubicBezTo>
                  <a:cubicBezTo>
                    <a:pt x="0" y="0"/>
                    <a:pt x="0" y="0"/>
                    <a:pt x="0" y="0"/>
                  </a:cubicBezTo>
                  <a:cubicBezTo>
                    <a:pt x="12" y="0"/>
                    <a:pt x="12" y="0"/>
                    <a:pt x="12" y="0"/>
                  </a:cubicBezTo>
                  <a:cubicBezTo>
                    <a:pt x="12" y="74"/>
                    <a:pt x="12" y="74"/>
                    <a:pt x="12" y="74"/>
                  </a:cubicBezTo>
                  <a:cubicBezTo>
                    <a:pt x="13" y="79"/>
                    <a:pt x="15" y="81"/>
                    <a:pt x="16" y="81"/>
                  </a:cubicBezTo>
                  <a:cubicBezTo>
                    <a:pt x="19" y="83"/>
                    <a:pt x="25" y="82"/>
                    <a:pt x="28" y="81"/>
                  </a:cubicBezTo>
                  <a:cubicBezTo>
                    <a:pt x="36" y="67"/>
                    <a:pt x="51" y="58"/>
                    <a:pt x="66" y="58"/>
                  </a:cubicBezTo>
                  <a:cubicBezTo>
                    <a:pt x="90" y="58"/>
                    <a:pt x="110" y="78"/>
                    <a:pt x="110" y="102"/>
                  </a:cubicBezTo>
                  <a:cubicBezTo>
                    <a:pt x="110" y="125"/>
                    <a:pt x="90" y="145"/>
                    <a:pt x="66" y="145"/>
                  </a:cubicBezTo>
                  <a:cubicBezTo>
                    <a:pt x="51" y="145"/>
                    <a:pt x="36" y="136"/>
                    <a:pt x="28" y="122"/>
                  </a:cubicBezTo>
                  <a:cubicBezTo>
                    <a:pt x="25" y="121"/>
                    <a:pt x="19" y="121"/>
                    <a:pt x="16" y="123"/>
                  </a:cubicBezTo>
                  <a:cubicBezTo>
                    <a:pt x="15" y="124"/>
                    <a:pt x="13" y="125"/>
                    <a:pt x="12" y="130"/>
                  </a:cubicBezTo>
                  <a:lnTo>
                    <a:pt x="12" y="208"/>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 name="Freeform 168">
              <a:extLst>
                <a:ext uri="{FF2B5EF4-FFF2-40B4-BE49-F238E27FC236}">
                  <a16:creationId xmlns:a16="http://schemas.microsoft.com/office/drawing/2014/main" id="{A5BBBB85-65F3-4838-8992-06581CA4F341}"/>
                </a:ext>
              </a:extLst>
            </p:cNvPr>
            <p:cNvSpPr>
              <a:spLocks noEditPoints="1"/>
            </p:cNvSpPr>
            <p:nvPr/>
          </p:nvSpPr>
          <p:spPr bwMode="auto">
            <a:xfrm>
              <a:off x="6698" y="3786"/>
              <a:ext cx="346" cy="344"/>
            </a:xfrm>
            <a:custGeom>
              <a:avLst/>
              <a:gdLst>
                <a:gd name="T0" fmla="*/ 49 w 434"/>
                <a:gd name="T1" fmla="*/ 433 h 433"/>
                <a:gd name="T2" fmla="*/ 0 w 434"/>
                <a:gd name="T3" fmla="*/ 49 h 433"/>
                <a:gd name="T4" fmla="*/ 223 w 434"/>
                <a:gd name="T5" fmla="*/ 0 h 433"/>
                <a:gd name="T6" fmla="*/ 213 w 434"/>
                <a:gd name="T7" fmla="*/ 99 h 433"/>
                <a:gd name="T8" fmla="*/ 186 w 434"/>
                <a:gd name="T9" fmla="*/ 98 h 433"/>
                <a:gd name="T10" fmla="*/ 157 w 434"/>
                <a:gd name="T11" fmla="*/ 77 h 433"/>
                <a:gd name="T12" fmla="*/ 157 w 434"/>
                <a:gd name="T13" fmla="*/ 140 h 433"/>
                <a:gd name="T14" fmla="*/ 186 w 434"/>
                <a:gd name="T15" fmla="*/ 120 h 433"/>
                <a:gd name="T16" fmla="*/ 214 w 434"/>
                <a:gd name="T17" fmla="*/ 120 h 433"/>
                <a:gd name="T18" fmla="*/ 223 w 434"/>
                <a:gd name="T19" fmla="*/ 137 h 433"/>
                <a:gd name="T20" fmla="*/ 295 w 434"/>
                <a:gd name="T21" fmla="*/ 209 h 433"/>
                <a:gd name="T22" fmla="*/ 303 w 434"/>
                <a:gd name="T23" fmla="*/ 193 h 433"/>
                <a:gd name="T24" fmla="*/ 323 w 434"/>
                <a:gd name="T25" fmla="*/ 111 h 433"/>
                <a:gd name="T26" fmla="*/ 344 w 434"/>
                <a:gd name="T27" fmla="*/ 193 h 433"/>
                <a:gd name="T28" fmla="*/ 351 w 434"/>
                <a:gd name="T29" fmla="*/ 209 h 433"/>
                <a:gd name="T30" fmla="*/ 434 w 434"/>
                <a:gd name="T31" fmla="*/ 384 h 433"/>
                <a:gd name="T32" fmla="*/ 49 w 434"/>
                <a:gd name="T33" fmla="*/ 12 h 433"/>
                <a:gd name="T34" fmla="*/ 12 w 434"/>
                <a:gd name="T35" fmla="*/ 384 h 433"/>
                <a:gd name="T36" fmla="*/ 385 w 434"/>
                <a:gd name="T37" fmla="*/ 421 h 433"/>
                <a:gd name="T38" fmla="*/ 422 w 434"/>
                <a:gd name="T39" fmla="*/ 221 h 433"/>
                <a:gd name="T40" fmla="*/ 334 w 434"/>
                <a:gd name="T41" fmla="*/ 211 h 433"/>
                <a:gd name="T42" fmla="*/ 335 w 434"/>
                <a:gd name="T43" fmla="*/ 184 h 433"/>
                <a:gd name="T44" fmla="*/ 355 w 434"/>
                <a:gd name="T45" fmla="*/ 155 h 433"/>
                <a:gd name="T46" fmla="*/ 292 w 434"/>
                <a:gd name="T47" fmla="*/ 155 h 433"/>
                <a:gd name="T48" fmla="*/ 313 w 434"/>
                <a:gd name="T49" fmla="*/ 184 h 433"/>
                <a:gd name="T50" fmla="*/ 312 w 434"/>
                <a:gd name="T51" fmla="*/ 212 h 433"/>
                <a:gd name="T52" fmla="*/ 295 w 434"/>
                <a:gd name="T53" fmla="*/ 221 h 433"/>
                <a:gd name="T54" fmla="*/ 211 w 434"/>
                <a:gd name="T55" fmla="*/ 137 h 433"/>
                <a:gd name="T56" fmla="*/ 195 w 434"/>
                <a:gd name="T57" fmla="*/ 130 h 433"/>
                <a:gd name="T58" fmla="*/ 113 w 434"/>
                <a:gd name="T59" fmla="*/ 109 h 433"/>
                <a:gd name="T60" fmla="*/ 195 w 434"/>
                <a:gd name="T61" fmla="*/ 88 h 433"/>
                <a:gd name="T62" fmla="*/ 211 w 434"/>
                <a:gd name="T63" fmla="*/ 82 h 433"/>
                <a:gd name="T64" fmla="*/ 49 w 434"/>
                <a:gd name="T65" fmla="*/ 12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4" h="433">
                  <a:moveTo>
                    <a:pt x="385" y="433"/>
                  </a:moveTo>
                  <a:cubicBezTo>
                    <a:pt x="49" y="433"/>
                    <a:pt x="49" y="433"/>
                    <a:pt x="49" y="433"/>
                  </a:cubicBezTo>
                  <a:cubicBezTo>
                    <a:pt x="22" y="433"/>
                    <a:pt x="0" y="411"/>
                    <a:pt x="0" y="384"/>
                  </a:cubicBezTo>
                  <a:cubicBezTo>
                    <a:pt x="0" y="49"/>
                    <a:pt x="0" y="49"/>
                    <a:pt x="0" y="49"/>
                  </a:cubicBezTo>
                  <a:cubicBezTo>
                    <a:pt x="0" y="22"/>
                    <a:pt x="22" y="0"/>
                    <a:pt x="49" y="0"/>
                  </a:cubicBezTo>
                  <a:cubicBezTo>
                    <a:pt x="223" y="0"/>
                    <a:pt x="223" y="0"/>
                    <a:pt x="223" y="0"/>
                  </a:cubicBezTo>
                  <a:cubicBezTo>
                    <a:pt x="223" y="83"/>
                    <a:pt x="223" y="83"/>
                    <a:pt x="223" y="83"/>
                  </a:cubicBezTo>
                  <a:cubicBezTo>
                    <a:pt x="222" y="92"/>
                    <a:pt x="217" y="97"/>
                    <a:pt x="213" y="99"/>
                  </a:cubicBezTo>
                  <a:cubicBezTo>
                    <a:pt x="203" y="104"/>
                    <a:pt x="190" y="99"/>
                    <a:pt x="188" y="99"/>
                  </a:cubicBezTo>
                  <a:cubicBezTo>
                    <a:pt x="186" y="98"/>
                    <a:pt x="186" y="98"/>
                    <a:pt x="186" y="98"/>
                  </a:cubicBezTo>
                  <a:cubicBezTo>
                    <a:pt x="185" y="96"/>
                    <a:pt x="185" y="96"/>
                    <a:pt x="185" y="96"/>
                  </a:cubicBezTo>
                  <a:cubicBezTo>
                    <a:pt x="180" y="85"/>
                    <a:pt x="169" y="77"/>
                    <a:pt x="157" y="77"/>
                  </a:cubicBezTo>
                  <a:cubicBezTo>
                    <a:pt x="140" y="77"/>
                    <a:pt x="125" y="92"/>
                    <a:pt x="125" y="109"/>
                  </a:cubicBezTo>
                  <a:cubicBezTo>
                    <a:pt x="125" y="126"/>
                    <a:pt x="140" y="140"/>
                    <a:pt x="157" y="140"/>
                  </a:cubicBezTo>
                  <a:cubicBezTo>
                    <a:pt x="169" y="140"/>
                    <a:pt x="180" y="133"/>
                    <a:pt x="185" y="122"/>
                  </a:cubicBezTo>
                  <a:cubicBezTo>
                    <a:pt x="186" y="120"/>
                    <a:pt x="186" y="120"/>
                    <a:pt x="186" y="120"/>
                  </a:cubicBezTo>
                  <a:cubicBezTo>
                    <a:pt x="189" y="119"/>
                    <a:pt x="189" y="119"/>
                    <a:pt x="189" y="119"/>
                  </a:cubicBezTo>
                  <a:cubicBezTo>
                    <a:pt x="190" y="118"/>
                    <a:pt x="204" y="114"/>
                    <a:pt x="214" y="120"/>
                  </a:cubicBezTo>
                  <a:cubicBezTo>
                    <a:pt x="218" y="123"/>
                    <a:pt x="222" y="127"/>
                    <a:pt x="223" y="136"/>
                  </a:cubicBezTo>
                  <a:cubicBezTo>
                    <a:pt x="223" y="137"/>
                    <a:pt x="223" y="137"/>
                    <a:pt x="223" y="137"/>
                  </a:cubicBezTo>
                  <a:cubicBezTo>
                    <a:pt x="223" y="209"/>
                    <a:pt x="223" y="209"/>
                    <a:pt x="223" y="209"/>
                  </a:cubicBezTo>
                  <a:cubicBezTo>
                    <a:pt x="295" y="209"/>
                    <a:pt x="295" y="209"/>
                    <a:pt x="295" y="209"/>
                  </a:cubicBezTo>
                  <a:cubicBezTo>
                    <a:pt x="300" y="209"/>
                    <a:pt x="301" y="206"/>
                    <a:pt x="302" y="206"/>
                  </a:cubicBezTo>
                  <a:cubicBezTo>
                    <a:pt x="304" y="202"/>
                    <a:pt x="304" y="196"/>
                    <a:pt x="303" y="193"/>
                  </a:cubicBezTo>
                  <a:cubicBezTo>
                    <a:pt x="289" y="185"/>
                    <a:pt x="280" y="171"/>
                    <a:pt x="280" y="155"/>
                  </a:cubicBezTo>
                  <a:cubicBezTo>
                    <a:pt x="280" y="131"/>
                    <a:pt x="300" y="111"/>
                    <a:pt x="323" y="111"/>
                  </a:cubicBezTo>
                  <a:cubicBezTo>
                    <a:pt x="347" y="111"/>
                    <a:pt x="367" y="131"/>
                    <a:pt x="367" y="155"/>
                  </a:cubicBezTo>
                  <a:cubicBezTo>
                    <a:pt x="367" y="171"/>
                    <a:pt x="358" y="185"/>
                    <a:pt x="344" y="193"/>
                  </a:cubicBezTo>
                  <a:cubicBezTo>
                    <a:pt x="343" y="196"/>
                    <a:pt x="342" y="202"/>
                    <a:pt x="344" y="205"/>
                  </a:cubicBezTo>
                  <a:cubicBezTo>
                    <a:pt x="344" y="206"/>
                    <a:pt x="346" y="208"/>
                    <a:pt x="351" y="209"/>
                  </a:cubicBezTo>
                  <a:cubicBezTo>
                    <a:pt x="434" y="209"/>
                    <a:pt x="434" y="209"/>
                    <a:pt x="434" y="209"/>
                  </a:cubicBezTo>
                  <a:cubicBezTo>
                    <a:pt x="434" y="384"/>
                    <a:pt x="434" y="384"/>
                    <a:pt x="434" y="384"/>
                  </a:cubicBezTo>
                  <a:cubicBezTo>
                    <a:pt x="434" y="411"/>
                    <a:pt x="412" y="433"/>
                    <a:pt x="385" y="433"/>
                  </a:cubicBezTo>
                  <a:close/>
                  <a:moveTo>
                    <a:pt x="49" y="12"/>
                  </a:moveTo>
                  <a:cubicBezTo>
                    <a:pt x="29" y="12"/>
                    <a:pt x="12" y="28"/>
                    <a:pt x="12" y="49"/>
                  </a:cubicBezTo>
                  <a:cubicBezTo>
                    <a:pt x="12" y="384"/>
                    <a:pt x="12" y="384"/>
                    <a:pt x="12" y="384"/>
                  </a:cubicBezTo>
                  <a:cubicBezTo>
                    <a:pt x="12" y="405"/>
                    <a:pt x="29" y="421"/>
                    <a:pt x="49" y="421"/>
                  </a:cubicBezTo>
                  <a:cubicBezTo>
                    <a:pt x="385" y="421"/>
                    <a:pt x="385" y="421"/>
                    <a:pt x="385" y="421"/>
                  </a:cubicBezTo>
                  <a:cubicBezTo>
                    <a:pt x="405" y="421"/>
                    <a:pt x="422" y="405"/>
                    <a:pt x="422" y="384"/>
                  </a:cubicBezTo>
                  <a:cubicBezTo>
                    <a:pt x="422" y="221"/>
                    <a:pt x="422" y="221"/>
                    <a:pt x="422" y="221"/>
                  </a:cubicBezTo>
                  <a:cubicBezTo>
                    <a:pt x="349" y="221"/>
                    <a:pt x="349" y="221"/>
                    <a:pt x="349" y="221"/>
                  </a:cubicBezTo>
                  <a:cubicBezTo>
                    <a:pt x="340" y="220"/>
                    <a:pt x="336" y="215"/>
                    <a:pt x="334" y="211"/>
                  </a:cubicBezTo>
                  <a:cubicBezTo>
                    <a:pt x="328" y="201"/>
                    <a:pt x="333" y="188"/>
                    <a:pt x="334" y="186"/>
                  </a:cubicBezTo>
                  <a:cubicBezTo>
                    <a:pt x="335" y="184"/>
                    <a:pt x="335" y="184"/>
                    <a:pt x="335" y="184"/>
                  </a:cubicBezTo>
                  <a:cubicBezTo>
                    <a:pt x="337" y="183"/>
                    <a:pt x="337" y="183"/>
                    <a:pt x="337" y="183"/>
                  </a:cubicBezTo>
                  <a:cubicBezTo>
                    <a:pt x="348" y="178"/>
                    <a:pt x="355" y="167"/>
                    <a:pt x="355" y="155"/>
                  </a:cubicBezTo>
                  <a:cubicBezTo>
                    <a:pt x="355" y="138"/>
                    <a:pt x="341" y="123"/>
                    <a:pt x="323" y="123"/>
                  </a:cubicBezTo>
                  <a:cubicBezTo>
                    <a:pt x="306" y="123"/>
                    <a:pt x="292" y="138"/>
                    <a:pt x="292" y="155"/>
                  </a:cubicBezTo>
                  <a:cubicBezTo>
                    <a:pt x="292" y="167"/>
                    <a:pt x="299" y="178"/>
                    <a:pt x="310" y="183"/>
                  </a:cubicBezTo>
                  <a:cubicBezTo>
                    <a:pt x="313" y="184"/>
                    <a:pt x="313" y="184"/>
                    <a:pt x="313" y="184"/>
                  </a:cubicBezTo>
                  <a:cubicBezTo>
                    <a:pt x="314" y="187"/>
                    <a:pt x="314" y="187"/>
                    <a:pt x="314" y="187"/>
                  </a:cubicBezTo>
                  <a:cubicBezTo>
                    <a:pt x="314" y="188"/>
                    <a:pt x="318" y="202"/>
                    <a:pt x="312" y="212"/>
                  </a:cubicBezTo>
                  <a:cubicBezTo>
                    <a:pt x="310" y="216"/>
                    <a:pt x="305" y="220"/>
                    <a:pt x="296" y="221"/>
                  </a:cubicBezTo>
                  <a:cubicBezTo>
                    <a:pt x="295" y="221"/>
                    <a:pt x="295" y="221"/>
                    <a:pt x="295" y="221"/>
                  </a:cubicBezTo>
                  <a:cubicBezTo>
                    <a:pt x="211" y="221"/>
                    <a:pt x="211" y="221"/>
                    <a:pt x="211" y="221"/>
                  </a:cubicBezTo>
                  <a:cubicBezTo>
                    <a:pt x="211" y="137"/>
                    <a:pt x="211" y="137"/>
                    <a:pt x="211" y="137"/>
                  </a:cubicBezTo>
                  <a:cubicBezTo>
                    <a:pt x="211" y="132"/>
                    <a:pt x="208" y="131"/>
                    <a:pt x="208" y="130"/>
                  </a:cubicBezTo>
                  <a:cubicBezTo>
                    <a:pt x="204" y="128"/>
                    <a:pt x="198" y="129"/>
                    <a:pt x="195" y="130"/>
                  </a:cubicBezTo>
                  <a:cubicBezTo>
                    <a:pt x="187" y="143"/>
                    <a:pt x="173" y="152"/>
                    <a:pt x="157" y="152"/>
                  </a:cubicBezTo>
                  <a:cubicBezTo>
                    <a:pt x="133" y="152"/>
                    <a:pt x="113" y="133"/>
                    <a:pt x="113" y="109"/>
                  </a:cubicBezTo>
                  <a:cubicBezTo>
                    <a:pt x="113" y="85"/>
                    <a:pt x="133" y="65"/>
                    <a:pt x="157" y="65"/>
                  </a:cubicBezTo>
                  <a:cubicBezTo>
                    <a:pt x="173" y="65"/>
                    <a:pt x="187" y="74"/>
                    <a:pt x="195" y="88"/>
                  </a:cubicBezTo>
                  <a:cubicBezTo>
                    <a:pt x="198" y="89"/>
                    <a:pt x="204" y="90"/>
                    <a:pt x="207" y="88"/>
                  </a:cubicBezTo>
                  <a:cubicBezTo>
                    <a:pt x="208" y="88"/>
                    <a:pt x="210" y="87"/>
                    <a:pt x="211" y="82"/>
                  </a:cubicBezTo>
                  <a:cubicBezTo>
                    <a:pt x="211" y="12"/>
                    <a:pt x="211" y="12"/>
                    <a:pt x="211" y="12"/>
                  </a:cubicBezTo>
                  <a:lnTo>
                    <a:pt x="49" y="12"/>
                  </a:ln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69">
              <a:extLst>
                <a:ext uri="{FF2B5EF4-FFF2-40B4-BE49-F238E27FC236}">
                  <a16:creationId xmlns:a16="http://schemas.microsoft.com/office/drawing/2014/main" id="{B42808F9-2D14-4081-B902-8EF392ED508F}"/>
                </a:ext>
              </a:extLst>
            </p:cNvPr>
            <p:cNvSpPr>
              <a:spLocks/>
            </p:cNvSpPr>
            <p:nvPr/>
          </p:nvSpPr>
          <p:spPr bwMode="auto">
            <a:xfrm>
              <a:off x="6705" y="3952"/>
              <a:ext cx="166" cy="87"/>
            </a:xfrm>
            <a:custGeom>
              <a:avLst/>
              <a:gdLst>
                <a:gd name="T0" fmla="*/ 107 w 208"/>
                <a:gd name="T1" fmla="*/ 110 h 110"/>
                <a:gd name="T2" fmla="*/ 63 w 208"/>
                <a:gd name="T3" fmla="*/ 66 h 110"/>
                <a:gd name="T4" fmla="*/ 86 w 208"/>
                <a:gd name="T5" fmla="*/ 28 h 110"/>
                <a:gd name="T6" fmla="*/ 85 w 208"/>
                <a:gd name="T7" fmla="*/ 16 h 110"/>
                <a:gd name="T8" fmla="*/ 78 w 208"/>
                <a:gd name="T9" fmla="*/ 12 h 110"/>
                <a:gd name="T10" fmla="*/ 0 w 208"/>
                <a:gd name="T11" fmla="*/ 12 h 110"/>
                <a:gd name="T12" fmla="*/ 0 w 208"/>
                <a:gd name="T13" fmla="*/ 0 h 110"/>
                <a:gd name="T14" fmla="*/ 79 w 208"/>
                <a:gd name="T15" fmla="*/ 0 h 110"/>
                <a:gd name="T16" fmla="*/ 95 w 208"/>
                <a:gd name="T17" fmla="*/ 9 h 110"/>
                <a:gd name="T18" fmla="*/ 97 w 208"/>
                <a:gd name="T19" fmla="*/ 34 h 110"/>
                <a:gd name="T20" fmla="*/ 96 w 208"/>
                <a:gd name="T21" fmla="*/ 37 h 110"/>
                <a:gd name="T22" fmla="*/ 94 w 208"/>
                <a:gd name="T23" fmla="*/ 38 h 110"/>
                <a:gd name="T24" fmla="*/ 75 w 208"/>
                <a:gd name="T25" fmla="*/ 66 h 110"/>
                <a:gd name="T26" fmla="*/ 107 w 208"/>
                <a:gd name="T27" fmla="*/ 98 h 110"/>
                <a:gd name="T28" fmla="*/ 138 w 208"/>
                <a:gd name="T29" fmla="*/ 66 h 110"/>
                <a:gd name="T30" fmla="*/ 120 w 208"/>
                <a:gd name="T31" fmla="*/ 38 h 110"/>
                <a:gd name="T32" fmla="*/ 118 w 208"/>
                <a:gd name="T33" fmla="*/ 37 h 110"/>
                <a:gd name="T34" fmla="*/ 117 w 208"/>
                <a:gd name="T35" fmla="*/ 35 h 110"/>
                <a:gd name="T36" fmla="*/ 117 w 208"/>
                <a:gd name="T37" fmla="*/ 10 h 110"/>
                <a:gd name="T38" fmla="*/ 133 w 208"/>
                <a:gd name="T39" fmla="*/ 0 h 110"/>
                <a:gd name="T40" fmla="*/ 134 w 208"/>
                <a:gd name="T41" fmla="*/ 0 h 110"/>
                <a:gd name="T42" fmla="*/ 208 w 208"/>
                <a:gd name="T43" fmla="*/ 0 h 110"/>
                <a:gd name="T44" fmla="*/ 208 w 208"/>
                <a:gd name="T45" fmla="*/ 12 h 110"/>
                <a:gd name="T46" fmla="*/ 134 w 208"/>
                <a:gd name="T47" fmla="*/ 12 h 110"/>
                <a:gd name="T48" fmla="*/ 127 w 208"/>
                <a:gd name="T49" fmla="*/ 16 h 110"/>
                <a:gd name="T50" fmla="*/ 127 w 208"/>
                <a:gd name="T51" fmla="*/ 28 h 110"/>
                <a:gd name="T52" fmla="*/ 150 w 208"/>
                <a:gd name="T53" fmla="*/ 66 h 110"/>
                <a:gd name="T54" fmla="*/ 107 w 208"/>
                <a:gd name="T55"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 h="110">
                  <a:moveTo>
                    <a:pt x="107" y="110"/>
                  </a:moveTo>
                  <a:cubicBezTo>
                    <a:pt x="83" y="110"/>
                    <a:pt x="63" y="90"/>
                    <a:pt x="63" y="66"/>
                  </a:cubicBezTo>
                  <a:cubicBezTo>
                    <a:pt x="63" y="51"/>
                    <a:pt x="72" y="36"/>
                    <a:pt x="86" y="28"/>
                  </a:cubicBezTo>
                  <a:cubicBezTo>
                    <a:pt x="87" y="25"/>
                    <a:pt x="87" y="19"/>
                    <a:pt x="85" y="16"/>
                  </a:cubicBezTo>
                  <a:cubicBezTo>
                    <a:pt x="85" y="15"/>
                    <a:pt x="83" y="13"/>
                    <a:pt x="78" y="12"/>
                  </a:cubicBezTo>
                  <a:cubicBezTo>
                    <a:pt x="0" y="12"/>
                    <a:pt x="0" y="12"/>
                    <a:pt x="0" y="12"/>
                  </a:cubicBezTo>
                  <a:cubicBezTo>
                    <a:pt x="0" y="0"/>
                    <a:pt x="0" y="0"/>
                    <a:pt x="0" y="0"/>
                  </a:cubicBezTo>
                  <a:cubicBezTo>
                    <a:pt x="79" y="0"/>
                    <a:pt x="79" y="0"/>
                    <a:pt x="79" y="0"/>
                  </a:cubicBezTo>
                  <a:cubicBezTo>
                    <a:pt x="88" y="1"/>
                    <a:pt x="93" y="6"/>
                    <a:pt x="95" y="9"/>
                  </a:cubicBezTo>
                  <a:cubicBezTo>
                    <a:pt x="102" y="19"/>
                    <a:pt x="97" y="33"/>
                    <a:pt x="97" y="34"/>
                  </a:cubicBezTo>
                  <a:cubicBezTo>
                    <a:pt x="96" y="37"/>
                    <a:pt x="96" y="37"/>
                    <a:pt x="96" y="37"/>
                  </a:cubicBezTo>
                  <a:cubicBezTo>
                    <a:pt x="94" y="38"/>
                    <a:pt x="94" y="38"/>
                    <a:pt x="94" y="38"/>
                  </a:cubicBezTo>
                  <a:cubicBezTo>
                    <a:pt x="83" y="43"/>
                    <a:pt x="75" y="54"/>
                    <a:pt x="75" y="66"/>
                  </a:cubicBezTo>
                  <a:cubicBezTo>
                    <a:pt x="75" y="84"/>
                    <a:pt x="89" y="98"/>
                    <a:pt x="107" y="98"/>
                  </a:cubicBezTo>
                  <a:cubicBezTo>
                    <a:pt x="124" y="98"/>
                    <a:pt x="138" y="84"/>
                    <a:pt x="138" y="66"/>
                  </a:cubicBezTo>
                  <a:cubicBezTo>
                    <a:pt x="138" y="54"/>
                    <a:pt x="131" y="43"/>
                    <a:pt x="120" y="38"/>
                  </a:cubicBezTo>
                  <a:cubicBezTo>
                    <a:pt x="118" y="37"/>
                    <a:pt x="118" y="37"/>
                    <a:pt x="118" y="37"/>
                  </a:cubicBezTo>
                  <a:cubicBezTo>
                    <a:pt x="117" y="35"/>
                    <a:pt x="117" y="35"/>
                    <a:pt x="117" y="35"/>
                  </a:cubicBezTo>
                  <a:cubicBezTo>
                    <a:pt x="116" y="33"/>
                    <a:pt x="111" y="20"/>
                    <a:pt x="117" y="10"/>
                  </a:cubicBezTo>
                  <a:cubicBezTo>
                    <a:pt x="119" y="6"/>
                    <a:pt x="123" y="2"/>
                    <a:pt x="133" y="0"/>
                  </a:cubicBezTo>
                  <a:cubicBezTo>
                    <a:pt x="134" y="0"/>
                    <a:pt x="134" y="0"/>
                    <a:pt x="134" y="0"/>
                  </a:cubicBezTo>
                  <a:cubicBezTo>
                    <a:pt x="208" y="0"/>
                    <a:pt x="208" y="0"/>
                    <a:pt x="208" y="0"/>
                  </a:cubicBezTo>
                  <a:cubicBezTo>
                    <a:pt x="208" y="12"/>
                    <a:pt x="208" y="12"/>
                    <a:pt x="208" y="12"/>
                  </a:cubicBezTo>
                  <a:cubicBezTo>
                    <a:pt x="134" y="12"/>
                    <a:pt x="134" y="12"/>
                    <a:pt x="134" y="12"/>
                  </a:cubicBezTo>
                  <a:cubicBezTo>
                    <a:pt x="129" y="13"/>
                    <a:pt x="128" y="15"/>
                    <a:pt x="127" y="16"/>
                  </a:cubicBezTo>
                  <a:cubicBezTo>
                    <a:pt x="125" y="19"/>
                    <a:pt x="126" y="25"/>
                    <a:pt x="127" y="28"/>
                  </a:cubicBezTo>
                  <a:cubicBezTo>
                    <a:pt x="141" y="36"/>
                    <a:pt x="150" y="51"/>
                    <a:pt x="150" y="66"/>
                  </a:cubicBezTo>
                  <a:cubicBezTo>
                    <a:pt x="150" y="90"/>
                    <a:pt x="131" y="110"/>
                    <a:pt x="107" y="110"/>
                  </a:cubicBez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70">
              <a:extLst>
                <a:ext uri="{FF2B5EF4-FFF2-40B4-BE49-F238E27FC236}">
                  <a16:creationId xmlns:a16="http://schemas.microsoft.com/office/drawing/2014/main" id="{73F133D6-5910-43A9-85CC-9FA60C6D0C9B}"/>
                </a:ext>
              </a:extLst>
            </p:cNvPr>
            <p:cNvSpPr>
              <a:spLocks noEditPoints="1"/>
            </p:cNvSpPr>
            <p:nvPr/>
          </p:nvSpPr>
          <p:spPr bwMode="auto">
            <a:xfrm>
              <a:off x="6853" y="3673"/>
              <a:ext cx="260" cy="235"/>
            </a:xfrm>
            <a:custGeom>
              <a:avLst/>
              <a:gdLst>
                <a:gd name="T0" fmla="*/ 246 w 327"/>
                <a:gd name="T1" fmla="*/ 296 h 296"/>
                <a:gd name="T2" fmla="*/ 170 w 327"/>
                <a:gd name="T3" fmla="*/ 259 h 296"/>
                <a:gd name="T4" fmla="*/ 160 w 327"/>
                <a:gd name="T5" fmla="*/ 243 h 296"/>
                <a:gd name="T6" fmla="*/ 171 w 327"/>
                <a:gd name="T7" fmla="*/ 221 h 296"/>
                <a:gd name="T8" fmla="*/ 173 w 327"/>
                <a:gd name="T9" fmla="*/ 220 h 296"/>
                <a:gd name="T10" fmla="*/ 175 w 327"/>
                <a:gd name="T11" fmla="*/ 220 h 296"/>
                <a:gd name="T12" fmla="*/ 204 w 327"/>
                <a:gd name="T13" fmla="*/ 202 h 296"/>
                <a:gd name="T14" fmla="*/ 189 w 327"/>
                <a:gd name="T15" fmla="*/ 160 h 296"/>
                <a:gd name="T16" fmla="*/ 147 w 327"/>
                <a:gd name="T17" fmla="*/ 175 h 296"/>
                <a:gd name="T18" fmla="*/ 151 w 327"/>
                <a:gd name="T19" fmla="*/ 208 h 296"/>
                <a:gd name="T20" fmla="*/ 153 w 327"/>
                <a:gd name="T21" fmla="*/ 210 h 296"/>
                <a:gd name="T22" fmla="*/ 153 w 327"/>
                <a:gd name="T23" fmla="*/ 213 h 296"/>
                <a:gd name="T24" fmla="*/ 140 w 327"/>
                <a:gd name="T25" fmla="*/ 235 h 296"/>
                <a:gd name="T26" fmla="*/ 122 w 327"/>
                <a:gd name="T27" fmla="*/ 236 h 296"/>
                <a:gd name="T28" fmla="*/ 121 w 327"/>
                <a:gd name="T29" fmla="*/ 236 h 296"/>
                <a:gd name="T30" fmla="*/ 45 w 327"/>
                <a:gd name="T31" fmla="*/ 200 h 296"/>
                <a:gd name="T32" fmla="*/ 82 w 327"/>
                <a:gd name="T33" fmla="*/ 124 h 296"/>
                <a:gd name="T34" fmla="*/ 81 w 327"/>
                <a:gd name="T35" fmla="*/ 116 h 296"/>
                <a:gd name="T36" fmla="*/ 70 w 327"/>
                <a:gd name="T37" fmla="*/ 110 h 296"/>
                <a:gd name="T38" fmla="*/ 26 w 327"/>
                <a:gd name="T39" fmla="*/ 114 h 296"/>
                <a:gd name="T40" fmla="*/ 4 w 327"/>
                <a:gd name="T41" fmla="*/ 89 h 296"/>
                <a:gd name="T42" fmla="*/ 6 w 327"/>
                <a:gd name="T43" fmla="*/ 56 h 296"/>
                <a:gd name="T44" fmla="*/ 64 w 327"/>
                <a:gd name="T45" fmla="*/ 36 h 296"/>
                <a:gd name="T46" fmla="*/ 88 w 327"/>
                <a:gd name="T47" fmla="*/ 73 h 296"/>
                <a:gd name="T48" fmla="*/ 99 w 327"/>
                <a:gd name="T49" fmla="*/ 78 h 296"/>
                <a:gd name="T50" fmla="*/ 106 w 327"/>
                <a:gd name="T51" fmla="*/ 74 h 296"/>
                <a:gd name="T52" fmla="*/ 141 w 327"/>
                <a:gd name="T53" fmla="*/ 0 h 296"/>
                <a:gd name="T54" fmla="*/ 297 w 327"/>
                <a:gd name="T55" fmla="*/ 75 h 296"/>
                <a:gd name="T56" fmla="*/ 322 w 327"/>
                <a:gd name="T57" fmla="*/ 103 h 296"/>
                <a:gd name="T58" fmla="*/ 320 w 327"/>
                <a:gd name="T59" fmla="*/ 140 h 296"/>
                <a:gd name="T60" fmla="*/ 246 w 327"/>
                <a:gd name="T61" fmla="*/ 296 h 296"/>
                <a:gd name="T62" fmla="*/ 177 w 327"/>
                <a:gd name="T63" fmla="*/ 249 h 296"/>
                <a:gd name="T64" fmla="*/ 240 w 327"/>
                <a:gd name="T65" fmla="*/ 280 h 296"/>
                <a:gd name="T66" fmla="*/ 310 w 327"/>
                <a:gd name="T67" fmla="*/ 135 h 296"/>
                <a:gd name="T68" fmla="*/ 311 w 327"/>
                <a:gd name="T69" fmla="*/ 107 h 296"/>
                <a:gd name="T70" fmla="*/ 292 w 327"/>
                <a:gd name="T71" fmla="*/ 86 h 296"/>
                <a:gd name="T72" fmla="*/ 147 w 327"/>
                <a:gd name="T73" fmla="*/ 16 h 296"/>
                <a:gd name="T74" fmla="*/ 116 w 327"/>
                <a:gd name="T75" fmla="*/ 80 h 296"/>
                <a:gd name="T76" fmla="*/ 100 w 327"/>
                <a:gd name="T77" fmla="*/ 90 h 296"/>
                <a:gd name="T78" fmla="*/ 78 w 327"/>
                <a:gd name="T79" fmla="*/ 79 h 296"/>
                <a:gd name="T80" fmla="*/ 76 w 327"/>
                <a:gd name="T81" fmla="*/ 78 h 296"/>
                <a:gd name="T82" fmla="*/ 76 w 327"/>
                <a:gd name="T83" fmla="*/ 75 h 296"/>
                <a:gd name="T84" fmla="*/ 58 w 327"/>
                <a:gd name="T85" fmla="*/ 47 h 296"/>
                <a:gd name="T86" fmla="*/ 16 w 327"/>
                <a:gd name="T87" fmla="*/ 61 h 296"/>
                <a:gd name="T88" fmla="*/ 15 w 327"/>
                <a:gd name="T89" fmla="*/ 85 h 296"/>
                <a:gd name="T90" fmla="*/ 31 w 327"/>
                <a:gd name="T91" fmla="*/ 103 h 296"/>
                <a:gd name="T92" fmla="*/ 65 w 327"/>
                <a:gd name="T93" fmla="*/ 99 h 296"/>
                <a:gd name="T94" fmla="*/ 67 w 327"/>
                <a:gd name="T95" fmla="*/ 97 h 296"/>
                <a:gd name="T96" fmla="*/ 69 w 327"/>
                <a:gd name="T97" fmla="*/ 98 h 296"/>
                <a:gd name="T98" fmla="*/ 92 w 327"/>
                <a:gd name="T99" fmla="*/ 110 h 296"/>
                <a:gd name="T100" fmla="*/ 93 w 327"/>
                <a:gd name="T101" fmla="*/ 128 h 296"/>
                <a:gd name="T102" fmla="*/ 92 w 327"/>
                <a:gd name="T103" fmla="*/ 129 h 296"/>
                <a:gd name="T104" fmla="*/ 61 w 327"/>
                <a:gd name="T105" fmla="*/ 194 h 296"/>
                <a:gd name="T106" fmla="*/ 126 w 327"/>
                <a:gd name="T107" fmla="*/ 225 h 296"/>
                <a:gd name="T108" fmla="*/ 134 w 327"/>
                <a:gd name="T109" fmla="*/ 225 h 296"/>
                <a:gd name="T110" fmla="*/ 140 w 327"/>
                <a:gd name="T111" fmla="*/ 214 h 296"/>
                <a:gd name="T112" fmla="*/ 136 w 327"/>
                <a:gd name="T113" fmla="*/ 170 h 296"/>
                <a:gd name="T114" fmla="*/ 194 w 327"/>
                <a:gd name="T115" fmla="*/ 149 h 296"/>
                <a:gd name="T116" fmla="*/ 214 w 327"/>
                <a:gd name="T117" fmla="*/ 207 h 296"/>
                <a:gd name="T118" fmla="*/ 177 w 327"/>
                <a:gd name="T119" fmla="*/ 232 h 296"/>
                <a:gd name="T120" fmla="*/ 172 w 327"/>
                <a:gd name="T121" fmla="*/ 243 h 296"/>
                <a:gd name="T122" fmla="*/ 177 w 327"/>
                <a:gd name="T123" fmla="*/ 249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7" h="296">
                  <a:moveTo>
                    <a:pt x="246" y="296"/>
                  </a:moveTo>
                  <a:cubicBezTo>
                    <a:pt x="170" y="259"/>
                    <a:pt x="170" y="259"/>
                    <a:pt x="170" y="259"/>
                  </a:cubicBezTo>
                  <a:cubicBezTo>
                    <a:pt x="162" y="254"/>
                    <a:pt x="160" y="248"/>
                    <a:pt x="160" y="243"/>
                  </a:cubicBezTo>
                  <a:cubicBezTo>
                    <a:pt x="159" y="232"/>
                    <a:pt x="170" y="222"/>
                    <a:pt x="171" y="221"/>
                  </a:cubicBezTo>
                  <a:cubicBezTo>
                    <a:pt x="173" y="220"/>
                    <a:pt x="173" y="220"/>
                    <a:pt x="173" y="220"/>
                  </a:cubicBezTo>
                  <a:cubicBezTo>
                    <a:pt x="175" y="220"/>
                    <a:pt x="175" y="220"/>
                    <a:pt x="175" y="220"/>
                  </a:cubicBezTo>
                  <a:cubicBezTo>
                    <a:pt x="187" y="220"/>
                    <a:pt x="198" y="213"/>
                    <a:pt x="204" y="202"/>
                  </a:cubicBezTo>
                  <a:cubicBezTo>
                    <a:pt x="211" y="186"/>
                    <a:pt x="204" y="167"/>
                    <a:pt x="189" y="160"/>
                  </a:cubicBezTo>
                  <a:cubicBezTo>
                    <a:pt x="173" y="152"/>
                    <a:pt x="154" y="159"/>
                    <a:pt x="147" y="175"/>
                  </a:cubicBezTo>
                  <a:cubicBezTo>
                    <a:pt x="142" y="186"/>
                    <a:pt x="143" y="199"/>
                    <a:pt x="151" y="208"/>
                  </a:cubicBezTo>
                  <a:cubicBezTo>
                    <a:pt x="153" y="210"/>
                    <a:pt x="153" y="210"/>
                    <a:pt x="153" y="210"/>
                  </a:cubicBezTo>
                  <a:cubicBezTo>
                    <a:pt x="153" y="213"/>
                    <a:pt x="153" y="213"/>
                    <a:pt x="153" y="213"/>
                  </a:cubicBezTo>
                  <a:cubicBezTo>
                    <a:pt x="152" y="214"/>
                    <a:pt x="150" y="229"/>
                    <a:pt x="140" y="235"/>
                  </a:cubicBezTo>
                  <a:cubicBezTo>
                    <a:pt x="137" y="237"/>
                    <a:pt x="130" y="239"/>
                    <a:pt x="122" y="236"/>
                  </a:cubicBezTo>
                  <a:cubicBezTo>
                    <a:pt x="121" y="236"/>
                    <a:pt x="121" y="236"/>
                    <a:pt x="121" y="236"/>
                  </a:cubicBezTo>
                  <a:cubicBezTo>
                    <a:pt x="45" y="200"/>
                    <a:pt x="45" y="200"/>
                    <a:pt x="45" y="200"/>
                  </a:cubicBezTo>
                  <a:cubicBezTo>
                    <a:pt x="82" y="124"/>
                    <a:pt x="82" y="124"/>
                    <a:pt x="82" y="124"/>
                  </a:cubicBezTo>
                  <a:cubicBezTo>
                    <a:pt x="83" y="119"/>
                    <a:pt x="82" y="117"/>
                    <a:pt x="81" y="116"/>
                  </a:cubicBezTo>
                  <a:cubicBezTo>
                    <a:pt x="79" y="113"/>
                    <a:pt x="74" y="111"/>
                    <a:pt x="70" y="110"/>
                  </a:cubicBezTo>
                  <a:cubicBezTo>
                    <a:pt x="57" y="119"/>
                    <a:pt x="40" y="121"/>
                    <a:pt x="26" y="114"/>
                  </a:cubicBezTo>
                  <a:cubicBezTo>
                    <a:pt x="16" y="109"/>
                    <a:pt x="8" y="100"/>
                    <a:pt x="4" y="89"/>
                  </a:cubicBezTo>
                  <a:cubicBezTo>
                    <a:pt x="0" y="78"/>
                    <a:pt x="1" y="67"/>
                    <a:pt x="6" y="56"/>
                  </a:cubicBezTo>
                  <a:cubicBezTo>
                    <a:pt x="16" y="35"/>
                    <a:pt x="42" y="25"/>
                    <a:pt x="64" y="36"/>
                  </a:cubicBezTo>
                  <a:cubicBezTo>
                    <a:pt x="78" y="43"/>
                    <a:pt x="87" y="57"/>
                    <a:pt x="88" y="73"/>
                  </a:cubicBezTo>
                  <a:cubicBezTo>
                    <a:pt x="91" y="75"/>
                    <a:pt x="95" y="78"/>
                    <a:pt x="99" y="78"/>
                  </a:cubicBezTo>
                  <a:cubicBezTo>
                    <a:pt x="100" y="78"/>
                    <a:pt x="103" y="78"/>
                    <a:pt x="106" y="74"/>
                  </a:cubicBezTo>
                  <a:cubicBezTo>
                    <a:pt x="141" y="0"/>
                    <a:pt x="141" y="0"/>
                    <a:pt x="141" y="0"/>
                  </a:cubicBezTo>
                  <a:cubicBezTo>
                    <a:pt x="297" y="75"/>
                    <a:pt x="297" y="75"/>
                    <a:pt x="297" y="75"/>
                  </a:cubicBezTo>
                  <a:cubicBezTo>
                    <a:pt x="309" y="80"/>
                    <a:pt x="318" y="90"/>
                    <a:pt x="322" y="103"/>
                  </a:cubicBezTo>
                  <a:cubicBezTo>
                    <a:pt x="327" y="115"/>
                    <a:pt x="326" y="128"/>
                    <a:pt x="320" y="140"/>
                  </a:cubicBezTo>
                  <a:lnTo>
                    <a:pt x="246" y="296"/>
                  </a:lnTo>
                  <a:close/>
                  <a:moveTo>
                    <a:pt x="177" y="249"/>
                  </a:moveTo>
                  <a:cubicBezTo>
                    <a:pt x="240" y="280"/>
                    <a:pt x="240" y="280"/>
                    <a:pt x="240" y="280"/>
                  </a:cubicBezTo>
                  <a:cubicBezTo>
                    <a:pt x="310" y="135"/>
                    <a:pt x="310" y="135"/>
                    <a:pt x="310" y="135"/>
                  </a:cubicBezTo>
                  <a:cubicBezTo>
                    <a:pt x="314" y="126"/>
                    <a:pt x="314" y="116"/>
                    <a:pt x="311" y="107"/>
                  </a:cubicBezTo>
                  <a:cubicBezTo>
                    <a:pt x="308" y="97"/>
                    <a:pt x="301" y="90"/>
                    <a:pt x="292" y="86"/>
                  </a:cubicBezTo>
                  <a:cubicBezTo>
                    <a:pt x="147" y="16"/>
                    <a:pt x="147" y="16"/>
                    <a:pt x="147" y="16"/>
                  </a:cubicBezTo>
                  <a:cubicBezTo>
                    <a:pt x="116" y="80"/>
                    <a:pt x="116" y="80"/>
                    <a:pt x="116" y="80"/>
                  </a:cubicBezTo>
                  <a:cubicBezTo>
                    <a:pt x="111" y="88"/>
                    <a:pt x="104" y="90"/>
                    <a:pt x="100" y="90"/>
                  </a:cubicBezTo>
                  <a:cubicBezTo>
                    <a:pt x="88" y="91"/>
                    <a:pt x="79" y="80"/>
                    <a:pt x="78" y="79"/>
                  </a:cubicBezTo>
                  <a:cubicBezTo>
                    <a:pt x="76" y="78"/>
                    <a:pt x="76" y="78"/>
                    <a:pt x="76" y="78"/>
                  </a:cubicBezTo>
                  <a:cubicBezTo>
                    <a:pt x="76" y="75"/>
                    <a:pt x="76" y="75"/>
                    <a:pt x="76" y="75"/>
                  </a:cubicBezTo>
                  <a:cubicBezTo>
                    <a:pt x="76" y="63"/>
                    <a:pt x="69" y="52"/>
                    <a:pt x="58" y="47"/>
                  </a:cubicBezTo>
                  <a:cubicBezTo>
                    <a:pt x="43" y="39"/>
                    <a:pt x="24" y="46"/>
                    <a:pt x="16" y="61"/>
                  </a:cubicBezTo>
                  <a:cubicBezTo>
                    <a:pt x="13" y="69"/>
                    <a:pt x="12" y="77"/>
                    <a:pt x="15" y="85"/>
                  </a:cubicBezTo>
                  <a:cubicBezTo>
                    <a:pt x="18" y="93"/>
                    <a:pt x="24" y="100"/>
                    <a:pt x="31" y="103"/>
                  </a:cubicBezTo>
                  <a:cubicBezTo>
                    <a:pt x="42" y="108"/>
                    <a:pt x="56" y="107"/>
                    <a:pt x="65" y="99"/>
                  </a:cubicBezTo>
                  <a:cubicBezTo>
                    <a:pt x="67" y="97"/>
                    <a:pt x="67" y="97"/>
                    <a:pt x="67" y="97"/>
                  </a:cubicBezTo>
                  <a:cubicBezTo>
                    <a:pt x="69" y="98"/>
                    <a:pt x="69" y="98"/>
                    <a:pt x="69" y="98"/>
                  </a:cubicBezTo>
                  <a:cubicBezTo>
                    <a:pt x="71" y="98"/>
                    <a:pt x="85" y="100"/>
                    <a:pt x="92" y="110"/>
                  </a:cubicBezTo>
                  <a:cubicBezTo>
                    <a:pt x="94" y="114"/>
                    <a:pt x="96" y="120"/>
                    <a:pt x="93" y="128"/>
                  </a:cubicBezTo>
                  <a:cubicBezTo>
                    <a:pt x="92" y="129"/>
                    <a:pt x="92" y="129"/>
                    <a:pt x="92" y="129"/>
                  </a:cubicBezTo>
                  <a:cubicBezTo>
                    <a:pt x="61" y="194"/>
                    <a:pt x="61" y="194"/>
                    <a:pt x="61" y="194"/>
                  </a:cubicBezTo>
                  <a:cubicBezTo>
                    <a:pt x="126" y="225"/>
                    <a:pt x="126" y="225"/>
                    <a:pt x="126" y="225"/>
                  </a:cubicBezTo>
                  <a:cubicBezTo>
                    <a:pt x="131" y="227"/>
                    <a:pt x="133" y="225"/>
                    <a:pt x="134" y="225"/>
                  </a:cubicBezTo>
                  <a:cubicBezTo>
                    <a:pt x="137" y="223"/>
                    <a:pt x="139" y="217"/>
                    <a:pt x="140" y="214"/>
                  </a:cubicBezTo>
                  <a:cubicBezTo>
                    <a:pt x="131" y="201"/>
                    <a:pt x="129" y="184"/>
                    <a:pt x="136" y="170"/>
                  </a:cubicBezTo>
                  <a:cubicBezTo>
                    <a:pt x="146" y="148"/>
                    <a:pt x="172" y="139"/>
                    <a:pt x="194" y="149"/>
                  </a:cubicBezTo>
                  <a:cubicBezTo>
                    <a:pt x="216" y="159"/>
                    <a:pt x="225" y="185"/>
                    <a:pt x="214" y="207"/>
                  </a:cubicBezTo>
                  <a:cubicBezTo>
                    <a:pt x="208" y="221"/>
                    <a:pt x="193" y="231"/>
                    <a:pt x="177" y="232"/>
                  </a:cubicBezTo>
                  <a:cubicBezTo>
                    <a:pt x="175" y="234"/>
                    <a:pt x="172" y="239"/>
                    <a:pt x="172" y="243"/>
                  </a:cubicBezTo>
                  <a:cubicBezTo>
                    <a:pt x="172" y="244"/>
                    <a:pt x="172" y="246"/>
                    <a:pt x="177" y="249"/>
                  </a:cubicBezTo>
                  <a:close/>
                </a:path>
              </a:pathLst>
            </a:custGeom>
            <a:grpFill/>
            <a:ln w="9525">
              <a:solidFill>
                <a:schemeClr val="bg2"/>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584580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900000" y="720000"/>
            <a:ext cx="8557008" cy="774491"/>
          </a:xfrm>
        </p:spPr>
        <p:txBody>
          <a:bodyPr/>
          <a:lstStyle/>
          <a:p>
            <a:r>
              <a:rPr lang="de-DE" dirty="0"/>
              <a:t>IPCEI AST | Themenfindung DEU</a:t>
            </a:r>
          </a:p>
        </p:txBody>
      </p:sp>
      <p:sp>
        <p:nvSpPr>
          <p:cNvPr id="3" name="Foliennummernplatzhalter 2"/>
          <p:cNvSpPr>
            <a:spLocks noGrp="1"/>
          </p:cNvSpPr>
          <p:nvPr>
            <p:ph type="sldNum" sz="quarter" idx="10"/>
          </p:nvPr>
        </p:nvSpPr>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smtClean="0">
                <a:solidFill>
                  <a:schemeClr val="accent5"/>
                </a:solidFill>
              </a:rPr>
              <a:pPr algn="l" rtl="0"/>
              <a:t>36</a:t>
            </a:fld>
            <a:r>
              <a:rPr lang="en-GB" sz="1000" b="0" i="0" u="none" baseline="0">
                <a:solidFill>
                  <a:schemeClr val="accent5"/>
                </a:solidFill>
              </a:rPr>
              <a:t> </a:t>
            </a:r>
          </a:p>
        </p:txBody>
      </p:sp>
      <p:sp>
        <p:nvSpPr>
          <p:cNvPr id="4" name="Textplatzhalter 3"/>
          <p:cNvSpPr>
            <a:spLocks noGrp="1"/>
          </p:cNvSpPr>
          <p:nvPr>
            <p:ph type="body" sz="quarter" idx="15"/>
          </p:nvPr>
        </p:nvSpPr>
        <p:spPr/>
        <p:txBody>
          <a:bodyPr/>
          <a:lstStyle/>
          <a:p>
            <a:pPr>
              <a:spcBef>
                <a:spcPts val="2000"/>
              </a:spcBef>
            </a:pPr>
            <a:r>
              <a:rPr lang="de-DE" u="none" dirty="0">
                <a:solidFill>
                  <a:schemeClr val="tx1"/>
                </a:solidFill>
              </a:rPr>
              <a:t>Themenfindung auf EU-Ebene speist sich aus nationalen Schwerpunkten </a:t>
            </a:r>
          </a:p>
          <a:p>
            <a:pPr>
              <a:spcBef>
                <a:spcPts val="2000"/>
              </a:spcBef>
            </a:pPr>
            <a:r>
              <a:rPr lang="de-DE" u="none" dirty="0">
                <a:solidFill>
                  <a:schemeClr val="tx1"/>
                </a:solidFill>
              </a:rPr>
              <a:t>Bisheriger inhaltlicher Input über:</a:t>
            </a:r>
          </a:p>
          <a:p>
            <a:pPr marL="720725" lvl="1" indent="-277813"/>
            <a:r>
              <a:rPr lang="de-DE" dirty="0">
                <a:solidFill>
                  <a:schemeClr val="tx1"/>
                </a:solidFill>
              </a:rPr>
              <a:t>Austausch mit Verbänden</a:t>
            </a:r>
          </a:p>
          <a:p>
            <a:pPr marL="720725" lvl="1" indent="-277813"/>
            <a:r>
              <a:rPr lang="de-DE" dirty="0">
                <a:solidFill>
                  <a:schemeClr val="tx1"/>
                </a:solidFill>
              </a:rPr>
              <a:t>Analyse von Mikroelektronik-Studien</a:t>
            </a:r>
          </a:p>
          <a:p>
            <a:pPr marL="720725" lvl="1" indent="-277813"/>
            <a:r>
              <a:rPr lang="de-DE" dirty="0">
                <a:solidFill>
                  <a:schemeClr val="tx1"/>
                </a:solidFill>
              </a:rPr>
              <a:t>Austausch zwischen Ministerien</a:t>
            </a:r>
          </a:p>
          <a:p>
            <a:pPr>
              <a:spcBef>
                <a:spcPts val="2000"/>
              </a:spcBef>
            </a:pPr>
            <a:r>
              <a:rPr lang="de-DE" u="none" dirty="0">
                <a:solidFill>
                  <a:schemeClr val="tx1"/>
                </a:solidFill>
              </a:rPr>
              <a:t>Aktuelle Themenauswahl auf EU-Ebene durch DEU befürwortet</a:t>
            </a:r>
          </a:p>
        </p:txBody>
      </p:sp>
    </p:spTree>
    <p:extLst>
      <p:ext uri="{BB962C8B-B14F-4D97-AF65-F5344CB8AC3E}">
        <p14:creationId xmlns:p14="http://schemas.microsoft.com/office/powerpoint/2010/main" val="28684169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83B6D7B-562B-45DC-952A-377858164B64}"/>
              </a:ext>
            </a:extLst>
          </p:cNvPr>
          <p:cNvSpPr>
            <a:spLocks noGrp="1"/>
          </p:cNvSpPr>
          <p:nvPr>
            <p:ph type="title"/>
          </p:nvPr>
        </p:nvSpPr>
        <p:spPr/>
        <p:txBody>
          <a:bodyPr/>
          <a:lstStyle/>
          <a:p>
            <a:r>
              <a:rPr lang="de-DE" dirty="0"/>
              <a:t>IPCEI AST </a:t>
            </a:r>
            <a:br>
              <a:rPr lang="de-DE" dirty="0"/>
            </a:br>
            <a:r>
              <a:rPr lang="de-DE" dirty="0"/>
              <a:t>Zeitplan und nächste Schritte</a:t>
            </a:r>
          </a:p>
        </p:txBody>
      </p:sp>
      <p:sp>
        <p:nvSpPr>
          <p:cNvPr id="3" name="Foliennummernplatzhalter 2">
            <a:extLst>
              <a:ext uri="{FF2B5EF4-FFF2-40B4-BE49-F238E27FC236}">
                <a16:creationId xmlns:a16="http://schemas.microsoft.com/office/drawing/2014/main" id="{A74000FF-92D7-4E52-893B-9D2BB419F46A}"/>
              </a:ext>
            </a:extLst>
          </p:cNvPr>
          <p:cNvSpPr>
            <a:spLocks noGrp="1"/>
          </p:cNvSpPr>
          <p:nvPr>
            <p:ph type="sldNum" sz="quarter" idx="4294967295"/>
          </p:nvPr>
        </p:nvSpPr>
        <p:spPr>
          <a:xfrm>
            <a:off x="1708150" y="6375400"/>
            <a:ext cx="10483850" cy="220663"/>
          </a:xfrm>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smtClean="0">
                <a:solidFill>
                  <a:schemeClr val="accent5"/>
                </a:solidFill>
              </a:rPr>
              <a:pPr algn="l" rtl="0"/>
              <a:t>37</a:t>
            </a:fld>
            <a:r>
              <a:rPr lang="en-GB" sz="1000" b="0" i="0" u="none" baseline="0">
                <a:solidFill>
                  <a:schemeClr val="accent5"/>
                </a:solidFill>
              </a:rPr>
              <a:t> </a:t>
            </a:r>
          </a:p>
        </p:txBody>
      </p:sp>
      <p:sp>
        <p:nvSpPr>
          <p:cNvPr id="4" name="Textplatzhalter 2">
            <a:extLst>
              <a:ext uri="{FF2B5EF4-FFF2-40B4-BE49-F238E27FC236}">
                <a16:creationId xmlns:a16="http://schemas.microsoft.com/office/drawing/2014/main" id="{84398220-3CA9-49D1-AFAE-2AC56E3E2DD8}"/>
              </a:ext>
            </a:extLst>
          </p:cNvPr>
          <p:cNvSpPr>
            <a:spLocks noGrp="1"/>
          </p:cNvSpPr>
          <p:nvPr>
            <p:ph type="body" sz="quarter" idx="11"/>
          </p:nvPr>
        </p:nvSpPr>
        <p:spPr>
          <a:xfrm>
            <a:off x="912285" y="3068960"/>
            <a:ext cx="10526183" cy="335413"/>
          </a:xfrm>
        </p:spPr>
        <p:txBody>
          <a:bodyPr/>
          <a:lstStyle/>
          <a:p>
            <a:r>
              <a:rPr lang="de-DE" dirty="0"/>
              <a:t>Michael A. Müller | VDI/VDE Innovation + Technik GmbH (Projektträger)</a:t>
            </a:r>
          </a:p>
        </p:txBody>
      </p:sp>
    </p:spTree>
    <p:extLst>
      <p:ext uri="{BB962C8B-B14F-4D97-AF65-F5344CB8AC3E}">
        <p14:creationId xmlns:p14="http://schemas.microsoft.com/office/powerpoint/2010/main" val="36655104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900000" y="720000"/>
            <a:ext cx="8557008" cy="774491"/>
          </a:xfrm>
        </p:spPr>
        <p:txBody>
          <a:bodyPr/>
          <a:lstStyle/>
          <a:p>
            <a:r>
              <a:rPr lang="de-DE" dirty="0"/>
              <a:t>IPCEI AST | Zeitplan</a:t>
            </a:r>
          </a:p>
        </p:txBody>
      </p:sp>
      <p:sp>
        <p:nvSpPr>
          <p:cNvPr id="3" name="Foliennummernplatzhalter 2"/>
          <p:cNvSpPr>
            <a:spLocks noGrp="1"/>
          </p:cNvSpPr>
          <p:nvPr>
            <p:ph type="sldNum" sz="quarter" idx="10"/>
          </p:nvPr>
        </p:nvSpPr>
        <p:spPr/>
        <p:txBody>
          <a:bodyPr/>
          <a:lstStyle/>
          <a:p>
            <a:pPr algn="l" rtl="0"/>
            <a:r>
              <a:rPr lang="en-GB" b="0" i="0" u="none" baseline="0" dirty="0"/>
              <a:t>  </a:t>
            </a:r>
            <a:r>
              <a:rPr lang="en-GB" sz="1000" b="0" i="0" u="none" baseline="0" dirty="0">
                <a:solidFill>
                  <a:schemeClr val="accent5"/>
                </a:solidFill>
              </a:rPr>
              <a:t>© VDI/VDE-IT </a:t>
            </a:r>
            <a:r>
              <a:rPr lang="en-GB" sz="1000" b="0" i="0" u="none" baseline="0" dirty="0">
                <a:solidFill>
                  <a:schemeClr val="accent5"/>
                </a:solidFill>
                <a:sym typeface="Wingdings" panose="05000000000000000000" pitchFamily="2" charset="2"/>
              </a:rPr>
              <a:t></a:t>
            </a:r>
            <a:r>
              <a:rPr lang="en-GB" sz="1000" b="0" i="0" u="none" baseline="0" dirty="0">
                <a:solidFill>
                  <a:schemeClr val="accent5"/>
                </a:solidFill>
              </a:rPr>
              <a:t>  </a:t>
            </a:r>
            <a:fld id="{12CCBF5E-5E1E-43A5-B4E2-C140E7BD9013}" type="slidenum">
              <a:rPr sz="1000" smtClean="0">
                <a:solidFill>
                  <a:schemeClr val="accent5"/>
                </a:solidFill>
              </a:rPr>
              <a:pPr algn="l" rtl="0"/>
              <a:t>38</a:t>
            </a:fld>
            <a:r>
              <a:rPr lang="en-GB" sz="1000" b="0" i="0" u="none" baseline="0" dirty="0">
                <a:solidFill>
                  <a:schemeClr val="accent5"/>
                </a:solidFill>
              </a:rPr>
              <a:t> </a:t>
            </a:r>
          </a:p>
        </p:txBody>
      </p:sp>
      <p:grpSp>
        <p:nvGrpSpPr>
          <p:cNvPr id="23" name="Gruppieren 22">
            <a:extLst>
              <a:ext uri="{FF2B5EF4-FFF2-40B4-BE49-F238E27FC236}">
                <a16:creationId xmlns:a16="http://schemas.microsoft.com/office/drawing/2014/main" id="{EB95F660-5A31-4B6F-AB18-0BFBA0527379}"/>
              </a:ext>
            </a:extLst>
          </p:cNvPr>
          <p:cNvGrpSpPr/>
          <p:nvPr/>
        </p:nvGrpSpPr>
        <p:grpSpPr>
          <a:xfrm>
            <a:off x="789508" y="1988840"/>
            <a:ext cx="11207469" cy="4013200"/>
            <a:chOff x="461245" y="1409628"/>
            <a:chExt cx="10973088" cy="4013200"/>
          </a:xfrm>
        </p:grpSpPr>
        <p:graphicFrame>
          <p:nvGraphicFramePr>
            <p:cNvPr id="24" name="Inhaltsplatzhalter 3">
              <a:extLst>
                <a:ext uri="{FF2B5EF4-FFF2-40B4-BE49-F238E27FC236}">
                  <a16:creationId xmlns:a16="http://schemas.microsoft.com/office/drawing/2014/main" id="{32DEA556-4395-4E5C-8B7D-57BFB2B0AE7C}"/>
                </a:ext>
              </a:extLst>
            </p:cNvPr>
            <p:cNvGraphicFramePr>
              <a:graphicFrameLocks/>
            </p:cNvGraphicFramePr>
            <p:nvPr>
              <p:extLst>
                <p:ext uri="{D42A27DB-BD31-4B8C-83A1-F6EECF244321}">
                  <p14:modId xmlns:p14="http://schemas.microsoft.com/office/powerpoint/2010/main" val="3611199231"/>
                </p:ext>
              </p:extLst>
            </p:nvPr>
          </p:nvGraphicFramePr>
          <p:xfrm>
            <a:off x="461245" y="1409628"/>
            <a:ext cx="10973088" cy="4013200"/>
          </p:xfrm>
          <a:graphic>
            <a:graphicData uri="http://schemas.openxmlformats.org/drawingml/2006/table">
              <a:tbl>
                <a:tblPr firstRow="1" bandRow="1"/>
                <a:tblGrid>
                  <a:gridCol w="2514519">
                    <a:extLst>
                      <a:ext uri="{9D8B030D-6E8A-4147-A177-3AD203B41FA5}">
                        <a16:colId xmlns:a16="http://schemas.microsoft.com/office/drawing/2014/main" val="2927997679"/>
                      </a:ext>
                    </a:extLst>
                  </a:gridCol>
                  <a:gridCol w="579530">
                    <a:extLst>
                      <a:ext uri="{9D8B030D-6E8A-4147-A177-3AD203B41FA5}">
                        <a16:colId xmlns:a16="http://schemas.microsoft.com/office/drawing/2014/main" val="991757741"/>
                      </a:ext>
                    </a:extLst>
                  </a:gridCol>
                  <a:gridCol w="579530">
                    <a:extLst>
                      <a:ext uri="{9D8B030D-6E8A-4147-A177-3AD203B41FA5}">
                        <a16:colId xmlns:a16="http://schemas.microsoft.com/office/drawing/2014/main" val="1553987844"/>
                      </a:ext>
                    </a:extLst>
                  </a:gridCol>
                  <a:gridCol w="579530">
                    <a:extLst>
                      <a:ext uri="{9D8B030D-6E8A-4147-A177-3AD203B41FA5}">
                        <a16:colId xmlns:a16="http://schemas.microsoft.com/office/drawing/2014/main" val="2376677385"/>
                      </a:ext>
                    </a:extLst>
                  </a:gridCol>
                  <a:gridCol w="579530">
                    <a:extLst>
                      <a:ext uri="{9D8B030D-6E8A-4147-A177-3AD203B41FA5}">
                        <a16:colId xmlns:a16="http://schemas.microsoft.com/office/drawing/2014/main" val="1557706135"/>
                      </a:ext>
                    </a:extLst>
                  </a:gridCol>
                  <a:gridCol w="579530">
                    <a:extLst>
                      <a:ext uri="{9D8B030D-6E8A-4147-A177-3AD203B41FA5}">
                        <a16:colId xmlns:a16="http://schemas.microsoft.com/office/drawing/2014/main" val="1731210446"/>
                      </a:ext>
                    </a:extLst>
                  </a:gridCol>
                  <a:gridCol w="579530">
                    <a:extLst>
                      <a:ext uri="{9D8B030D-6E8A-4147-A177-3AD203B41FA5}">
                        <a16:colId xmlns:a16="http://schemas.microsoft.com/office/drawing/2014/main" val="3442351758"/>
                      </a:ext>
                    </a:extLst>
                  </a:gridCol>
                  <a:gridCol w="579530">
                    <a:extLst>
                      <a:ext uri="{9D8B030D-6E8A-4147-A177-3AD203B41FA5}">
                        <a16:colId xmlns:a16="http://schemas.microsoft.com/office/drawing/2014/main" val="471035322"/>
                      </a:ext>
                    </a:extLst>
                  </a:gridCol>
                  <a:gridCol w="579530">
                    <a:extLst>
                      <a:ext uri="{9D8B030D-6E8A-4147-A177-3AD203B41FA5}">
                        <a16:colId xmlns:a16="http://schemas.microsoft.com/office/drawing/2014/main" val="788318205"/>
                      </a:ext>
                    </a:extLst>
                  </a:gridCol>
                  <a:gridCol w="579530">
                    <a:extLst>
                      <a:ext uri="{9D8B030D-6E8A-4147-A177-3AD203B41FA5}">
                        <a16:colId xmlns:a16="http://schemas.microsoft.com/office/drawing/2014/main" val="3778586590"/>
                      </a:ext>
                    </a:extLst>
                  </a:gridCol>
                  <a:gridCol w="579530">
                    <a:extLst>
                      <a:ext uri="{9D8B030D-6E8A-4147-A177-3AD203B41FA5}">
                        <a16:colId xmlns:a16="http://schemas.microsoft.com/office/drawing/2014/main" val="4286046179"/>
                      </a:ext>
                    </a:extLst>
                  </a:gridCol>
                  <a:gridCol w="579530">
                    <a:extLst>
                      <a:ext uri="{9D8B030D-6E8A-4147-A177-3AD203B41FA5}">
                        <a16:colId xmlns:a16="http://schemas.microsoft.com/office/drawing/2014/main" val="147773"/>
                      </a:ext>
                    </a:extLst>
                  </a:gridCol>
                  <a:gridCol w="579530">
                    <a:extLst>
                      <a:ext uri="{9D8B030D-6E8A-4147-A177-3AD203B41FA5}">
                        <a16:colId xmlns:a16="http://schemas.microsoft.com/office/drawing/2014/main" val="1188811018"/>
                      </a:ext>
                    </a:extLst>
                  </a:gridCol>
                  <a:gridCol w="579530">
                    <a:extLst>
                      <a:ext uri="{9D8B030D-6E8A-4147-A177-3AD203B41FA5}">
                        <a16:colId xmlns:a16="http://schemas.microsoft.com/office/drawing/2014/main" val="640476555"/>
                      </a:ext>
                    </a:extLst>
                  </a:gridCol>
                  <a:gridCol w="579530">
                    <a:extLst>
                      <a:ext uri="{9D8B030D-6E8A-4147-A177-3AD203B41FA5}">
                        <a16:colId xmlns:a16="http://schemas.microsoft.com/office/drawing/2014/main" val="4083943739"/>
                      </a:ext>
                    </a:extLst>
                  </a:gridCol>
                  <a:gridCol w="579530">
                    <a:extLst>
                      <a:ext uri="{9D8B030D-6E8A-4147-A177-3AD203B41FA5}">
                        <a16:colId xmlns:a16="http://schemas.microsoft.com/office/drawing/2014/main" val="660568329"/>
                      </a:ext>
                    </a:extLst>
                  </a:gridCol>
                </a:tblGrid>
                <a:tr h="159437">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70C0"/>
                      </a:solidFill>
                    </a:tcPr>
                  </a:tc>
                  <a:tc gridSpan="11">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de-DE" sz="1400" dirty="0">
                            <a:latin typeface="Arial" panose="020B0604020202020204" pitchFamily="34" charset="0"/>
                            <a:cs typeface="Arial" panose="020B0604020202020204" pitchFamily="34" charset="0"/>
                          </a:rPr>
                          <a:t>2025</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70C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600" dirty="0"/>
                      </a:p>
                    </a:txBody>
                    <a:tcPr>
                      <a:solidFill>
                        <a:srgbClr val="0070C0"/>
                      </a:solidFill>
                    </a:tcPr>
                  </a:tc>
                  <a:tc hMerge="1">
                    <a:txBody>
                      <a:bodyPr/>
                      <a:lstStyle/>
                      <a:p>
                        <a:endParaRPr lang="de-DE" sz="1600" dirty="0"/>
                      </a:p>
                    </a:txBody>
                    <a:tcPr>
                      <a:solidFill>
                        <a:srgbClr val="0070C0"/>
                      </a:solidFill>
                    </a:tcPr>
                  </a:tc>
                  <a:tc hMerge="1">
                    <a:txBody>
                      <a:bodyPr/>
                      <a:lstStyle/>
                      <a:p>
                        <a:endParaRPr lang="de-DE" sz="1600" dirty="0"/>
                      </a:p>
                    </a:txBody>
                    <a:tcPr>
                      <a:solidFill>
                        <a:srgbClr val="0070C0"/>
                      </a:solidFill>
                    </a:tcPr>
                  </a:tc>
                  <a:tc hMerge="1">
                    <a:txBody>
                      <a:bodyPr/>
                      <a:lstStyle/>
                      <a:p>
                        <a:endParaRPr lang="de-DE" sz="1600" dirty="0"/>
                      </a:p>
                    </a:txBody>
                    <a:tcPr>
                      <a:solidFill>
                        <a:srgbClr val="0070C0"/>
                      </a:solidFill>
                    </a:tcPr>
                  </a:tc>
                  <a:tc hMerge="1">
                    <a:txBody>
                      <a:bodyPr/>
                      <a:lstStyle/>
                      <a:p>
                        <a:endParaRPr lang="de-DE" sz="1600" dirty="0"/>
                      </a:p>
                    </a:txBody>
                    <a:tcPr>
                      <a:solidFill>
                        <a:srgbClr val="0070C0"/>
                      </a:solidFill>
                    </a:tcPr>
                  </a:tc>
                  <a:tc hMerge="1">
                    <a:txBody>
                      <a:bodyPr/>
                      <a:lstStyle/>
                      <a:p>
                        <a:endParaRPr lang="de-DE" sz="1600" dirty="0"/>
                      </a:p>
                    </a:txBody>
                    <a:tcPr>
                      <a:solidFill>
                        <a:srgbClr val="0070C0"/>
                      </a:solidFill>
                    </a:tcPr>
                  </a:tc>
                  <a:tc hMerge="1">
                    <a:txBody>
                      <a:bodyPr/>
                      <a:lstStyle/>
                      <a:p>
                        <a:endParaRPr lang="de-DE" sz="1600" dirty="0"/>
                      </a:p>
                    </a:txBody>
                    <a:tcPr>
                      <a:solidFill>
                        <a:srgbClr val="0070C0"/>
                      </a:solidFill>
                    </a:tcPr>
                  </a:tc>
                  <a:tc hMerge="1">
                    <a:txBody>
                      <a:bodyPr/>
                      <a:lstStyle/>
                      <a:p>
                        <a:endParaRPr lang="de-DE" sz="1600" dirty="0"/>
                      </a:p>
                    </a:txBody>
                    <a:tcPr>
                      <a:solidFill>
                        <a:srgbClr val="0070C0"/>
                      </a:solidFill>
                    </a:tcPr>
                  </a:tc>
                  <a:tc hMerge="1">
                    <a:txBody>
                      <a:bodyPr/>
                      <a:lstStyle/>
                      <a:p>
                        <a:endParaRPr lang="de-DE" sz="1600" dirty="0"/>
                      </a:p>
                    </a:txBody>
                    <a:tcPr>
                      <a:solidFill>
                        <a:srgbClr val="0070C0"/>
                      </a:solidFill>
                    </a:tcPr>
                  </a:tc>
                  <a:tc hMerge="1">
                    <a:txBody>
                      <a:bodyPr/>
                      <a:lstStyle/>
                      <a:p>
                        <a:endParaRPr lang="de-DE" sz="1600" dirty="0"/>
                      </a:p>
                    </a:txBody>
                    <a:tcPr>
                      <a:solidFill>
                        <a:srgbClr val="0070C0"/>
                      </a:solidFill>
                    </a:tcPr>
                  </a:tc>
                  <a:tc gridSpan="4">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de-DE" sz="1400" dirty="0">
                            <a:latin typeface="Arial" panose="020B0604020202020204" pitchFamily="34" charset="0"/>
                            <a:cs typeface="Arial" panose="020B0604020202020204" pitchFamily="34" charset="0"/>
                          </a:rPr>
                          <a:t> 2026</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70C0"/>
                      </a:solidFill>
                    </a:tcPr>
                  </a:tc>
                  <a:tc hMerge="1">
                    <a:txBody>
                      <a:bodyPr/>
                      <a:lstStyle/>
                      <a:p>
                        <a:endParaRPr lang="de-DE" sz="1600" dirty="0"/>
                      </a:p>
                    </a:txBody>
                    <a:tcPr>
                      <a:solidFill>
                        <a:srgbClr val="0070C0"/>
                      </a:solidFill>
                    </a:tcPr>
                  </a:tc>
                  <a:tc hMerge="1">
                    <a:txBody>
                      <a:bodyPr/>
                      <a:lstStyle/>
                      <a:p>
                        <a:endParaRPr lang="de-DE" sz="1600" dirty="0"/>
                      </a:p>
                    </a:txBody>
                    <a:tcPr>
                      <a:solidFill>
                        <a:srgbClr val="0070C0"/>
                      </a:solidFill>
                    </a:tcPr>
                  </a:tc>
                  <a:tc hMerge="1">
                    <a:txBody>
                      <a:bodyPr/>
                      <a:lstStyle/>
                      <a:p>
                        <a:endParaRPr lang="de-DE" sz="1600" dirty="0"/>
                      </a:p>
                    </a:txBody>
                    <a:tcPr>
                      <a:solidFill>
                        <a:srgbClr val="0070C0"/>
                      </a:solidFill>
                    </a:tcPr>
                  </a:tc>
                  <a:extLst>
                    <a:ext uri="{0D108BD9-81ED-4DB2-BD59-A6C34878D82A}">
                      <a16:rowId xmlns:a16="http://schemas.microsoft.com/office/drawing/2014/main" val="3381124632"/>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400" b="1" dirty="0">
                            <a:solidFill>
                              <a:schemeClr val="bg1"/>
                            </a:solidFill>
                            <a:latin typeface="Arial" panose="020B0604020202020204" pitchFamily="34" charset="0"/>
                            <a:cs typeface="Arial" panose="020B0604020202020204" pitchFamily="34" charset="0"/>
                          </a:rPr>
                          <a:t>Aufgabe</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de-DE" sz="1400" dirty="0">
                            <a:solidFill>
                              <a:schemeClr val="bg1"/>
                            </a:solidFill>
                            <a:latin typeface="Arial" panose="020B0604020202020204" pitchFamily="34" charset="0"/>
                            <a:cs typeface="Arial" panose="020B0604020202020204" pitchFamily="34" charset="0"/>
                          </a:rPr>
                          <a:t>02</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a:solidFill>
                              <a:schemeClr val="bg1"/>
                            </a:solidFill>
                            <a:latin typeface="Arial" panose="020B0604020202020204" pitchFamily="34" charset="0"/>
                            <a:cs typeface="Arial" panose="020B0604020202020204" pitchFamily="34" charset="0"/>
                          </a:rPr>
                          <a:t>03</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de-DE" sz="1400" dirty="0">
                            <a:solidFill>
                              <a:schemeClr val="bg1"/>
                            </a:solidFill>
                            <a:latin typeface="Arial" panose="020B0604020202020204" pitchFamily="34" charset="0"/>
                            <a:cs typeface="Arial" panose="020B0604020202020204" pitchFamily="34" charset="0"/>
                          </a:rPr>
                          <a:t>04</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de-DE" sz="1400" dirty="0">
                            <a:solidFill>
                              <a:schemeClr val="bg1"/>
                            </a:solidFill>
                            <a:latin typeface="Arial" panose="020B0604020202020204" pitchFamily="34" charset="0"/>
                            <a:cs typeface="Arial" panose="020B0604020202020204" pitchFamily="34" charset="0"/>
                          </a:rPr>
                          <a:t>05</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de-DE" sz="1400" dirty="0">
                            <a:solidFill>
                              <a:schemeClr val="bg1"/>
                            </a:solidFill>
                            <a:latin typeface="Arial" panose="020B0604020202020204" pitchFamily="34" charset="0"/>
                            <a:cs typeface="Arial" panose="020B0604020202020204" pitchFamily="34" charset="0"/>
                          </a:rPr>
                          <a:t>06</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de-DE" sz="1400" dirty="0">
                            <a:solidFill>
                              <a:schemeClr val="bg1"/>
                            </a:solidFill>
                            <a:latin typeface="Arial" panose="020B0604020202020204" pitchFamily="34" charset="0"/>
                            <a:cs typeface="Arial" panose="020B0604020202020204" pitchFamily="34" charset="0"/>
                          </a:rPr>
                          <a:t>07</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de-DE" sz="1400" dirty="0">
                            <a:solidFill>
                              <a:schemeClr val="bg1"/>
                            </a:solidFill>
                            <a:latin typeface="Arial" panose="020B0604020202020204" pitchFamily="34" charset="0"/>
                            <a:cs typeface="Arial" panose="020B0604020202020204" pitchFamily="34" charset="0"/>
                          </a:rPr>
                          <a:t>08</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de-DE" sz="1400" dirty="0">
                            <a:solidFill>
                              <a:schemeClr val="bg1"/>
                            </a:solidFill>
                            <a:latin typeface="Arial" panose="020B0604020202020204" pitchFamily="34" charset="0"/>
                            <a:cs typeface="Arial" panose="020B0604020202020204" pitchFamily="34" charset="0"/>
                          </a:rPr>
                          <a:t>09</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de-DE" sz="1400" dirty="0">
                            <a:solidFill>
                              <a:schemeClr val="bg1"/>
                            </a:solidFill>
                            <a:latin typeface="Arial" panose="020B0604020202020204" pitchFamily="34" charset="0"/>
                            <a:cs typeface="Arial" panose="020B0604020202020204" pitchFamily="34" charset="0"/>
                          </a:rPr>
                          <a:t>10</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de-DE" sz="1400" dirty="0">
                            <a:solidFill>
                              <a:schemeClr val="bg1"/>
                            </a:solidFill>
                            <a:latin typeface="Arial" panose="020B0604020202020204" pitchFamily="34" charset="0"/>
                            <a:cs typeface="Arial" panose="020B0604020202020204" pitchFamily="34" charset="0"/>
                          </a:rPr>
                          <a:t>11</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de-DE" sz="1400" dirty="0">
                            <a:solidFill>
                              <a:schemeClr val="bg1"/>
                            </a:solidFill>
                            <a:latin typeface="Arial" panose="020B0604020202020204" pitchFamily="34" charset="0"/>
                            <a:cs typeface="Arial" panose="020B0604020202020204" pitchFamily="34" charset="0"/>
                          </a:rPr>
                          <a:t>12</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de-DE" sz="1400" dirty="0">
                            <a:solidFill>
                              <a:schemeClr val="bg1"/>
                            </a:solidFill>
                            <a:latin typeface="Arial" panose="020B0604020202020204" pitchFamily="34" charset="0"/>
                            <a:cs typeface="Arial" panose="020B0604020202020204" pitchFamily="34" charset="0"/>
                          </a:rPr>
                          <a:t>01</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de-DE" sz="1400" dirty="0">
                            <a:solidFill>
                              <a:schemeClr val="bg1"/>
                            </a:solidFill>
                            <a:latin typeface="Arial" panose="020B0604020202020204" pitchFamily="34" charset="0"/>
                            <a:cs typeface="Arial" panose="020B0604020202020204" pitchFamily="34" charset="0"/>
                          </a:rPr>
                          <a:t>02</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de-DE" sz="1400" dirty="0">
                            <a:solidFill>
                              <a:schemeClr val="bg1"/>
                            </a:solidFill>
                            <a:latin typeface="Arial" panose="020B0604020202020204" pitchFamily="34" charset="0"/>
                            <a:cs typeface="Arial" panose="020B0604020202020204" pitchFamily="34" charset="0"/>
                          </a:rPr>
                          <a:t>03</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de-DE" sz="1400" dirty="0">
                            <a:solidFill>
                              <a:schemeClr val="bg1"/>
                            </a:solidFill>
                            <a:latin typeface="Arial" panose="020B0604020202020204" pitchFamily="34" charset="0"/>
                            <a:cs typeface="Arial" panose="020B0604020202020204" pitchFamily="34" charset="0"/>
                          </a:rPr>
                          <a:t>04</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3596538779"/>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de-DE" sz="1600" dirty="0">
                            <a:latin typeface="Arial" panose="020B0604020202020204" pitchFamily="34" charset="0"/>
                            <a:cs typeface="Arial" panose="020B0604020202020204" pitchFamily="34" charset="0"/>
                          </a:rPr>
                          <a:t>Design Phase - Stufe 1 </a:t>
                        </a:r>
                        <a:r>
                          <a:rPr lang="de-DE" sz="1400" dirty="0">
                            <a:latin typeface="Arial" panose="020B0604020202020204" pitchFamily="34" charset="0"/>
                            <a:cs typeface="Arial" panose="020B0604020202020204" pitchFamily="34" charset="0"/>
                          </a:rPr>
                          <a:t>(Themenfindung und Ziele)</a:t>
                        </a:r>
                        <a:endParaRPr lang="de-DE" sz="1600" dirty="0">
                          <a:latin typeface="Arial" panose="020B0604020202020204" pitchFamily="34" charset="0"/>
                          <a:cs typeface="Arial" panose="020B0604020202020204" pitchFamily="34" charset="0"/>
                        </a:endParaRP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val="3646624922"/>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latin typeface="Arial" panose="020B0604020202020204" pitchFamily="34" charset="0"/>
                            <a:cs typeface="Arial" panose="020B0604020202020204" pitchFamily="34" charset="0"/>
                          </a:rPr>
                          <a:t>Design Phase - Stufe 2 </a:t>
                        </a:r>
                        <a:r>
                          <a:rPr lang="de-DE" sz="1400" dirty="0">
                            <a:latin typeface="Arial" panose="020B0604020202020204" pitchFamily="34" charset="0"/>
                            <a:cs typeface="Arial" panose="020B0604020202020204" pitchFamily="34" charset="0"/>
                          </a:rPr>
                          <a:t>(Struktur,</a:t>
                        </a:r>
                        <a:r>
                          <a:rPr lang="de-DE" sz="1400" baseline="0" dirty="0">
                            <a:latin typeface="Arial" panose="020B0604020202020204" pitchFamily="34" charset="0"/>
                            <a:cs typeface="Arial" panose="020B0604020202020204" pitchFamily="34" charset="0"/>
                          </a:rPr>
                          <a:t> Schärfung, Budget)</a:t>
                        </a:r>
                        <a:endParaRPr lang="de-DE" sz="16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000" dirty="0">
                          <a:latin typeface="Arial" panose="020B0604020202020204" pitchFamily="34" charset="0"/>
                          <a:cs typeface="Arial" panose="020B0604020202020204" pitchFamily="34"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4137845745"/>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err="1">
                            <a:latin typeface="Arial" panose="020B0604020202020204" pitchFamily="34" charset="0"/>
                            <a:cs typeface="Arial" panose="020B0604020202020204" pitchFamily="34" charset="0"/>
                          </a:rPr>
                          <a:t>Matchmaking</a:t>
                        </a:r>
                        <a:endParaRPr lang="de-DE" sz="16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val="1526618862"/>
                    </a:ext>
                  </a:extLst>
                </a:tr>
                <a:tr h="47607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latin typeface="Arial" panose="020B0604020202020204" pitchFamily="34" charset="0"/>
                            <a:cs typeface="Arial" panose="020B0604020202020204" pitchFamily="34" charset="0"/>
                          </a:rPr>
                          <a:t>Design Phase - Stufe 3 </a:t>
                        </a:r>
                        <a:r>
                          <a:rPr lang="de-DE" sz="1400" dirty="0">
                            <a:latin typeface="Arial" panose="020B0604020202020204" pitchFamily="34" charset="0"/>
                            <a:cs typeface="Arial" panose="020B0604020202020204" pitchFamily="34" charset="0"/>
                          </a:rPr>
                          <a:t>(Projektauswahl,</a:t>
                        </a:r>
                        <a:r>
                          <a:rPr lang="de-DE" sz="1400" baseline="0" dirty="0">
                            <a:latin typeface="Arial" panose="020B0604020202020204" pitchFamily="34" charset="0"/>
                            <a:cs typeface="Arial" panose="020B0604020202020204" pitchFamily="34" charset="0"/>
                          </a:rPr>
                          <a:t> </a:t>
                        </a:r>
                        <a:r>
                          <a:rPr lang="de-DE" sz="1400" dirty="0">
                            <a:latin typeface="Arial" panose="020B0604020202020204" pitchFamily="34" charset="0"/>
                            <a:cs typeface="Arial" panose="020B0604020202020204" pitchFamily="34" charset="0"/>
                          </a:rPr>
                          <a:t>Chapeau)</a:t>
                        </a:r>
                        <a:endParaRPr lang="de-DE" sz="16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3584175003"/>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latin typeface="Arial" panose="020B0604020202020204" pitchFamily="34" charset="0"/>
                            <a:cs typeface="Arial" panose="020B0604020202020204" pitchFamily="34" charset="0"/>
                          </a:rPr>
                          <a:t>Pränotifizierung</a:t>
                        </a: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de-DE" sz="1400"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val="200796048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latin typeface="Arial" panose="020B0604020202020204" pitchFamily="34" charset="0"/>
                            <a:cs typeface="Arial" panose="020B0604020202020204" pitchFamily="34" charset="0"/>
                          </a:rPr>
                          <a:t>Themenfindung</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endParaRPr lang="de-DE" sz="1400"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chemeClr val="bg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54349996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latin typeface="Arial" panose="020B0604020202020204" pitchFamily="34" charset="0"/>
                            <a:cs typeface="Arial" panose="020B0604020202020204" pitchFamily="34" charset="0"/>
                          </a:rPr>
                          <a:t>Projektauswahl</a:t>
                        </a:r>
                        <a:br>
                          <a:rPr lang="de-DE" sz="1600" dirty="0">
                            <a:latin typeface="Arial" panose="020B0604020202020204" pitchFamily="34" charset="0"/>
                            <a:cs typeface="Arial" panose="020B0604020202020204" pitchFamily="34" charset="0"/>
                          </a:rPr>
                        </a:br>
                        <a:endParaRPr lang="de-DE" sz="1600" dirty="0">
                          <a:latin typeface="Arial" panose="020B0604020202020204" pitchFamily="34" charset="0"/>
                          <a:cs typeface="Arial" panose="020B0604020202020204" pitchFamily="34" charset="0"/>
                        </a:endParaRPr>
                      </a:p>
                    </a:txBody>
                    <a:tcPr marL="90000" marR="18000">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de-DE" sz="1400" dirty="0">
                          <a:latin typeface="Arial" panose="020B0604020202020204" pitchFamily="34" charset="0"/>
                          <a:cs typeface="Arial" panose="020B0604020202020204" pitchFamily="34" charset="0"/>
                        </a:endParaRPr>
                      </a:p>
                    </a:txBody>
                    <a:tcPr marL="18000" marR="1800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de-DE" sz="1400" dirty="0">
                          <a:latin typeface="Arial" panose="020B0604020202020204" pitchFamily="34" charset="0"/>
                          <a:cs typeface="Arial" panose="020B0604020202020204" pitchFamily="34" charset="0"/>
                        </a:endParaRPr>
                      </a:p>
                    </a:txBody>
                    <a:tcPr marL="18000" marR="1800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de-DE" sz="1400" dirty="0">
                          <a:latin typeface="Arial" panose="020B0604020202020204" pitchFamily="34" charset="0"/>
                          <a:cs typeface="Arial" panose="020B0604020202020204" pitchFamily="34" charset="0"/>
                        </a:endParaRPr>
                      </a:p>
                    </a:txBody>
                    <a:tcPr marL="18000" marR="1800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de-DE" sz="1400" dirty="0">
                          <a:latin typeface="Arial" panose="020B0604020202020204" pitchFamily="34" charset="0"/>
                          <a:cs typeface="Arial" panose="020B0604020202020204" pitchFamily="34" charset="0"/>
                        </a:endParaRPr>
                      </a:p>
                    </a:txBody>
                    <a:tcPr marL="18000" marR="1800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de-DE" sz="1400" dirty="0">
                          <a:latin typeface="Arial" panose="020B0604020202020204" pitchFamily="34" charset="0"/>
                          <a:cs typeface="Arial" panose="020B0604020202020204" pitchFamily="34" charset="0"/>
                        </a:endParaRPr>
                      </a:p>
                    </a:txBody>
                    <a:tcPr marL="18000" marR="1800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de-DE" sz="1400" dirty="0">
                          <a:latin typeface="Arial" panose="020B0604020202020204" pitchFamily="34" charset="0"/>
                          <a:cs typeface="Arial" panose="020B0604020202020204" pitchFamily="34" charset="0"/>
                        </a:endParaRPr>
                      </a:p>
                    </a:txBody>
                    <a:tcPr marL="18000" marR="1800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de-DE" sz="1400" dirty="0">
                          <a:latin typeface="Arial" panose="020B0604020202020204" pitchFamily="34" charset="0"/>
                          <a:cs typeface="Arial" panose="020B0604020202020204" pitchFamily="34" charset="0"/>
                        </a:endParaRPr>
                      </a:p>
                    </a:txBody>
                    <a:tcPr marL="18000" marR="1800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de-DE" sz="1400" dirty="0">
                          <a:latin typeface="Arial" panose="020B0604020202020204" pitchFamily="34" charset="0"/>
                          <a:cs typeface="Arial" panose="020B0604020202020204" pitchFamily="34" charset="0"/>
                        </a:endParaRPr>
                      </a:p>
                    </a:txBody>
                    <a:tcPr marL="18000" marR="1800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de-DE" sz="1400" dirty="0">
                          <a:latin typeface="Arial" panose="020B0604020202020204" pitchFamily="34" charset="0"/>
                          <a:cs typeface="Arial" panose="020B0604020202020204" pitchFamily="34" charset="0"/>
                        </a:endParaRPr>
                      </a:p>
                    </a:txBody>
                    <a:tcPr marL="18000" marR="1800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de-DE" sz="1400" dirty="0">
                          <a:latin typeface="Arial" panose="020B0604020202020204" pitchFamily="34" charset="0"/>
                          <a:cs typeface="Arial" panose="020B0604020202020204" pitchFamily="34" charset="0"/>
                        </a:endParaRPr>
                      </a:p>
                    </a:txBody>
                    <a:tcPr marL="18000" marR="1800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de-DE" sz="1400" dirty="0">
                          <a:latin typeface="Arial" panose="020B0604020202020204" pitchFamily="34" charset="0"/>
                          <a:cs typeface="Arial" panose="020B0604020202020204" pitchFamily="34" charset="0"/>
                        </a:endParaRPr>
                      </a:p>
                    </a:txBody>
                    <a:tcPr marL="18000" marR="1800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de-DE" sz="1400" dirty="0">
                          <a:latin typeface="Arial" panose="020B0604020202020204" pitchFamily="34" charset="0"/>
                          <a:cs typeface="Arial" panose="020B0604020202020204" pitchFamily="34" charset="0"/>
                        </a:endParaRPr>
                      </a:p>
                    </a:txBody>
                    <a:tcPr marL="18000" marR="1800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de-DE" sz="1400" dirty="0">
                          <a:latin typeface="Arial" panose="020B0604020202020204" pitchFamily="34" charset="0"/>
                          <a:cs typeface="Arial" panose="020B0604020202020204" pitchFamily="34" charset="0"/>
                        </a:endParaRPr>
                      </a:p>
                    </a:txBody>
                    <a:tcPr marL="18000" marR="1800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de-DE" sz="1400" dirty="0">
                          <a:latin typeface="Arial" panose="020B0604020202020204" pitchFamily="34" charset="0"/>
                          <a:cs typeface="Arial" panose="020B0604020202020204" pitchFamily="34" charset="0"/>
                        </a:endParaRPr>
                      </a:p>
                    </a:txBody>
                    <a:tcPr marL="18000" marR="1800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de-DE" sz="1400" dirty="0">
                          <a:latin typeface="Arial" panose="020B0604020202020204" pitchFamily="34" charset="0"/>
                          <a:cs typeface="Arial" panose="020B0604020202020204" pitchFamily="34" charset="0"/>
                        </a:endParaRPr>
                      </a:p>
                    </a:txBody>
                    <a:tcPr marL="18000" marR="18000">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807717323"/>
                    </a:ext>
                  </a:extLst>
                </a:tr>
              </a:tbl>
            </a:graphicData>
          </a:graphic>
        </p:graphicFrame>
        <p:sp>
          <p:nvSpPr>
            <p:cNvPr id="25" name="Abgerundetes Rechteck 10">
              <a:extLst>
                <a:ext uri="{FF2B5EF4-FFF2-40B4-BE49-F238E27FC236}">
                  <a16:creationId xmlns:a16="http://schemas.microsoft.com/office/drawing/2014/main" id="{73A11B2E-7295-4C9E-A065-C0579137D6F6}"/>
                </a:ext>
              </a:extLst>
            </p:cNvPr>
            <p:cNvSpPr/>
            <p:nvPr/>
          </p:nvSpPr>
          <p:spPr>
            <a:xfrm>
              <a:off x="3118687" y="2120330"/>
              <a:ext cx="3167502" cy="447572"/>
            </a:xfrm>
            <a:prstGeom prst="round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6" name="Abgerundetes Rechteck 11">
              <a:extLst>
                <a:ext uri="{FF2B5EF4-FFF2-40B4-BE49-F238E27FC236}">
                  <a16:creationId xmlns:a16="http://schemas.microsoft.com/office/drawing/2014/main" id="{CCB84CC9-64A9-4E52-B039-0FDC6DBA9F98}"/>
                </a:ext>
              </a:extLst>
            </p:cNvPr>
            <p:cNvSpPr/>
            <p:nvPr/>
          </p:nvSpPr>
          <p:spPr>
            <a:xfrm>
              <a:off x="5947576" y="2680740"/>
              <a:ext cx="2031906" cy="446400"/>
            </a:xfrm>
            <a:prstGeom prst="round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Abgerundetes Rechteck 12">
              <a:extLst>
                <a:ext uri="{FF2B5EF4-FFF2-40B4-BE49-F238E27FC236}">
                  <a16:creationId xmlns:a16="http://schemas.microsoft.com/office/drawing/2014/main" id="{287554E2-2517-41D5-9D37-15018649461D}"/>
                </a:ext>
              </a:extLst>
            </p:cNvPr>
            <p:cNvSpPr/>
            <p:nvPr/>
          </p:nvSpPr>
          <p:spPr>
            <a:xfrm>
              <a:off x="7643761" y="3609756"/>
              <a:ext cx="2948148" cy="446400"/>
            </a:xfrm>
            <a:prstGeom prst="round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8" name="Abgerundetes Rechteck 13">
              <a:extLst>
                <a:ext uri="{FF2B5EF4-FFF2-40B4-BE49-F238E27FC236}">
                  <a16:creationId xmlns:a16="http://schemas.microsoft.com/office/drawing/2014/main" id="{7D0F109F-7AF8-4867-8373-73C35BC40C1F}"/>
                </a:ext>
              </a:extLst>
            </p:cNvPr>
            <p:cNvSpPr/>
            <p:nvPr/>
          </p:nvSpPr>
          <p:spPr>
            <a:xfrm>
              <a:off x="7113615" y="3199148"/>
              <a:ext cx="443983" cy="311296"/>
            </a:xfrm>
            <a:prstGeom prst="round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2" name="Abgerundetes Rechteck 16">
              <a:extLst>
                <a:ext uri="{FF2B5EF4-FFF2-40B4-BE49-F238E27FC236}">
                  <a16:creationId xmlns:a16="http://schemas.microsoft.com/office/drawing/2014/main" id="{754A503E-1C01-428F-B580-A2B12CFC272C}"/>
                </a:ext>
              </a:extLst>
            </p:cNvPr>
            <p:cNvSpPr/>
            <p:nvPr/>
          </p:nvSpPr>
          <p:spPr>
            <a:xfrm>
              <a:off x="3018330" y="4495292"/>
              <a:ext cx="3272952" cy="313200"/>
            </a:xfrm>
            <a:prstGeom prst="round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1" name="Abgerundetes Rechteck 22">
              <a:extLst>
                <a:ext uri="{FF2B5EF4-FFF2-40B4-BE49-F238E27FC236}">
                  <a16:creationId xmlns:a16="http://schemas.microsoft.com/office/drawing/2014/main" id="{69F454B9-4BE4-4F5C-ABAF-D2A3377D4682}"/>
                </a:ext>
              </a:extLst>
            </p:cNvPr>
            <p:cNvSpPr/>
            <p:nvPr/>
          </p:nvSpPr>
          <p:spPr>
            <a:xfrm>
              <a:off x="8053835" y="4919957"/>
              <a:ext cx="3243095" cy="418877"/>
            </a:xfrm>
            <a:prstGeom prst="round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effectLst/>
                  <a:uLnTx/>
                  <a:uFillTx/>
                </a:rPr>
                <a:t>Nationaler Förderprozess</a:t>
              </a:r>
            </a:p>
          </p:txBody>
        </p:sp>
        <p:sp>
          <p:nvSpPr>
            <p:cNvPr id="43" name="Abgerundetes Rechteck 15">
              <a:extLst>
                <a:ext uri="{FF2B5EF4-FFF2-40B4-BE49-F238E27FC236}">
                  <a16:creationId xmlns:a16="http://schemas.microsoft.com/office/drawing/2014/main" id="{FC1EE43A-C84D-4081-9C7B-B5B1DDCE91CB}"/>
                </a:ext>
              </a:extLst>
            </p:cNvPr>
            <p:cNvSpPr/>
            <p:nvPr/>
          </p:nvSpPr>
          <p:spPr>
            <a:xfrm>
              <a:off x="10662412" y="4122668"/>
              <a:ext cx="443983" cy="311296"/>
            </a:xfrm>
            <a:prstGeom prst="round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5" name="Abgerundetes Rechteck 10">
              <a:extLst>
                <a:ext uri="{FF2B5EF4-FFF2-40B4-BE49-F238E27FC236}">
                  <a16:creationId xmlns:a16="http://schemas.microsoft.com/office/drawing/2014/main" id="{A4B903C1-5E5A-48E0-9986-0B865DB95BB1}"/>
                </a:ext>
              </a:extLst>
            </p:cNvPr>
            <p:cNvSpPr/>
            <p:nvPr/>
          </p:nvSpPr>
          <p:spPr>
            <a:xfrm>
              <a:off x="3013237" y="2120330"/>
              <a:ext cx="3272952" cy="447572"/>
            </a:xfrm>
            <a:prstGeom prst="roundRect">
              <a:avLst/>
            </a:prstGeom>
            <a:solidFill>
              <a:srgbClr val="FFC000"/>
            </a:solidFill>
            <a:ln w="12700" cap="flat" cmpd="sng" algn="ctr">
              <a:solidFill>
                <a:srgbClr val="FFC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sp>
        <p:nvSpPr>
          <p:cNvPr id="4" name="Rechteck 3">
            <a:extLst>
              <a:ext uri="{FF2B5EF4-FFF2-40B4-BE49-F238E27FC236}">
                <a16:creationId xmlns:a16="http://schemas.microsoft.com/office/drawing/2014/main" id="{A8237C53-DAD9-49D3-84AA-482175815FCB}"/>
              </a:ext>
            </a:extLst>
          </p:cNvPr>
          <p:cNvSpPr/>
          <p:nvPr/>
        </p:nvSpPr>
        <p:spPr>
          <a:xfrm>
            <a:off x="793905" y="2676696"/>
            <a:ext cx="2495682" cy="52560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Rechteck 21">
            <a:extLst>
              <a:ext uri="{FF2B5EF4-FFF2-40B4-BE49-F238E27FC236}">
                <a16:creationId xmlns:a16="http://schemas.microsoft.com/office/drawing/2014/main" id="{90EC2C84-6549-49AF-8862-7D369611E8A2}"/>
              </a:ext>
            </a:extLst>
          </p:cNvPr>
          <p:cNvSpPr/>
          <p:nvPr/>
        </p:nvSpPr>
        <p:spPr>
          <a:xfrm>
            <a:off x="794787" y="5078144"/>
            <a:ext cx="2494800" cy="34200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36" name="Gerader Verbinder 35">
            <a:extLst>
              <a:ext uri="{FF2B5EF4-FFF2-40B4-BE49-F238E27FC236}">
                <a16:creationId xmlns:a16="http://schemas.microsoft.com/office/drawing/2014/main" id="{C5F3E562-4FCD-46BC-899A-7E8D665D5566}"/>
              </a:ext>
            </a:extLst>
          </p:cNvPr>
          <p:cNvCxnSpPr>
            <a:cxnSpLocks/>
          </p:cNvCxnSpPr>
          <p:nvPr/>
        </p:nvCxnSpPr>
        <p:spPr>
          <a:xfrm>
            <a:off x="6023992" y="2017954"/>
            <a:ext cx="0" cy="399265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47" name="Group 132">
            <a:extLst>
              <a:ext uri="{FF2B5EF4-FFF2-40B4-BE49-F238E27FC236}">
                <a16:creationId xmlns:a16="http://schemas.microsoft.com/office/drawing/2014/main" id="{919BE36B-1B88-4357-AA6B-774415B8005F}"/>
              </a:ext>
            </a:extLst>
          </p:cNvPr>
          <p:cNvGrpSpPr>
            <a:grpSpLocks noChangeAspect="1"/>
          </p:cNvGrpSpPr>
          <p:nvPr/>
        </p:nvGrpSpPr>
        <p:grpSpPr bwMode="auto">
          <a:xfrm>
            <a:off x="231495" y="3505518"/>
            <a:ext cx="525100" cy="560874"/>
            <a:chOff x="2582" y="2110"/>
            <a:chExt cx="411" cy="439"/>
          </a:xfrm>
          <a:solidFill>
            <a:schemeClr val="accent3"/>
          </a:solidFill>
        </p:grpSpPr>
        <p:sp>
          <p:nvSpPr>
            <p:cNvPr id="48" name="Freeform 133">
              <a:extLst>
                <a:ext uri="{FF2B5EF4-FFF2-40B4-BE49-F238E27FC236}">
                  <a16:creationId xmlns:a16="http://schemas.microsoft.com/office/drawing/2014/main" id="{559132D8-7A8E-4602-A8EC-4DEE7FF098BA}"/>
                </a:ext>
              </a:extLst>
            </p:cNvPr>
            <p:cNvSpPr>
              <a:spLocks/>
            </p:cNvSpPr>
            <p:nvPr/>
          </p:nvSpPr>
          <p:spPr bwMode="auto">
            <a:xfrm>
              <a:off x="2601" y="2145"/>
              <a:ext cx="0" cy="398"/>
            </a:xfrm>
            <a:custGeom>
              <a:avLst/>
              <a:gdLst>
                <a:gd name="T0" fmla="*/ 398 h 398"/>
                <a:gd name="T1" fmla="*/ 0 h 398"/>
                <a:gd name="T2" fmla="*/ 398 h 398"/>
              </a:gdLst>
              <a:ahLst/>
              <a:cxnLst>
                <a:cxn ang="0">
                  <a:pos x="0" y="T0"/>
                </a:cxn>
                <a:cxn ang="0">
                  <a:pos x="0" y="T1"/>
                </a:cxn>
                <a:cxn ang="0">
                  <a:pos x="0" y="T2"/>
                </a:cxn>
              </a:cxnLst>
              <a:rect l="0" t="0" r="r" b="b"/>
              <a:pathLst>
                <a:path h="398">
                  <a:moveTo>
                    <a:pt x="0" y="398"/>
                  </a:moveTo>
                  <a:lnTo>
                    <a:pt x="0" y="0"/>
                  </a:lnTo>
                  <a:lnTo>
                    <a:pt x="0" y="3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Line 134">
              <a:extLst>
                <a:ext uri="{FF2B5EF4-FFF2-40B4-BE49-F238E27FC236}">
                  <a16:creationId xmlns:a16="http://schemas.microsoft.com/office/drawing/2014/main" id="{FA071747-0E71-451A-8548-D7D0872F46D2}"/>
                </a:ext>
              </a:extLst>
            </p:cNvPr>
            <p:cNvSpPr>
              <a:spLocks noChangeShapeType="1"/>
            </p:cNvSpPr>
            <p:nvPr/>
          </p:nvSpPr>
          <p:spPr bwMode="auto">
            <a:xfrm flipV="1">
              <a:off x="2601" y="2145"/>
              <a:ext cx="0" cy="398"/>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135">
              <a:extLst>
                <a:ext uri="{FF2B5EF4-FFF2-40B4-BE49-F238E27FC236}">
                  <a16:creationId xmlns:a16="http://schemas.microsoft.com/office/drawing/2014/main" id="{47837B33-65CD-402F-9986-22F8E2A093BE}"/>
                </a:ext>
              </a:extLst>
            </p:cNvPr>
            <p:cNvSpPr>
              <a:spLocks/>
            </p:cNvSpPr>
            <p:nvPr/>
          </p:nvSpPr>
          <p:spPr bwMode="auto">
            <a:xfrm>
              <a:off x="2594" y="2138"/>
              <a:ext cx="13" cy="411"/>
            </a:xfrm>
            <a:custGeom>
              <a:avLst/>
              <a:gdLst>
                <a:gd name="T0" fmla="*/ 6 w 12"/>
                <a:gd name="T1" fmla="*/ 392 h 392"/>
                <a:gd name="T2" fmla="*/ 0 w 12"/>
                <a:gd name="T3" fmla="*/ 386 h 392"/>
                <a:gd name="T4" fmla="*/ 0 w 12"/>
                <a:gd name="T5" fmla="*/ 6 h 392"/>
                <a:gd name="T6" fmla="*/ 6 w 12"/>
                <a:gd name="T7" fmla="*/ 0 h 392"/>
                <a:gd name="T8" fmla="*/ 12 w 12"/>
                <a:gd name="T9" fmla="*/ 6 h 392"/>
                <a:gd name="T10" fmla="*/ 12 w 12"/>
                <a:gd name="T11" fmla="*/ 386 h 392"/>
                <a:gd name="T12" fmla="*/ 6 w 12"/>
                <a:gd name="T13" fmla="*/ 392 h 392"/>
              </a:gdLst>
              <a:ahLst/>
              <a:cxnLst>
                <a:cxn ang="0">
                  <a:pos x="T0" y="T1"/>
                </a:cxn>
                <a:cxn ang="0">
                  <a:pos x="T2" y="T3"/>
                </a:cxn>
                <a:cxn ang="0">
                  <a:pos x="T4" y="T5"/>
                </a:cxn>
                <a:cxn ang="0">
                  <a:pos x="T6" y="T7"/>
                </a:cxn>
                <a:cxn ang="0">
                  <a:pos x="T8" y="T9"/>
                </a:cxn>
                <a:cxn ang="0">
                  <a:pos x="T10" y="T11"/>
                </a:cxn>
                <a:cxn ang="0">
                  <a:pos x="T12" y="T13"/>
                </a:cxn>
              </a:cxnLst>
              <a:rect l="0" t="0" r="r" b="b"/>
              <a:pathLst>
                <a:path w="12" h="392">
                  <a:moveTo>
                    <a:pt x="6" y="392"/>
                  </a:moveTo>
                  <a:cubicBezTo>
                    <a:pt x="3" y="392"/>
                    <a:pt x="0" y="390"/>
                    <a:pt x="0" y="386"/>
                  </a:cubicBezTo>
                  <a:cubicBezTo>
                    <a:pt x="0" y="6"/>
                    <a:pt x="0" y="6"/>
                    <a:pt x="0" y="6"/>
                  </a:cubicBezTo>
                  <a:cubicBezTo>
                    <a:pt x="0" y="3"/>
                    <a:pt x="3" y="0"/>
                    <a:pt x="6" y="0"/>
                  </a:cubicBezTo>
                  <a:cubicBezTo>
                    <a:pt x="10" y="0"/>
                    <a:pt x="12" y="3"/>
                    <a:pt x="12" y="6"/>
                  </a:cubicBezTo>
                  <a:cubicBezTo>
                    <a:pt x="12" y="386"/>
                    <a:pt x="12" y="386"/>
                    <a:pt x="12" y="386"/>
                  </a:cubicBezTo>
                  <a:cubicBezTo>
                    <a:pt x="12" y="390"/>
                    <a:pt x="10" y="392"/>
                    <a:pt x="6" y="3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Oval 136">
              <a:extLst>
                <a:ext uri="{FF2B5EF4-FFF2-40B4-BE49-F238E27FC236}">
                  <a16:creationId xmlns:a16="http://schemas.microsoft.com/office/drawing/2014/main" id="{D77E2B27-733A-47CA-8722-ABB58DB54DA2}"/>
                </a:ext>
              </a:extLst>
            </p:cNvPr>
            <p:cNvSpPr>
              <a:spLocks noChangeArrowheads="1"/>
            </p:cNvSpPr>
            <p:nvPr/>
          </p:nvSpPr>
          <p:spPr bwMode="auto">
            <a:xfrm>
              <a:off x="2582" y="2110"/>
              <a:ext cx="39" cy="3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137">
              <a:extLst>
                <a:ext uri="{FF2B5EF4-FFF2-40B4-BE49-F238E27FC236}">
                  <a16:creationId xmlns:a16="http://schemas.microsoft.com/office/drawing/2014/main" id="{BAB0B656-55D9-425A-B22E-0244DF857338}"/>
                </a:ext>
              </a:extLst>
            </p:cNvPr>
            <p:cNvSpPr>
              <a:spLocks noEditPoints="1"/>
            </p:cNvSpPr>
            <p:nvPr/>
          </p:nvSpPr>
          <p:spPr bwMode="auto">
            <a:xfrm>
              <a:off x="2614" y="2124"/>
              <a:ext cx="379" cy="290"/>
            </a:xfrm>
            <a:custGeom>
              <a:avLst/>
              <a:gdLst>
                <a:gd name="T0" fmla="*/ 6 w 362"/>
                <a:gd name="T1" fmla="*/ 270 h 277"/>
                <a:gd name="T2" fmla="*/ 4 w 362"/>
                <a:gd name="T3" fmla="*/ 269 h 277"/>
                <a:gd name="T4" fmla="*/ 0 w 362"/>
                <a:gd name="T5" fmla="*/ 264 h 277"/>
                <a:gd name="T6" fmla="*/ 0 w 362"/>
                <a:gd name="T7" fmla="*/ 63 h 277"/>
                <a:gd name="T8" fmla="*/ 1 w 362"/>
                <a:gd name="T9" fmla="*/ 59 h 277"/>
                <a:gd name="T10" fmla="*/ 208 w 362"/>
                <a:gd name="T11" fmla="*/ 28 h 277"/>
                <a:gd name="T12" fmla="*/ 355 w 362"/>
                <a:gd name="T13" fmla="*/ 30 h 277"/>
                <a:gd name="T14" fmla="*/ 360 w 362"/>
                <a:gd name="T15" fmla="*/ 31 h 277"/>
                <a:gd name="T16" fmla="*/ 362 w 362"/>
                <a:gd name="T17" fmla="*/ 36 h 277"/>
                <a:gd name="T18" fmla="*/ 362 w 362"/>
                <a:gd name="T19" fmla="*/ 246 h 277"/>
                <a:gd name="T20" fmla="*/ 359 w 362"/>
                <a:gd name="T21" fmla="*/ 252 h 277"/>
                <a:gd name="T22" fmla="*/ 185 w 362"/>
                <a:gd name="T23" fmla="*/ 226 h 277"/>
                <a:gd name="T24" fmla="*/ 11 w 362"/>
                <a:gd name="T25" fmla="*/ 268 h 277"/>
                <a:gd name="T26" fmla="*/ 6 w 362"/>
                <a:gd name="T27" fmla="*/ 270 h 277"/>
                <a:gd name="T28" fmla="*/ 128 w 362"/>
                <a:gd name="T29" fmla="*/ 202 h 277"/>
                <a:gd name="T30" fmla="*/ 190 w 362"/>
                <a:gd name="T31" fmla="*/ 215 h 277"/>
                <a:gd name="T32" fmla="*/ 350 w 362"/>
                <a:gd name="T33" fmla="*/ 242 h 277"/>
                <a:gd name="T34" fmla="*/ 350 w 362"/>
                <a:gd name="T35" fmla="*/ 43 h 277"/>
                <a:gd name="T36" fmla="*/ 202 w 362"/>
                <a:gd name="T37" fmla="*/ 38 h 277"/>
                <a:gd name="T38" fmla="*/ 12 w 362"/>
                <a:gd name="T39" fmla="*/ 65 h 277"/>
                <a:gd name="T40" fmla="*/ 12 w 362"/>
                <a:gd name="T41" fmla="*/ 250 h 277"/>
                <a:gd name="T42" fmla="*/ 128 w 362"/>
                <a:gd name="T43"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2" h="277">
                  <a:moveTo>
                    <a:pt x="6" y="270"/>
                  </a:moveTo>
                  <a:cubicBezTo>
                    <a:pt x="5" y="270"/>
                    <a:pt x="5" y="270"/>
                    <a:pt x="4" y="269"/>
                  </a:cubicBezTo>
                  <a:cubicBezTo>
                    <a:pt x="2" y="269"/>
                    <a:pt x="0" y="266"/>
                    <a:pt x="0" y="264"/>
                  </a:cubicBezTo>
                  <a:cubicBezTo>
                    <a:pt x="0" y="63"/>
                    <a:pt x="0" y="63"/>
                    <a:pt x="0" y="63"/>
                  </a:cubicBezTo>
                  <a:cubicBezTo>
                    <a:pt x="0" y="61"/>
                    <a:pt x="1" y="60"/>
                    <a:pt x="1" y="59"/>
                  </a:cubicBezTo>
                  <a:cubicBezTo>
                    <a:pt x="42" y="4"/>
                    <a:pt x="157" y="0"/>
                    <a:pt x="208" y="28"/>
                  </a:cubicBezTo>
                  <a:cubicBezTo>
                    <a:pt x="255" y="53"/>
                    <a:pt x="354" y="30"/>
                    <a:pt x="355" y="30"/>
                  </a:cubicBezTo>
                  <a:cubicBezTo>
                    <a:pt x="357" y="29"/>
                    <a:pt x="359" y="30"/>
                    <a:pt x="360" y="31"/>
                  </a:cubicBezTo>
                  <a:cubicBezTo>
                    <a:pt x="362" y="32"/>
                    <a:pt x="362" y="34"/>
                    <a:pt x="362" y="36"/>
                  </a:cubicBezTo>
                  <a:cubicBezTo>
                    <a:pt x="362" y="246"/>
                    <a:pt x="362" y="246"/>
                    <a:pt x="362" y="246"/>
                  </a:cubicBezTo>
                  <a:cubicBezTo>
                    <a:pt x="362" y="249"/>
                    <a:pt x="361" y="251"/>
                    <a:pt x="359" y="252"/>
                  </a:cubicBezTo>
                  <a:cubicBezTo>
                    <a:pt x="300" y="277"/>
                    <a:pt x="289" y="272"/>
                    <a:pt x="185" y="226"/>
                  </a:cubicBezTo>
                  <a:cubicBezTo>
                    <a:pt x="87" y="183"/>
                    <a:pt x="11" y="267"/>
                    <a:pt x="11" y="268"/>
                  </a:cubicBezTo>
                  <a:cubicBezTo>
                    <a:pt x="9" y="269"/>
                    <a:pt x="8" y="270"/>
                    <a:pt x="6" y="270"/>
                  </a:cubicBezTo>
                  <a:close/>
                  <a:moveTo>
                    <a:pt x="128" y="202"/>
                  </a:moveTo>
                  <a:cubicBezTo>
                    <a:pt x="147" y="202"/>
                    <a:pt x="168" y="206"/>
                    <a:pt x="190" y="215"/>
                  </a:cubicBezTo>
                  <a:cubicBezTo>
                    <a:pt x="289" y="259"/>
                    <a:pt x="300" y="264"/>
                    <a:pt x="350" y="242"/>
                  </a:cubicBezTo>
                  <a:cubicBezTo>
                    <a:pt x="350" y="43"/>
                    <a:pt x="350" y="43"/>
                    <a:pt x="350" y="43"/>
                  </a:cubicBezTo>
                  <a:cubicBezTo>
                    <a:pt x="326" y="48"/>
                    <a:pt x="246" y="62"/>
                    <a:pt x="202" y="38"/>
                  </a:cubicBezTo>
                  <a:cubicBezTo>
                    <a:pt x="156" y="14"/>
                    <a:pt x="50" y="16"/>
                    <a:pt x="12" y="65"/>
                  </a:cubicBezTo>
                  <a:cubicBezTo>
                    <a:pt x="12" y="250"/>
                    <a:pt x="12" y="250"/>
                    <a:pt x="12" y="250"/>
                  </a:cubicBezTo>
                  <a:cubicBezTo>
                    <a:pt x="31" y="233"/>
                    <a:pt x="73" y="202"/>
                    <a:pt x="128"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Oval 138">
              <a:extLst>
                <a:ext uri="{FF2B5EF4-FFF2-40B4-BE49-F238E27FC236}">
                  <a16:creationId xmlns:a16="http://schemas.microsoft.com/office/drawing/2014/main" id="{B16DF4C8-AA18-4974-BBC5-6F4202D2E15E}"/>
                </a:ext>
              </a:extLst>
            </p:cNvPr>
            <p:cNvSpPr>
              <a:spLocks noChangeArrowheads="1"/>
            </p:cNvSpPr>
            <p:nvPr/>
          </p:nvSpPr>
          <p:spPr bwMode="auto">
            <a:xfrm>
              <a:off x="2784" y="2183"/>
              <a:ext cx="14" cy="1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139">
              <a:extLst>
                <a:ext uri="{FF2B5EF4-FFF2-40B4-BE49-F238E27FC236}">
                  <a16:creationId xmlns:a16="http://schemas.microsoft.com/office/drawing/2014/main" id="{D3F87AA9-8128-4689-AEEF-253BB35BECEA}"/>
                </a:ext>
              </a:extLst>
            </p:cNvPr>
            <p:cNvSpPr>
              <a:spLocks noEditPoints="1"/>
            </p:cNvSpPr>
            <p:nvPr/>
          </p:nvSpPr>
          <p:spPr bwMode="auto">
            <a:xfrm>
              <a:off x="2778" y="2177"/>
              <a:ext cx="27" cy="27"/>
            </a:xfrm>
            <a:custGeom>
              <a:avLst/>
              <a:gdLst>
                <a:gd name="T0" fmla="*/ 13 w 26"/>
                <a:gd name="T1" fmla="*/ 26 h 26"/>
                <a:gd name="T2" fmla="*/ 0 w 26"/>
                <a:gd name="T3" fmla="*/ 13 h 26"/>
                <a:gd name="T4" fmla="*/ 13 w 26"/>
                <a:gd name="T5" fmla="*/ 0 h 26"/>
                <a:gd name="T6" fmla="*/ 26 w 26"/>
                <a:gd name="T7" fmla="*/ 13 h 26"/>
                <a:gd name="T8" fmla="*/ 13 w 26"/>
                <a:gd name="T9" fmla="*/ 26 h 26"/>
                <a:gd name="T10" fmla="*/ 13 w 26"/>
                <a:gd name="T11" fmla="*/ 12 h 26"/>
                <a:gd name="T12" fmla="*/ 12 w 26"/>
                <a:gd name="T13" fmla="*/ 13 h 26"/>
                <a:gd name="T14" fmla="*/ 14 w 26"/>
                <a:gd name="T15" fmla="*/ 13 h 26"/>
                <a:gd name="T16" fmla="*/ 13 w 26"/>
                <a:gd name="T1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6">
                  <a:moveTo>
                    <a:pt x="13" y="26"/>
                  </a:moveTo>
                  <a:cubicBezTo>
                    <a:pt x="6" y="26"/>
                    <a:pt x="0" y="20"/>
                    <a:pt x="0" y="13"/>
                  </a:cubicBezTo>
                  <a:cubicBezTo>
                    <a:pt x="0" y="6"/>
                    <a:pt x="6" y="0"/>
                    <a:pt x="13" y="0"/>
                  </a:cubicBezTo>
                  <a:cubicBezTo>
                    <a:pt x="20" y="0"/>
                    <a:pt x="26" y="6"/>
                    <a:pt x="26" y="13"/>
                  </a:cubicBezTo>
                  <a:cubicBezTo>
                    <a:pt x="26" y="20"/>
                    <a:pt x="20" y="26"/>
                    <a:pt x="13" y="26"/>
                  </a:cubicBezTo>
                  <a:close/>
                  <a:moveTo>
                    <a:pt x="13" y="12"/>
                  </a:moveTo>
                  <a:cubicBezTo>
                    <a:pt x="12" y="12"/>
                    <a:pt x="12" y="13"/>
                    <a:pt x="12" y="13"/>
                  </a:cubicBezTo>
                  <a:cubicBezTo>
                    <a:pt x="12" y="14"/>
                    <a:pt x="14" y="14"/>
                    <a:pt x="14" y="13"/>
                  </a:cubicBezTo>
                  <a:cubicBezTo>
                    <a:pt x="14" y="13"/>
                    <a:pt x="13" y="12"/>
                    <a:pt x="1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140">
              <a:extLst>
                <a:ext uri="{FF2B5EF4-FFF2-40B4-BE49-F238E27FC236}">
                  <a16:creationId xmlns:a16="http://schemas.microsoft.com/office/drawing/2014/main" id="{59A64C40-5F75-4461-A163-9F66026CF488}"/>
                </a:ext>
              </a:extLst>
            </p:cNvPr>
            <p:cNvSpPr>
              <a:spLocks/>
            </p:cNvSpPr>
            <p:nvPr/>
          </p:nvSpPr>
          <p:spPr bwMode="auto">
            <a:xfrm>
              <a:off x="2813" y="2192"/>
              <a:ext cx="17" cy="15"/>
            </a:xfrm>
            <a:custGeom>
              <a:avLst/>
              <a:gdLst>
                <a:gd name="T0" fmla="*/ 14 w 16"/>
                <a:gd name="T1" fmla="*/ 11 h 15"/>
                <a:gd name="T2" fmla="*/ 4 w 16"/>
                <a:gd name="T3" fmla="*/ 13 h 15"/>
                <a:gd name="T4" fmla="*/ 2 w 16"/>
                <a:gd name="T5" fmla="*/ 4 h 15"/>
                <a:gd name="T6" fmla="*/ 12 w 16"/>
                <a:gd name="T7" fmla="*/ 2 h 15"/>
                <a:gd name="T8" fmla="*/ 14 w 16"/>
                <a:gd name="T9" fmla="*/ 11 h 15"/>
              </a:gdLst>
              <a:ahLst/>
              <a:cxnLst>
                <a:cxn ang="0">
                  <a:pos x="T0" y="T1"/>
                </a:cxn>
                <a:cxn ang="0">
                  <a:pos x="T2" y="T3"/>
                </a:cxn>
                <a:cxn ang="0">
                  <a:pos x="T4" y="T5"/>
                </a:cxn>
                <a:cxn ang="0">
                  <a:pos x="T6" y="T7"/>
                </a:cxn>
                <a:cxn ang="0">
                  <a:pos x="T8" y="T9"/>
                </a:cxn>
              </a:cxnLst>
              <a:rect l="0" t="0" r="r" b="b"/>
              <a:pathLst>
                <a:path w="16" h="15">
                  <a:moveTo>
                    <a:pt x="14" y="11"/>
                  </a:moveTo>
                  <a:cubicBezTo>
                    <a:pt x="12" y="14"/>
                    <a:pt x="7" y="15"/>
                    <a:pt x="4" y="13"/>
                  </a:cubicBezTo>
                  <a:cubicBezTo>
                    <a:pt x="1" y="11"/>
                    <a:pt x="0" y="7"/>
                    <a:pt x="2" y="4"/>
                  </a:cubicBezTo>
                  <a:cubicBezTo>
                    <a:pt x="4" y="1"/>
                    <a:pt x="9" y="0"/>
                    <a:pt x="12" y="2"/>
                  </a:cubicBezTo>
                  <a:cubicBezTo>
                    <a:pt x="15" y="4"/>
                    <a:pt x="16" y="8"/>
                    <a:pt x="1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141">
              <a:extLst>
                <a:ext uri="{FF2B5EF4-FFF2-40B4-BE49-F238E27FC236}">
                  <a16:creationId xmlns:a16="http://schemas.microsoft.com/office/drawing/2014/main" id="{DF313F81-EB7C-45AC-8A44-AC33243967F4}"/>
                </a:ext>
              </a:extLst>
            </p:cNvPr>
            <p:cNvSpPr>
              <a:spLocks noEditPoints="1"/>
            </p:cNvSpPr>
            <p:nvPr/>
          </p:nvSpPr>
          <p:spPr bwMode="auto">
            <a:xfrm>
              <a:off x="2807" y="2185"/>
              <a:ext cx="28" cy="28"/>
            </a:xfrm>
            <a:custGeom>
              <a:avLst/>
              <a:gdLst>
                <a:gd name="T0" fmla="*/ 14 w 27"/>
                <a:gd name="T1" fmla="*/ 26 h 26"/>
                <a:gd name="T2" fmla="*/ 7 w 27"/>
                <a:gd name="T3" fmla="*/ 24 h 26"/>
                <a:gd name="T4" fmla="*/ 3 w 27"/>
                <a:gd name="T5" fmla="*/ 7 h 26"/>
                <a:gd name="T6" fmla="*/ 11 w 27"/>
                <a:gd name="T7" fmla="*/ 1 h 26"/>
                <a:gd name="T8" fmla="*/ 21 w 27"/>
                <a:gd name="T9" fmla="*/ 3 h 26"/>
                <a:gd name="T10" fmla="*/ 27 w 27"/>
                <a:gd name="T11" fmla="*/ 11 h 26"/>
                <a:gd name="T12" fmla="*/ 25 w 27"/>
                <a:gd name="T13" fmla="*/ 21 h 26"/>
                <a:gd name="T14" fmla="*/ 25 w 27"/>
                <a:gd name="T15" fmla="*/ 21 h 26"/>
                <a:gd name="T16" fmla="*/ 14 w 27"/>
                <a:gd name="T17" fmla="*/ 26 h 26"/>
                <a:gd name="T18" fmla="*/ 14 w 27"/>
                <a:gd name="T19" fmla="*/ 13 h 26"/>
                <a:gd name="T20" fmla="*/ 13 w 27"/>
                <a:gd name="T21" fmla="*/ 13 h 26"/>
                <a:gd name="T22" fmla="*/ 14 w 27"/>
                <a:gd name="T23" fmla="*/ 14 h 26"/>
                <a:gd name="T24" fmla="*/ 15 w 27"/>
                <a:gd name="T25" fmla="*/ 14 h 26"/>
                <a:gd name="T26" fmla="*/ 14 w 27"/>
                <a:gd name="T27" fmla="*/ 13 h 26"/>
                <a:gd name="T28" fmla="*/ 14 w 27"/>
                <a:gd name="T2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6">
                  <a:moveTo>
                    <a:pt x="14" y="26"/>
                  </a:moveTo>
                  <a:cubicBezTo>
                    <a:pt x="12" y="26"/>
                    <a:pt x="9" y="26"/>
                    <a:pt x="7" y="24"/>
                  </a:cubicBezTo>
                  <a:cubicBezTo>
                    <a:pt x="1" y="20"/>
                    <a:pt x="0" y="13"/>
                    <a:pt x="3" y="7"/>
                  </a:cubicBezTo>
                  <a:cubicBezTo>
                    <a:pt x="5" y="4"/>
                    <a:pt x="8" y="2"/>
                    <a:pt x="11" y="1"/>
                  </a:cubicBezTo>
                  <a:cubicBezTo>
                    <a:pt x="15" y="0"/>
                    <a:pt x="18" y="1"/>
                    <a:pt x="21" y="3"/>
                  </a:cubicBezTo>
                  <a:cubicBezTo>
                    <a:pt x="24" y="5"/>
                    <a:pt x="26" y="8"/>
                    <a:pt x="27" y="11"/>
                  </a:cubicBezTo>
                  <a:cubicBezTo>
                    <a:pt x="27" y="14"/>
                    <a:pt x="27" y="18"/>
                    <a:pt x="25" y="21"/>
                  </a:cubicBezTo>
                  <a:cubicBezTo>
                    <a:pt x="25" y="21"/>
                    <a:pt x="25" y="21"/>
                    <a:pt x="25" y="21"/>
                  </a:cubicBezTo>
                  <a:cubicBezTo>
                    <a:pt x="22" y="24"/>
                    <a:pt x="18" y="26"/>
                    <a:pt x="14" y="26"/>
                  </a:cubicBezTo>
                  <a:close/>
                  <a:moveTo>
                    <a:pt x="14" y="13"/>
                  </a:moveTo>
                  <a:cubicBezTo>
                    <a:pt x="14" y="13"/>
                    <a:pt x="14" y="13"/>
                    <a:pt x="13" y="13"/>
                  </a:cubicBezTo>
                  <a:cubicBezTo>
                    <a:pt x="13" y="14"/>
                    <a:pt x="13" y="14"/>
                    <a:pt x="14" y="14"/>
                  </a:cubicBezTo>
                  <a:cubicBezTo>
                    <a:pt x="14" y="15"/>
                    <a:pt x="14" y="14"/>
                    <a:pt x="15" y="14"/>
                  </a:cubicBezTo>
                  <a:cubicBezTo>
                    <a:pt x="15" y="14"/>
                    <a:pt x="15" y="13"/>
                    <a:pt x="14" y="13"/>
                  </a:cubicBezTo>
                  <a:cubicBezTo>
                    <a:pt x="14" y="13"/>
                    <a:pt x="14" y="13"/>
                    <a:pt x="14"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142">
              <a:extLst>
                <a:ext uri="{FF2B5EF4-FFF2-40B4-BE49-F238E27FC236}">
                  <a16:creationId xmlns:a16="http://schemas.microsoft.com/office/drawing/2014/main" id="{13F9387C-1117-48A2-B45F-73296B6AC99E}"/>
                </a:ext>
              </a:extLst>
            </p:cNvPr>
            <p:cNvSpPr>
              <a:spLocks/>
            </p:cNvSpPr>
            <p:nvPr/>
          </p:nvSpPr>
          <p:spPr bwMode="auto">
            <a:xfrm>
              <a:off x="2751" y="2192"/>
              <a:ext cx="16" cy="15"/>
            </a:xfrm>
            <a:custGeom>
              <a:avLst/>
              <a:gdLst>
                <a:gd name="T0" fmla="*/ 13 w 15"/>
                <a:gd name="T1" fmla="*/ 11 h 15"/>
                <a:gd name="T2" fmla="*/ 4 w 15"/>
                <a:gd name="T3" fmla="*/ 13 h 15"/>
                <a:gd name="T4" fmla="*/ 2 w 15"/>
                <a:gd name="T5" fmla="*/ 4 h 15"/>
                <a:gd name="T6" fmla="*/ 11 w 15"/>
                <a:gd name="T7" fmla="*/ 2 h 15"/>
                <a:gd name="T8" fmla="*/ 13 w 15"/>
                <a:gd name="T9" fmla="*/ 11 h 15"/>
              </a:gdLst>
              <a:ahLst/>
              <a:cxnLst>
                <a:cxn ang="0">
                  <a:pos x="T0" y="T1"/>
                </a:cxn>
                <a:cxn ang="0">
                  <a:pos x="T2" y="T3"/>
                </a:cxn>
                <a:cxn ang="0">
                  <a:pos x="T4" y="T5"/>
                </a:cxn>
                <a:cxn ang="0">
                  <a:pos x="T6" y="T7"/>
                </a:cxn>
                <a:cxn ang="0">
                  <a:pos x="T8" y="T9"/>
                </a:cxn>
              </a:cxnLst>
              <a:rect l="0" t="0" r="r" b="b"/>
              <a:pathLst>
                <a:path w="15" h="15">
                  <a:moveTo>
                    <a:pt x="13" y="11"/>
                  </a:moveTo>
                  <a:cubicBezTo>
                    <a:pt x="11" y="14"/>
                    <a:pt x="7" y="15"/>
                    <a:pt x="4" y="13"/>
                  </a:cubicBezTo>
                  <a:cubicBezTo>
                    <a:pt x="1" y="11"/>
                    <a:pt x="0" y="7"/>
                    <a:pt x="2" y="4"/>
                  </a:cubicBezTo>
                  <a:cubicBezTo>
                    <a:pt x="4" y="1"/>
                    <a:pt x="8" y="0"/>
                    <a:pt x="11" y="2"/>
                  </a:cubicBezTo>
                  <a:cubicBezTo>
                    <a:pt x="14" y="4"/>
                    <a:pt x="15" y="8"/>
                    <a:pt x="1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143">
              <a:extLst>
                <a:ext uri="{FF2B5EF4-FFF2-40B4-BE49-F238E27FC236}">
                  <a16:creationId xmlns:a16="http://schemas.microsoft.com/office/drawing/2014/main" id="{E2B2B181-CBB9-4112-BF74-36B224FD2997}"/>
                </a:ext>
              </a:extLst>
            </p:cNvPr>
            <p:cNvSpPr>
              <a:spLocks noEditPoints="1"/>
            </p:cNvSpPr>
            <p:nvPr/>
          </p:nvSpPr>
          <p:spPr bwMode="auto">
            <a:xfrm>
              <a:off x="2744" y="2184"/>
              <a:ext cx="29" cy="29"/>
            </a:xfrm>
            <a:custGeom>
              <a:avLst/>
              <a:gdLst>
                <a:gd name="T0" fmla="*/ 14 w 28"/>
                <a:gd name="T1" fmla="*/ 27 h 27"/>
                <a:gd name="T2" fmla="*/ 7 w 28"/>
                <a:gd name="T3" fmla="*/ 25 h 27"/>
                <a:gd name="T4" fmla="*/ 4 w 28"/>
                <a:gd name="T5" fmla="*/ 8 h 27"/>
                <a:gd name="T6" fmla="*/ 21 w 28"/>
                <a:gd name="T7" fmla="*/ 4 h 27"/>
                <a:gd name="T8" fmla="*/ 27 w 28"/>
                <a:gd name="T9" fmla="*/ 12 h 27"/>
                <a:gd name="T10" fmla="*/ 25 w 28"/>
                <a:gd name="T11" fmla="*/ 22 h 27"/>
                <a:gd name="T12" fmla="*/ 17 w 28"/>
                <a:gd name="T13" fmla="*/ 27 h 27"/>
                <a:gd name="T14" fmla="*/ 14 w 28"/>
                <a:gd name="T15" fmla="*/ 27 h 27"/>
                <a:gd name="T16" fmla="*/ 14 w 28"/>
                <a:gd name="T17" fmla="*/ 14 h 27"/>
                <a:gd name="T18" fmla="*/ 14 w 28"/>
                <a:gd name="T19" fmla="*/ 14 h 27"/>
                <a:gd name="T20" fmla="*/ 14 w 28"/>
                <a:gd name="T21" fmla="*/ 15 h 27"/>
                <a:gd name="T22" fmla="*/ 15 w 28"/>
                <a:gd name="T23" fmla="*/ 15 h 27"/>
                <a:gd name="T24" fmla="*/ 15 w 28"/>
                <a:gd name="T25" fmla="*/ 14 h 27"/>
                <a:gd name="T26" fmla="*/ 14 w 28"/>
                <a:gd name="T27"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7">
                  <a:moveTo>
                    <a:pt x="14" y="27"/>
                  </a:moveTo>
                  <a:cubicBezTo>
                    <a:pt x="12" y="27"/>
                    <a:pt x="10" y="27"/>
                    <a:pt x="7" y="25"/>
                  </a:cubicBezTo>
                  <a:cubicBezTo>
                    <a:pt x="2" y="21"/>
                    <a:pt x="0" y="14"/>
                    <a:pt x="4" y="8"/>
                  </a:cubicBezTo>
                  <a:cubicBezTo>
                    <a:pt x="8" y="2"/>
                    <a:pt x="16" y="0"/>
                    <a:pt x="21" y="4"/>
                  </a:cubicBezTo>
                  <a:cubicBezTo>
                    <a:pt x="24" y="6"/>
                    <a:pt x="26" y="9"/>
                    <a:pt x="27" y="12"/>
                  </a:cubicBezTo>
                  <a:cubicBezTo>
                    <a:pt x="28" y="15"/>
                    <a:pt x="27" y="19"/>
                    <a:pt x="25" y="22"/>
                  </a:cubicBezTo>
                  <a:cubicBezTo>
                    <a:pt x="23" y="24"/>
                    <a:pt x="20" y="26"/>
                    <a:pt x="17" y="27"/>
                  </a:cubicBezTo>
                  <a:cubicBezTo>
                    <a:pt x="16" y="27"/>
                    <a:pt x="15" y="27"/>
                    <a:pt x="14" y="27"/>
                  </a:cubicBezTo>
                  <a:close/>
                  <a:moveTo>
                    <a:pt x="14" y="14"/>
                  </a:moveTo>
                  <a:cubicBezTo>
                    <a:pt x="14" y="14"/>
                    <a:pt x="14" y="14"/>
                    <a:pt x="14" y="14"/>
                  </a:cubicBezTo>
                  <a:cubicBezTo>
                    <a:pt x="14" y="15"/>
                    <a:pt x="14" y="15"/>
                    <a:pt x="14" y="15"/>
                  </a:cubicBezTo>
                  <a:cubicBezTo>
                    <a:pt x="14" y="15"/>
                    <a:pt x="15" y="15"/>
                    <a:pt x="15" y="15"/>
                  </a:cubicBezTo>
                  <a:cubicBezTo>
                    <a:pt x="15" y="15"/>
                    <a:pt x="15" y="14"/>
                    <a:pt x="15" y="14"/>
                  </a:cubicBezTo>
                  <a:cubicBezTo>
                    <a:pt x="15" y="14"/>
                    <a:pt x="15" y="14"/>
                    <a:pt x="14"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144">
              <a:extLst>
                <a:ext uri="{FF2B5EF4-FFF2-40B4-BE49-F238E27FC236}">
                  <a16:creationId xmlns:a16="http://schemas.microsoft.com/office/drawing/2014/main" id="{EF16E49F-1CE2-444B-9591-7B3DDA31DAE0}"/>
                </a:ext>
              </a:extLst>
            </p:cNvPr>
            <p:cNvSpPr>
              <a:spLocks/>
            </p:cNvSpPr>
            <p:nvPr/>
          </p:nvSpPr>
          <p:spPr bwMode="auto">
            <a:xfrm>
              <a:off x="2836" y="2218"/>
              <a:ext cx="16" cy="16"/>
            </a:xfrm>
            <a:custGeom>
              <a:avLst/>
              <a:gdLst>
                <a:gd name="T0" fmla="*/ 13 w 15"/>
                <a:gd name="T1" fmla="*/ 11 h 15"/>
                <a:gd name="T2" fmla="*/ 4 w 15"/>
                <a:gd name="T3" fmla="*/ 13 h 15"/>
                <a:gd name="T4" fmla="*/ 2 w 15"/>
                <a:gd name="T5" fmla="*/ 4 h 15"/>
                <a:gd name="T6" fmla="*/ 11 w 15"/>
                <a:gd name="T7" fmla="*/ 2 h 15"/>
                <a:gd name="T8" fmla="*/ 13 w 15"/>
                <a:gd name="T9" fmla="*/ 11 h 15"/>
              </a:gdLst>
              <a:ahLst/>
              <a:cxnLst>
                <a:cxn ang="0">
                  <a:pos x="T0" y="T1"/>
                </a:cxn>
                <a:cxn ang="0">
                  <a:pos x="T2" y="T3"/>
                </a:cxn>
                <a:cxn ang="0">
                  <a:pos x="T4" y="T5"/>
                </a:cxn>
                <a:cxn ang="0">
                  <a:pos x="T6" y="T7"/>
                </a:cxn>
                <a:cxn ang="0">
                  <a:pos x="T8" y="T9"/>
                </a:cxn>
              </a:cxnLst>
              <a:rect l="0" t="0" r="r" b="b"/>
              <a:pathLst>
                <a:path w="15" h="15">
                  <a:moveTo>
                    <a:pt x="13" y="11"/>
                  </a:moveTo>
                  <a:cubicBezTo>
                    <a:pt x="11" y="14"/>
                    <a:pt x="7" y="15"/>
                    <a:pt x="4" y="13"/>
                  </a:cubicBezTo>
                  <a:cubicBezTo>
                    <a:pt x="0" y="11"/>
                    <a:pt x="0" y="7"/>
                    <a:pt x="2" y="4"/>
                  </a:cubicBezTo>
                  <a:cubicBezTo>
                    <a:pt x="4" y="1"/>
                    <a:pt x="8" y="0"/>
                    <a:pt x="11" y="2"/>
                  </a:cubicBezTo>
                  <a:cubicBezTo>
                    <a:pt x="14" y="4"/>
                    <a:pt x="15" y="8"/>
                    <a:pt x="1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145">
              <a:extLst>
                <a:ext uri="{FF2B5EF4-FFF2-40B4-BE49-F238E27FC236}">
                  <a16:creationId xmlns:a16="http://schemas.microsoft.com/office/drawing/2014/main" id="{ABFE6D23-837E-493A-A3A9-EE533F8D0DE5}"/>
                </a:ext>
              </a:extLst>
            </p:cNvPr>
            <p:cNvSpPr>
              <a:spLocks noEditPoints="1"/>
            </p:cNvSpPr>
            <p:nvPr/>
          </p:nvSpPr>
          <p:spPr bwMode="auto">
            <a:xfrm>
              <a:off x="2829" y="2211"/>
              <a:ext cx="30" cy="28"/>
            </a:xfrm>
            <a:custGeom>
              <a:avLst/>
              <a:gdLst>
                <a:gd name="T0" fmla="*/ 14 w 29"/>
                <a:gd name="T1" fmla="*/ 27 h 27"/>
                <a:gd name="T2" fmla="*/ 7 w 29"/>
                <a:gd name="T3" fmla="*/ 25 h 27"/>
                <a:gd name="T4" fmla="*/ 4 w 29"/>
                <a:gd name="T5" fmla="*/ 7 h 27"/>
                <a:gd name="T6" fmla="*/ 21 w 29"/>
                <a:gd name="T7" fmla="*/ 4 h 27"/>
                <a:gd name="T8" fmla="*/ 25 w 29"/>
                <a:gd name="T9" fmla="*/ 21 h 27"/>
                <a:gd name="T10" fmla="*/ 25 w 29"/>
                <a:gd name="T11" fmla="*/ 21 h 27"/>
                <a:gd name="T12" fmla="*/ 14 w 29"/>
                <a:gd name="T13" fmla="*/ 27 h 27"/>
                <a:gd name="T14" fmla="*/ 14 w 29"/>
                <a:gd name="T15" fmla="*/ 14 h 27"/>
                <a:gd name="T16" fmla="*/ 14 w 29"/>
                <a:gd name="T17" fmla="*/ 14 h 27"/>
                <a:gd name="T18" fmla="*/ 14 w 29"/>
                <a:gd name="T19" fmla="*/ 15 h 27"/>
                <a:gd name="T20" fmla="*/ 15 w 29"/>
                <a:gd name="T21" fmla="*/ 15 h 27"/>
                <a:gd name="T22" fmla="*/ 15 w 29"/>
                <a:gd name="T23" fmla="*/ 14 h 27"/>
                <a:gd name="T24" fmla="*/ 14 w 29"/>
                <a:gd name="T25"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27">
                  <a:moveTo>
                    <a:pt x="14" y="27"/>
                  </a:moveTo>
                  <a:cubicBezTo>
                    <a:pt x="12" y="27"/>
                    <a:pt x="9" y="26"/>
                    <a:pt x="7" y="25"/>
                  </a:cubicBezTo>
                  <a:cubicBezTo>
                    <a:pt x="1" y="21"/>
                    <a:pt x="0" y="13"/>
                    <a:pt x="4" y="7"/>
                  </a:cubicBezTo>
                  <a:cubicBezTo>
                    <a:pt x="7" y="2"/>
                    <a:pt x="15" y="0"/>
                    <a:pt x="21" y="4"/>
                  </a:cubicBezTo>
                  <a:cubicBezTo>
                    <a:pt x="27" y="8"/>
                    <a:pt x="29" y="15"/>
                    <a:pt x="25" y="21"/>
                  </a:cubicBezTo>
                  <a:cubicBezTo>
                    <a:pt x="25" y="21"/>
                    <a:pt x="25" y="21"/>
                    <a:pt x="25" y="21"/>
                  </a:cubicBezTo>
                  <a:cubicBezTo>
                    <a:pt x="23" y="25"/>
                    <a:pt x="18" y="27"/>
                    <a:pt x="14" y="27"/>
                  </a:cubicBezTo>
                  <a:close/>
                  <a:moveTo>
                    <a:pt x="14" y="14"/>
                  </a:moveTo>
                  <a:cubicBezTo>
                    <a:pt x="14" y="14"/>
                    <a:pt x="14" y="14"/>
                    <a:pt x="14" y="14"/>
                  </a:cubicBezTo>
                  <a:cubicBezTo>
                    <a:pt x="13" y="14"/>
                    <a:pt x="13" y="15"/>
                    <a:pt x="14" y="15"/>
                  </a:cubicBezTo>
                  <a:cubicBezTo>
                    <a:pt x="14" y="15"/>
                    <a:pt x="15" y="15"/>
                    <a:pt x="15" y="15"/>
                  </a:cubicBezTo>
                  <a:cubicBezTo>
                    <a:pt x="15" y="14"/>
                    <a:pt x="15" y="14"/>
                    <a:pt x="15" y="14"/>
                  </a:cubicBezTo>
                  <a:cubicBezTo>
                    <a:pt x="15" y="14"/>
                    <a:pt x="14" y="14"/>
                    <a:pt x="14"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Freeform 146">
              <a:extLst>
                <a:ext uri="{FF2B5EF4-FFF2-40B4-BE49-F238E27FC236}">
                  <a16:creationId xmlns:a16="http://schemas.microsoft.com/office/drawing/2014/main" id="{278B0AE1-ECE2-4B91-B9A1-BE650462C6DF}"/>
                </a:ext>
              </a:extLst>
            </p:cNvPr>
            <p:cNvSpPr>
              <a:spLocks/>
            </p:cNvSpPr>
            <p:nvPr/>
          </p:nvSpPr>
          <p:spPr bwMode="auto">
            <a:xfrm>
              <a:off x="2730" y="2218"/>
              <a:ext cx="17" cy="16"/>
            </a:xfrm>
            <a:custGeom>
              <a:avLst/>
              <a:gdLst>
                <a:gd name="T0" fmla="*/ 14 w 16"/>
                <a:gd name="T1" fmla="*/ 11 h 15"/>
                <a:gd name="T2" fmla="*/ 4 w 16"/>
                <a:gd name="T3" fmla="*/ 13 h 15"/>
                <a:gd name="T4" fmla="*/ 2 w 16"/>
                <a:gd name="T5" fmla="*/ 4 h 15"/>
                <a:gd name="T6" fmla="*/ 12 w 16"/>
                <a:gd name="T7" fmla="*/ 2 h 15"/>
                <a:gd name="T8" fmla="*/ 14 w 16"/>
                <a:gd name="T9" fmla="*/ 11 h 15"/>
              </a:gdLst>
              <a:ahLst/>
              <a:cxnLst>
                <a:cxn ang="0">
                  <a:pos x="T0" y="T1"/>
                </a:cxn>
                <a:cxn ang="0">
                  <a:pos x="T2" y="T3"/>
                </a:cxn>
                <a:cxn ang="0">
                  <a:pos x="T4" y="T5"/>
                </a:cxn>
                <a:cxn ang="0">
                  <a:pos x="T6" y="T7"/>
                </a:cxn>
                <a:cxn ang="0">
                  <a:pos x="T8" y="T9"/>
                </a:cxn>
              </a:cxnLst>
              <a:rect l="0" t="0" r="r" b="b"/>
              <a:pathLst>
                <a:path w="16" h="15">
                  <a:moveTo>
                    <a:pt x="14" y="11"/>
                  </a:moveTo>
                  <a:cubicBezTo>
                    <a:pt x="12" y="14"/>
                    <a:pt x="7" y="15"/>
                    <a:pt x="4" y="13"/>
                  </a:cubicBezTo>
                  <a:cubicBezTo>
                    <a:pt x="1" y="11"/>
                    <a:pt x="0" y="7"/>
                    <a:pt x="2" y="4"/>
                  </a:cubicBezTo>
                  <a:cubicBezTo>
                    <a:pt x="4" y="1"/>
                    <a:pt x="9" y="0"/>
                    <a:pt x="12" y="2"/>
                  </a:cubicBezTo>
                  <a:cubicBezTo>
                    <a:pt x="15" y="4"/>
                    <a:pt x="16" y="8"/>
                    <a:pt x="1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Freeform 147">
              <a:extLst>
                <a:ext uri="{FF2B5EF4-FFF2-40B4-BE49-F238E27FC236}">
                  <a16:creationId xmlns:a16="http://schemas.microsoft.com/office/drawing/2014/main" id="{6A256C07-A284-43A3-BA8B-0300E132377E}"/>
                </a:ext>
              </a:extLst>
            </p:cNvPr>
            <p:cNvSpPr>
              <a:spLocks noEditPoints="1"/>
            </p:cNvSpPr>
            <p:nvPr/>
          </p:nvSpPr>
          <p:spPr bwMode="auto">
            <a:xfrm>
              <a:off x="2723" y="2211"/>
              <a:ext cx="32" cy="28"/>
            </a:xfrm>
            <a:custGeom>
              <a:avLst/>
              <a:gdLst>
                <a:gd name="T0" fmla="*/ 15 w 30"/>
                <a:gd name="T1" fmla="*/ 27 h 27"/>
                <a:gd name="T2" fmla="*/ 8 w 30"/>
                <a:gd name="T3" fmla="*/ 25 h 27"/>
                <a:gd name="T4" fmla="*/ 4 w 30"/>
                <a:gd name="T5" fmla="*/ 7 h 27"/>
                <a:gd name="T6" fmla="*/ 22 w 30"/>
                <a:gd name="T7" fmla="*/ 4 h 27"/>
                <a:gd name="T8" fmla="*/ 26 w 30"/>
                <a:gd name="T9" fmla="*/ 21 h 27"/>
                <a:gd name="T10" fmla="*/ 26 w 30"/>
                <a:gd name="T11" fmla="*/ 21 h 27"/>
                <a:gd name="T12" fmla="*/ 15 w 30"/>
                <a:gd name="T13" fmla="*/ 27 h 27"/>
                <a:gd name="T14" fmla="*/ 15 w 30"/>
                <a:gd name="T15" fmla="*/ 14 h 27"/>
                <a:gd name="T16" fmla="*/ 14 w 30"/>
                <a:gd name="T17" fmla="*/ 14 h 27"/>
                <a:gd name="T18" fmla="*/ 15 w 30"/>
                <a:gd name="T19" fmla="*/ 15 h 27"/>
                <a:gd name="T20" fmla="*/ 16 w 30"/>
                <a:gd name="T21" fmla="*/ 15 h 27"/>
                <a:gd name="T22" fmla="*/ 15 w 30"/>
                <a:gd name="T23" fmla="*/ 14 h 27"/>
                <a:gd name="T24" fmla="*/ 15 w 30"/>
                <a:gd name="T25"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27">
                  <a:moveTo>
                    <a:pt x="15" y="27"/>
                  </a:moveTo>
                  <a:cubicBezTo>
                    <a:pt x="13" y="27"/>
                    <a:pt x="10" y="26"/>
                    <a:pt x="8" y="25"/>
                  </a:cubicBezTo>
                  <a:cubicBezTo>
                    <a:pt x="2" y="21"/>
                    <a:pt x="0" y="13"/>
                    <a:pt x="4" y="7"/>
                  </a:cubicBezTo>
                  <a:cubicBezTo>
                    <a:pt x="8" y="2"/>
                    <a:pt x="16" y="0"/>
                    <a:pt x="22" y="4"/>
                  </a:cubicBezTo>
                  <a:cubicBezTo>
                    <a:pt x="28" y="8"/>
                    <a:pt x="30" y="15"/>
                    <a:pt x="26" y="21"/>
                  </a:cubicBezTo>
                  <a:cubicBezTo>
                    <a:pt x="26" y="21"/>
                    <a:pt x="26" y="21"/>
                    <a:pt x="26" y="21"/>
                  </a:cubicBezTo>
                  <a:cubicBezTo>
                    <a:pt x="23" y="25"/>
                    <a:pt x="19" y="27"/>
                    <a:pt x="15" y="27"/>
                  </a:cubicBezTo>
                  <a:close/>
                  <a:moveTo>
                    <a:pt x="15" y="14"/>
                  </a:moveTo>
                  <a:cubicBezTo>
                    <a:pt x="15" y="14"/>
                    <a:pt x="15" y="14"/>
                    <a:pt x="14" y="14"/>
                  </a:cubicBezTo>
                  <a:cubicBezTo>
                    <a:pt x="14" y="14"/>
                    <a:pt x="14" y="15"/>
                    <a:pt x="15" y="15"/>
                  </a:cubicBezTo>
                  <a:cubicBezTo>
                    <a:pt x="15" y="15"/>
                    <a:pt x="15" y="15"/>
                    <a:pt x="16" y="15"/>
                  </a:cubicBezTo>
                  <a:cubicBezTo>
                    <a:pt x="16" y="14"/>
                    <a:pt x="16" y="14"/>
                    <a:pt x="15" y="14"/>
                  </a:cubicBezTo>
                  <a:cubicBezTo>
                    <a:pt x="15" y="14"/>
                    <a:pt x="15" y="14"/>
                    <a:pt x="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Freeform 148">
              <a:extLst>
                <a:ext uri="{FF2B5EF4-FFF2-40B4-BE49-F238E27FC236}">
                  <a16:creationId xmlns:a16="http://schemas.microsoft.com/office/drawing/2014/main" id="{BF79E9CA-3A77-4019-B9F3-510D0DFBB95F}"/>
                </a:ext>
              </a:extLst>
            </p:cNvPr>
            <p:cNvSpPr>
              <a:spLocks/>
            </p:cNvSpPr>
            <p:nvPr/>
          </p:nvSpPr>
          <p:spPr bwMode="auto">
            <a:xfrm>
              <a:off x="2840" y="2249"/>
              <a:ext cx="17" cy="16"/>
            </a:xfrm>
            <a:custGeom>
              <a:avLst/>
              <a:gdLst>
                <a:gd name="T0" fmla="*/ 14 w 16"/>
                <a:gd name="T1" fmla="*/ 11 h 15"/>
                <a:gd name="T2" fmla="*/ 4 w 16"/>
                <a:gd name="T3" fmla="*/ 13 h 15"/>
                <a:gd name="T4" fmla="*/ 2 w 16"/>
                <a:gd name="T5" fmla="*/ 4 h 15"/>
                <a:gd name="T6" fmla="*/ 12 w 16"/>
                <a:gd name="T7" fmla="*/ 2 h 15"/>
                <a:gd name="T8" fmla="*/ 14 w 16"/>
                <a:gd name="T9" fmla="*/ 11 h 15"/>
              </a:gdLst>
              <a:ahLst/>
              <a:cxnLst>
                <a:cxn ang="0">
                  <a:pos x="T0" y="T1"/>
                </a:cxn>
                <a:cxn ang="0">
                  <a:pos x="T2" y="T3"/>
                </a:cxn>
                <a:cxn ang="0">
                  <a:pos x="T4" y="T5"/>
                </a:cxn>
                <a:cxn ang="0">
                  <a:pos x="T6" y="T7"/>
                </a:cxn>
                <a:cxn ang="0">
                  <a:pos x="T8" y="T9"/>
                </a:cxn>
              </a:cxnLst>
              <a:rect l="0" t="0" r="r" b="b"/>
              <a:pathLst>
                <a:path w="16" h="15">
                  <a:moveTo>
                    <a:pt x="14" y="11"/>
                  </a:moveTo>
                  <a:cubicBezTo>
                    <a:pt x="11" y="15"/>
                    <a:pt x="7" y="15"/>
                    <a:pt x="4" y="13"/>
                  </a:cubicBezTo>
                  <a:cubicBezTo>
                    <a:pt x="1" y="11"/>
                    <a:pt x="0" y="7"/>
                    <a:pt x="2" y="4"/>
                  </a:cubicBezTo>
                  <a:cubicBezTo>
                    <a:pt x="4" y="1"/>
                    <a:pt x="8" y="0"/>
                    <a:pt x="12" y="2"/>
                  </a:cubicBezTo>
                  <a:cubicBezTo>
                    <a:pt x="15" y="4"/>
                    <a:pt x="16" y="8"/>
                    <a:pt x="1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4" name="Freeform 149">
              <a:extLst>
                <a:ext uri="{FF2B5EF4-FFF2-40B4-BE49-F238E27FC236}">
                  <a16:creationId xmlns:a16="http://schemas.microsoft.com/office/drawing/2014/main" id="{CD066794-2B52-47D8-B5F1-F0835B1075AF}"/>
                </a:ext>
              </a:extLst>
            </p:cNvPr>
            <p:cNvSpPr>
              <a:spLocks noEditPoints="1"/>
            </p:cNvSpPr>
            <p:nvPr/>
          </p:nvSpPr>
          <p:spPr bwMode="auto">
            <a:xfrm>
              <a:off x="2833" y="2244"/>
              <a:ext cx="29" cy="27"/>
            </a:xfrm>
            <a:custGeom>
              <a:avLst/>
              <a:gdLst>
                <a:gd name="T0" fmla="*/ 15 w 28"/>
                <a:gd name="T1" fmla="*/ 26 h 26"/>
                <a:gd name="T2" fmla="*/ 8 w 28"/>
                <a:gd name="T3" fmla="*/ 23 h 26"/>
                <a:gd name="T4" fmla="*/ 4 w 28"/>
                <a:gd name="T5" fmla="*/ 6 h 26"/>
                <a:gd name="T6" fmla="*/ 12 w 28"/>
                <a:gd name="T7" fmla="*/ 0 h 26"/>
                <a:gd name="T8" fmla="*/ 22 w 28"/>
                <a:gd name="T9" fmla="*/ 2 h 26"/>
                <a:gd name="T10" fmla="*/ 27 w 28"/>
                <a:gd name="T11" fmla="*/ 10 h 26"/>
                <a:gd name="T12" fmla="*/ 26 w 28"/>
                <a:gd name="T13" fmla="*/ 20 h 26"/>
                <a:gd name="T14" fmla="*/ 26 w 28"/>
                <a:gd name="T15" fmla="*/ 20 h 26"/>
                <a:gd name="T16" fmla="*/ 15 w 28"/>
                <a:gd name="T17" fmla="*/ 26 h 26"/>
                <a:gd name="T18" fmla="*/ 15 w 28"/>
                <a:gd name="T19" fmla="*/ 12 h 26"/>
                <a:gd name="T20" fmla="*/ 14 w 28"/>
                <a:gd name="T21" fmla="*/ 12 h 26"/>
                <a:gd name="T22" fmla="*/ 14 w 28"/>
                <a:gd name="T23" fmla="*/ 13 h 26"/>
                <a:gd name="T24" fmla="*/ 15 w 28"/>
                <a:gd name="T25" fmla="*/ 13 h 26"/>
                <a:gd name="T26" fmla="*/ 15 w 28"/>
                <a:gd name="T27" fmla="*/ 13 h 26"/>
                <a:gd name="T28" fmla="*/ 16 w 28"/>
                <a:gd name="T29" fmla="*/ 13 h 26"/>
                <a:gd name="T30" fmla="*/ 15 w 28"/>
                <a:gd name="T31" fmla="*/ 12 h 26"/>
                <a:gd name="T32" fmla="*/ 15 w 28"/>
                <a:gd name="T3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6">
                  <a:moveTo>
                    <a:pt x="15" y="26"/>
                  </a:moveTo>
                  <a:cubicBezTo>
                    <a:pt x="12" y="26"/>
                    <a:pt x="10" y="25"/>
                    <a:pt x="8" y="23"/>
                  </a:cubicBezTo>
                  <a:cubicBezTo>
                    <a:pt x="2" y="20"/>
                    <a:pt x="0" y="12"/>
                    <a:pt x="4" y="6"/>
                  </a:cubicBezTo>
                  <a:cubicBezTo>
                    <a:pt x="6" y="3"/>
                    <a:pt x="9" y="1"/>
                    <a:pt x="12" y="0"/>
                  </a:cubicBezTo>
                  <a:cubicBezTo>
                    <a:pt x="16" y="0"/>
                    <a:pt x="19" y="0"/>
                    <a:pt x="22" y="2"/>
                  </a:cubicBezTo>
                  <a:cubicBezTo>
                    <a:pt x="25" y="4"/>
                    <a:pt x="27" y="7"/>
                    <a:pt x="27" y="10"/>
                  </a:cubicBezTo>
                  <a:cubicBezTo>
                    <a:pt x="28" y="13"/>
                    <a:pt x="27" y="17"/>
                    <a:pt x="26" y="20"/>
                  </a:cubicBezTo>
                  <a:cubicBezTo>
                    <a:pt x="26" y="20"/>
                    <a:pt x="26" y="20"/>
                    <a:pt x="26" y="20"/>
                  </a:cubicBezTo>
                  <a:cubicBezTo>
                    <a:pt x="23" y="24"/>
                    <a:pt x="19" y="26"/>
                    <a:pt x="15" y="26"/>
                  </a:cubicBezTo>
                  <a:close/>
                  <a:moveTo>
                    <a:pt x="15" y="12"/>
                  </a:moveTo>
                  <a:cubicBezTo>
                    <a:pt x="15" y="12"/>
                    <a:pt x="14" y="12"/>
                    <a:pt x="14" y="12"/>
                  </a:cubicBezTo>
                  <a:cubicBezTo>
                    <a:pt x="14" y="13"/>
                    <a:pt x="14" y="13"/>
                    <a:pt x="14" y="13"/>
                  </a:cubicBezTo>
                  <a:cubicBezTo>
                    <a:pt x="15" y="14"/>
                    <a:pt x="15" y="14"/>
                    <a:pt x="15" y="13"/>
                  </a:cubicBezTo>
                  <a:cubicBezTo>
                    <a:pt x="15" y="13"/>
                    <a:pt x="15" y="13"/>
                    <a:pt x="15" y="13"/>
                  </a:cubicBezTo>
                  <a:cubicBezTo>
                    <a:pt x="16" y="13"/>
                    <a:pt x="16" y="13"/>
                    <a:pt x="16" y="13"/>
                  </a:cubicBezTo>
                  <a:cubicBezTo>
                    <a:pt x="16" y="12"/>
                    <a:pt x="15" y="12"/>
                    <a:pt x="15" y="12"/>
                  </a:cubicBezTo>
                  <a:cubicBezTo>
                    <a:pt x="15" y="12"/>
                    <a:pt x="15" y="12"/>
                    <a:pt x="1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5" name="Freeform 150">
              <a:extLst>
                <a:ext uri="{FF2B5EF4-FFF2-40B4-BE49-F238E27FC236}">
                  <a16:creationId xmlns:a16="http://schemas.microsoft.com/office/drawing/2014/main" id="{F5AB51B5-C75D-4D8E-9DFC-37474545C3E1}"/>
                </a:ext>
              </a:extLst>
            </p:cNvPr>
            <p:cNvSpPr>
              <a:spLocks/>
            </p:cNvSpPr>
            <p:nvPr/>
          </p:nvSpPr>
          <p:spPr bwMode="auto">
            <a:xfrm>
              <a:off x="2724" y="2249"/>
              <a:ext cx="17" cy="16"/>
            </a:xfrm>
            <a:custGeom>
              <a:avLst/>
              <a:gdLst>
                <a:gd name="T0" fmla="*/ 13 w 16"/>
                <a:gd name="T1" fmla="*/ 11 h 15"/>
                <a:gd name="T2" fmla="*/ 4 w 16"/>
                <a:gd name="T3" fmla="*/ 13 h 15"/>
                <a:gd name="T4" fmla="*/ 2 w 16"/>
                <a:gd name="T5" fmla="*/ 4 h 15"/>
                <a:gd name="T6" fmla="*/ 11 w 16"/>
                <a:gd name="T7" fmla="*/ 2 h 15"/>
                <a:gd name="T8" fmla="*/ 13 w 16"/>
                <a:gd name="T9" fmla="*/ 11 h 15"/>
              </a:gdLst>
              <a:ahLst/>
              <a:cxnLst>
                <a:cxn ang="0">
                  <a:pos x="T0" y="T1"/>
                </a:cxn>
                <a:cxn ang="0">
                  <a:pos x="T2" y="T3"/>
                </a:cxn>
                <a:cxn ang="0">
                  <a:pos x="T4" y="T5"/>
                </a:cxn>
                <a:cxn ang="0">
                  <a:pos x="T6" y="T7"/>
                </a:cxn>
                <a:cxn ang="0">
                  <a:pos x="T8" y="T9"/>
                </a:cxn>
              </a:cxnLst>
              <a:rect l="0" t="0" r="r" b="b"/>
              <a:pathLst>
                <a:path w="16" h="15">
                  <a:moveTo>
                    <a:pt x="13" y="11"/>
                  </a:moveTo>
                  <a:cubicBezTo>
                    <a:pt x="11" y="15"/>
                    <a:pt x="7" y="15"/>
                    <a:pt x="4" y="13"/>
                  </a:cubicBezTo>
                  <a:cubicBezTo>
                    <a:pt x="1" y="11"/>
                    <a:pt x="0" y="7"/>
                    <a:pt x="2" y="4"/>
                  </a:cubicBezTo>
                  <a:cubicBezTo>
                    <a:pt x="4" y="1"/>
                    <a:pt x="8" y="0"/>
                    <a:pt x="11" y="2"/>
                  </a:cubicBezTo>
                  <a:cubicBezTo>
                    <a:pt x="15" y="4"/>
                    <a:pt x="16" y="8"/>
                    <a:pt x="1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6" name="Freeform 151">
              <a:extLst>
                <a:ext uri="{FF2B5EF4-FFF2-40B4-BE49-F238E27FC236}">
                  <a16:creationId xmlns:a16="http://schemas.microsoft.com/office/drawing/2014/main" id="{6359CD7C-74B5-4132-8D7E-D7CBAC80C1A0}"/>
                </a:ext>
              </a:extLst>
            </p:cNvPr>
            <p:cNvSpPr>
              <a:spLocks noEditPoints="1"/>
            </p:cNvSpPr>
            <p:nvPr/>
          </p:nvSpPr>
          <p:spPr bwMode="auto">
            <a:xfrm>
              <a:off x="2717" y="2244"/>
              <a:ext cx="29" cy="27"/>
            </a:xfrm>
            <a:custGeom>
              <a:avLst/>
              <a:gdLst>
                <a:gd name="T0" fmla="*/ 15 w 28"/>
                <a:gd name="T1" fmla="*/ 26 h 26"/>
                <a:gd name="T2" fmla="*/ 8 w 28"/>
                <a:gd name="T3" fmla="*/ 23 h 26"/>
                <a:gd name="T4" fmla="*/ 4 w 28"/>
                <a:gd name="T5" fmla="*/ 6 h 26"/>
                <a:gd name="T6" fmla="*/ 12 w 28"/>
                <a:gd name="T7" fmla="*/ 0 h 26"/>
                <a:gd name="T8" fmla="*/ 22 w 28"/>
                <a:gd name="T9" fmla="*/ 2 h 26"/>
                <a:gd name="T10" fmla="*/ 27 w 28"/>
                <a:gd name="T11" fmla="*/ 10 h 26"/>
                <a:gd name="T12" fmla="*/ 25 w 28"/>
                <a:gd name="T13" fmla="*/ 20 h 26"/>
                <a:gd name="T14" fmla="*/ 15 w 28"/>
                <a:gd name="T15" fmla="*/ 26 h 26"/>
                <a:gd name="T16" fmla="*/ 15 w 28"/>
                <a:gd name="T17" fmla="*/ 12 h 26"/>
                <a:gd name="T18" fmla="*/ 14 w 28"/>
                <a:gd name="T19" fmla="*/ 12 h 26"/>
                <a:gd name="T20" fmla="*/ 14 w 28"/>
                <a:gd name="T21" fmla="*/ 13 h 26"/>
                <a:gd name="T22" fmla="*/ 15 w 28"/>
                <a:gd name="T23" fmla="*/ 13 h 26"/>
                <a:gd name="T24" fmla="*/ 15 w 28"/>
                <a:gd name="T25" fmla="*/ 13 h 26"/>
                <a:gd name="T26" fmla="*/ 15 w 28"/>
                <a:gd name="T27" fmla="*/ 12 h 26"/>
                <a:gd name="T28" fmla="*/ 15 w 28"/>
                <a:gd name="T29"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6">
                  <a:moveTo>
                    <a:pt x="15" y="26"/>
                  </a:moveTo>
                  <a:cubicBezTo>
                    <a:pt x="12" y="26"/>
                    <a:pt x="10" y="25"/>
                    <a:pt x="8" y="23"/>
                  </a:cubicBezTo>
                  <a:cubicBezTo>
                    <a:pt x="2" y="20"/>
                    <a:pt x="0" y="12"/>
                    <a:pt x="4" y="6"/>
                  </a:cubicBezTo>
                  <a:cubicBezTo>
                    <a:pt x="6" y="3"/>
                    <a:pt x="9" y="1"/>
                    <a:pt x="12" y="0"/>
                  </a:cubicBezTo>
                  <a:cubicBezTo>
                    <a:pt x="16" y="0"/>
                    <a:pt x="19" y="0"/>
                    <a:pt x="22" y="2"/>
                  </a:cubicBezTo>
                  <a:cubicBezTo>
                    <a:pt x="25" y="4"/>
                    <a:pt x="27" y="7"/>
                    <a:pt x="27" y="10"/>
                  </a:cubicBezTo>
                  <a:cubicBezTo>
                    <a:pt x="28" y="13"/>
                    <a:pt x="27" y="17"/>
                    <a:pt x="25" y="20"/>
                  </a:cubicBezTo>
                  <a:cubicBezTo>
                    <a:pt x="23" y="24"/>
                    <a:pt x="19" y="26"/>
                    <a:pt x="15" y="26"/>
                  </a:cubicBezTo>
                  <a:close/>
                  <a:moveTo>
                    <a:pt x="15" y="12"/>
                  </a:moveTo>
                  <a:cubicBezTo>
                    <a:pt x="15" y="12"/>
                    <a:pt x="14" y="12"/>
                    <a:pt x="14" y="12"/>
                  </a:cubicBezTo>
                  <a:cubicBezTo>
                    <a:pt x="14" y="13"/>
                    <a:pt x="14" y="13"/>
                    <a:pt x="14" y="13"/>
                  </a:cubicBezTo>
                  <a:cubicBezTo>
                    <a:pt x="15" y="14"/>
                    <a:pt x="15" y="14"/>
                    <a:pt x="15" y="13"/>
                  </a:cubicBezTo>
                  <a:cubicBezTo>
                    <a:pt x="15" y="13"/>
                    <a:pt x="15" y="13"/>
                    <a:pt x="15" y="13"/>
                  </a:cubicBezTo>
                  <a:cubicBezTo>
                    <a:pt x="16" y="13"/>
                    <a:pt x="16" y="12"/>
                    <a:pt x="15" y="12"/>
                  </a:cubicBezTo>
                  <a:cubicBezTo>
                    <a:pt x="15" y="12"/>
                    <a:pt x="15" y="12"/>
                    <a:pt x="1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7" name="Freeform 152">
              <a:extLst>
                <a:ext uri="{FF2B5EF4-FFF2-40B4-BE49-F238E27FC236}">
                  <a16:creationId xmlns:a16="http://schemas.microsoft.com/office/drawing/2014/main" id="{3EDA847B-F432-4DE3-86A8-F0D01E68E591}"/>
                </a:ext>
              </a:extLst>
            </p:cNvPr>
            <p:cNvSpPr>
              <a:spLocks/>
            </p:cNvSpPr>
            <p:nvPr/>
          </p:nvSpPr>
          <p:spPr bwMode="auto">
            <a:xfrm>
              <a:off x="2826" y="2278"/>
              <a:ext cx="15" cy="16"/>
            </a:xfrm>
            <a:custGeom>
              <a:avLst/>
              <a:gdLst>
                <a:gd name="T0" fmla="*/ 13 w 15"/>
                <a:gd name="T1" fmla="*/ 12 h 16"/>
                <a:gd name="T2" fmla="*/ 4 w 15"/>
                <a:gd name="T3" fmla="*/ 14 h 16"/>
                <a:gd name="T4" fmla="*/ 2 w 15"/>
                <a:gd name="T5" fmla="*/ 4 h 16"/>
                <a:gd name="T6" fmla="*/ 11 w 15"/>
                <a:gd name="T7" fmla="*/ 2 h 16"/>
                <a:gd name="T8" fmla="*/ 13 w 15"/>
                <a:gd name="T9" fmla="*/ 12 h 16"/>
              </a:gdLst>
              <a:ahLst/>
              <a:cxnLst>
                <a:cxn ang="0">
                  <a:pos x="T0" y="T1"/>
                </a:cxn>
                <a:cxn ang="0">
                  <a:pos x="T2" y="T3"/>
                </a:cxn>
                <a:cxn ang="0">
                  <a:pos x="T4" y="T5"/>
                </a:cxn>
                <a:cxn ang="0">
                  <a:pos x="T6" y="T7"/>
                </a:cxn>
                <a:cxn ang="0">
                  <a:pos x="T8" y="T9"/>
                </a:cxn>
              </a:cxnLst>
              <a:rect l="0" t="0" r="r" b="b"/>
              <a:pathLst>
                <a:path w="15" h="16">
                  <a:moveTo>
                    <a:pt x="13" y="12"/>
                  </a:moveTo>
                  <a:cubicBezTo>
                    <a:pt x="11" y="15"/>
                    <a:pt x="7" y="16"/>
                    <a:pt x="4" y="14"/>
                  </a:cubicBezTo>
                  <a:cubicBezTo>
                    <a:pt x="1" y="12"/>
                    <a:pt x="0" y="7"/>
                    <a:pt x="2" y="4"/>
                  </a:cubicBezTo>
                  <a:cubicBezTo>
                    <a:pt x="4" y="1"/>
                    <a:pt x="8" y="0"/>
                    <a:pt x="11" y="2"/>
                  </a:cubicBezTo>
                  <a:cubicBezTo>
                    <a:pt x="15" y="4"/>
                    <a:pt x="15" y="9"/>
                    <a:pt x="1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8" name="Freeform 153">
              <a:extLst>
                <a:ext uri="{FF2B5EF4-FFF2-40B4-BE49-F238E27FC236}">
                  <a16:creationId xmlns:a16="http://schemas.microsoft.com/office/drawing/2014/main" id="{EF20580B-572A-4333-88B1-B4A3E097FCDB}"/>
                </a:ext>
              </a:extLst>
            </p:cNvPr>
            <p:cNvSpPr>
              <a:spLocks noEditPoints="1"/>
            </p:cNvSpPr>
            <p:nvPr/>
          </p:nvSpPr>
          <p:spPr bwMode="auto">
            <a:xfrm>
              <a:off x="2820" y="2272"/>
              <a:ext cx="28" cy="28"/>
            </a:xfrm>
            <a:custGeom>
              <a:avLst/>
              <a:gdLst>
                <a:gd name="T0" fmla="*/ 13 w 26"/>
                <a:gd name="T1" fmla="*/ 26 h 26"/>
                <a:gd name="T2" fmla="*/ 6 w 26"/>
                <a:gd name="T3" fmla="*/ 24 h 26"/>
                <a:gd name="T4" fmla="*/ 0 w 26"/>
                <a:gd name="T5" fmla="*/ 16 h 26"/>
                <a:gd name="T6" fmla="*/ 2 w 26"/>
                <a:gd name="T7" fmla="*/ 6 h 26"/>
                <a:gd name="T8" fmla="*/ 10 w 26"/>
                <a:gd name="T9" fmla="*/ 0 h 26"/>
                <a:gd name="T10" fmla="*/ 20 w 26"/>
                <a:gd name="T11" fmla="*/ 2 h 26"/>
                <a:gd name="T12" fmla="*/ 25 w 26"/>
                <a:gd name="T13" fmla="*/ 10 h 26"/>
                <a:gd name="T14" fmla="*/ 23 w 26"/>
                <a:gd name="T15" fmla="*/ 20 h 26"/>
                <a:gd name="T16" fmla="*/ 23 w 26"/>
                <a:gd name="T17" fmla="*/ 20 h 26"/>
                <a:gd name="T18" fmla="*/ 23 w 26"/>
                <a:gd name="T19" fmla="*/ 20 h 26"/>
                <a:gd name="T20" fmla="*/ 15 w 26"/>
                <a:gd name="T21" fmla="*/ 25 h 26"/>
                <a:gd name="T22" fmla="*/ 13 w 26"/>
                <a:gd name="T23" fmla="*/ 26 h 26"/>
                <a:gd name="T24" fmla="*/ 13 w 26"/>
                <a:gd name="T25" fmla="*/ 12 h 26"/>
                <a:gd name="T26" fmla="*/ 12 w 26"/>
                <a:gd name="T27" fmla="*/ 13 h 26"/>
                <a:gd name="T28" fmla="*/ 12 w 26"/>
                <a:gd name="T29" fmla="*/ 14 h 26"/>
                <a:gd name="T30" fmla="*/ 13 w 26"/>
                <a:gd name="T31" fmla="*/ 13 h 26"/>
                <a:gd name="T32" fmla="*/ 13 w 26"/>
                <a:gd name="T33" fmla="*/ 13 h 26"/>
                <a:gd name="T34" fmla="*/ 13 w 26"/>
                <a:gd name="T35" fmla="*/ 13 h 26"/>
                <a:gd name="T36" fmla="*/ 13 w 26"/>
                <a:gd name="T37" fmla="*/ 12 h 26"/>
                <a:gd name="T38" fmla="*/ 13 w 26"/>
                <a:gd name="T39"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26">
                  <a:moveTo>
                    <a:pt x="13" y="26"/>
                  </a:moveTo>
                  <a:cubicBezTo>
                    <a:pt x="10" y="26"/>
                    <a:pt x="8" y="25"/>
                    <a:pt x="6" y="24"/>
                  </a:cubicBezTo>
                  <a:cubicBezTo>
                    <a:pt x="3" y="22"/>
                    <a:pt x="1" y="19"/>
                    <a:pt x="0" y="16"/>
                  </a:cubicBezTo>
                  <a:cubicBezTo>
                    <a:pt x="0" y="12"/>
                    <a:pt x="0" y="9"/>
                    <a:pt x="2" y="6"/>
                  </a:cubicBezTo>
                  <a:cubicBezTo>
                    <a:pt x="4" y="3"/>
                    <a:pt x="7" y="1"/>
                    <a:pt x="10" y="0"/>
                  </a:cubicBezTo>
                  <a:cubicBezTo>
                    <a:pt x="13" y="0"/>
                    <a:pt x="17" y="0"/>
                    <a:pt x="20" y="2"/>
                  </a:cubicBezTo>
                  <a:cubicBezTo>
                    <a:pt x="23" y="4"/>
                    <a:pt x="25" y="7"/>
                    <a:pt x="25" y="10"/>
                  </a:cubicBezTo>
                  <a:cubicBezTo>
                    <a:pt x="26" y="14"/>
                    <a:pt x="25" y="17"/>
                    <a:pt x="23" y="20"/>
                  </a:cubicBezTo>
                  <a:cubicBezTo>
                    <a:pt x="23" y="20"/>
                    <a:pt x="23" y="20"/>
                    <a:pt x="23" y="20"/>
                  </a:cubicBezTo>
                  <a:cubicBezTo>
                    <a:pt x="23" y="20"/>
                    <a:pt x="23" y="20"/>
                    <a:pt x="23" y="20"/>
                  </a:cubicBezTo>
                  <a:cubicBezTo>
                    <a:pt x="22" y="23"/>
                    <a:pt x="19" y="25"/>
                    <a:pt x="15" y="25"/>
                  </a:cubicBezTo>
                  <a:cubicBezTo>
                    <a:pt x="14" y="26"/>
                    <a:pt x="14" y="26"/>
                    <a:pt x="13" y="26"/>
                  </a:cubicBezTo>
                  <a:close/>
                  <a:moveTo>
                    <a:pt x="13" y="12"/>
                  </a:moveTo>
                  <a:cubicBezTo>
                    <a:pt x="12" y="12"/>
                    <a:pt x="12" y="12"/>
                    <a:pt x="12" y="13"/>
                  </a:cubicBezTo>
                  <a:cubicBezTo>
                    <a:pt x="12" y="13"/>
                    <a:pt x="12" y="13"/>
                    <a:pt x="12" y="14"/>
                  </a:cubicBezTo>
                  <a:cubicBezTo>
                    <a:pt x="13" y="14"/>
                    <a:pt x="13" y="14"/>
                    <a:pt x="13" y="13"/>
                  </a:cubicBezTo>
                  <a:cubicBezTo>
                    <a:pt x="13" y="13"/>
                    <a:pt x="13" y="13"/>
                    <a:pt x="13" y="13"/>
                  </a:cubicBezTo>
                  <a:cubicBezTo>
                    <a:pt x="13" y="13"/>
                    <a:pt x="14" y="13"/>
                    <a:pt x="13" y="13"/>
                  </a:cubicBezTo>
                  <a:cubicBezTo>
                    <a:pt x="13" y="13"/>
                    <a:pt x="13" y="12"/>
                    <a:pt x="13" y="12"/>
                  </a:cubicBezTo>
                  <a:cubicBezTo>
                    <a:pt x="13" y="12"/>
                    <a:pt x="13" y="12"/>
                    <a:pt x="1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9" name="Freeform 154">
              <a:extLst>
                <a:ext uri="{FF2B5EF4-FFF2-40B4-BE49-F238E27FC236}">
                  <a16:creationId xmlns:a16="http://schemas.microsoft.com/office/drawing/2014/main" id="{6EEE272E-96AE-425A-BBF5-00ADA27226B5}"/>
                </a:ext>
              </a:extLst>
            </p:cNvPr>
            <p:cNvSpPr>
              <a:spLocks/>
            </p:cNvSpPr>
            <p:nvPr/>
          </p:nvSpPr>
          <p:spPr bwMode="auto">
            <a:xfrm>
              <a:off x="2799" y="2295"/>
              <a:ext cx="17" cy="16"/>
            </a:xfrm>
            <a:custGeom>
              <a:avLst/>
              <a:gdLst>
                <a:gd name="T0" fmla="*/ 14 w 16"/>
                <a:gd name="T1" fmla="*/ 11 h 15"/>
                <a:gd name="T2" fmla="*/ 4 w 16"/>
                <a:gd name="T3" fmla="*/ 13 h 15"/>
                <a:gd name="T4" fmla="*/ 3 w 16"/>
                <a:gd name="T5" fmla="*/ 4 h 15"/>
                <a:gd name="T6" fmla="*/ 12 w 16"/>
                <a:gd name="T7" fmla="*/ 2 h 15"/>
                <a:gd name="T8" fmla="*/ 14 w 16"/>
                <a:gd name="T9" fmla="*/ 11 h 15"/>
              </a:gdLst>
              <a:ahLst/>
              <a:cxnLst>
                <a:cxn ang="0">
                  <a:pos x="T0" y="T1"/>
                </a:cxn>
                <a:cxn ang="0">
                  <a:pos x="T2" y="T3"/>
                </a:cxn>
                <a:cxn ang="0">
                  <a:pos x="T4" y="T5"/>
                </a:cxn>
                <a:cxn ang="0">
                  <a:pos x="T6" y="T7"/>
                </a:cxn>
                <a:cxn ang="0">
                  <a:pos x="T8" y="T9"/>
                </a:cxn>
              </a:cxnLst>
              <a:rect l="0" t="0" r="r" b="b"/>
              <a:pathLst>
                <a:path w="16" h="15">
                  <a:moveTo>
                    <a:pt x="14" y="11"/>
                  </a:moveTo>
                  <a:cubicBezTo>
                    <a:pt x="12" y="15"/>
                    <a:pt x="8" y="15"/>
                    <a:pt x="4" y="13"/>
                  </a:cubicBezTo>
                  <a:cubicBezTo>
                    <a:pt x="1" y="11"/>
                    <a:pt x="0" y="7"/>
                    <a:pt x="3" y="4"/>
                  </a:cubicBezTo>
                  <a:cubicBezTo>
                    <a:pt x="5" y="1"/>
                    <a:pt x="9" y="0"/>
                    <a:pt x="12" y="2"/>
                  </a:cubicBezTo>
                  <a:cubicBezTo>
                    <a:pt x="15" y="4"/>
                    <a:pt x="16" y="8"/>
                    <a:pt x="1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0" name="Freeform 155">
              <a:extLst>
                <a:ext uri="{FF2B5EF4-FFF2-40B4-BE49-F238E27FC236}">
                  <a16:creationId xmlns:a16="http://schemas.microsoft.com/office/drawing/2014/main" id="{4BCF3374-72D6-425C-A8A7-AF4EB0CAF5E7}"/>
                </a:ext>
              </a:extLst>
            </p:cNvPr>
            <p:cNvSpPr>
              <a:spLocks noEditPoints="1"/>
            </p:cNvSpPr>
            <p:nvPr/>
          </p:nvSpPr>
          <p:spPr bwMode="auto">
            <a:xfrm>
              <a:off x="2793" y="2289"/>
              <a:ext cx="31" cy="27"/>
            </a:xfrm>
            <a:custGeom>
              <a:avLst/>
              <a:gdLst>
                <a:gd name="T0" fmla="*/ 14 w 29"/>
                <a:gd name="T1" fmla="*/ 26 h 26"/>
                <a:gd name="T2" fmla="*/ 7 w 29"/>
                <a:gd name="T3" fmla="*/ 24 h 26"/>
                <a:gd name="T4" fmla="*/ 4 w 29"/>
                <a:gd name="T5" fmla="*/ 7 h 26"/>
                <a:gd name="T6" fmla="*/ 12 w 29"/>
                <a:gd name="T7" fmla="*/ 1 h 26"/>
                <a:gd name="T8" fmla="*/ 21 w 29"/>
                <a:gd name="T9" fmla="*/ 3 h 26"/>
                <a:gd name="T10" fmla="*/ 25 w 29"/>
                <a:gd name="T11" fmla="*/ 21 h 26"/>
                <a:gd name="T12" fmla="*/ 25 w 29"/>
                <a:gd name="T13" fmla="*/ 21 h 26"/>
                <a:gd name="T14" fmla="*/ 14 w 29"/>
                <a:gd name="T15" fmla="*/ 26 h 26"/>
                <a:gd name="T16" fmla="*/ 14 w 29"/>
                <a:gd name="T17" fmla="*/ 13 h 26"/>
                <a:gd name="T18" fmla="*/ 14 w 29"/>
                <a:gd name="T19" fmla="*/ 13 h 26"/>
                <a:gd name="T20" fmla="*/ 14 w 29"/>
                <a:gd name="T21" fmla="*/ 14 h 26"/>
                <a:gd name="T22" fmla="*/ 15 w 29"/>
                <a:gd name="T23" fmla="*/ 14 h 26"/>
                <a:gd name="T24" fmla="*/ 15 w 29"/>
                <a:gd name="T25" fmla="*/ 13 h 26"/>
                <a:gd name="T26" fmla="*/ 14 w 29"/>
                <a:gd name="T27"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6">
                  <a:moveTo>
                    <a:pt x="14" y="26"/>
                  </a:moveTo>
                  <a:cubicBezTo>
                    <a:pt x="12" y="26"/>
                    <a:pt x="9" y="26"/>
                    <a:pt x="7" y="24"/>
                  </a:cubicBezTo>
                  <a:cubicBezTo>
                    <a:pt x="1" y="21"/>
                    <a:pt x="0" y="13"/>
                    <a:pt x="4" y="7"/>
                  </a:cubicBezTo>
                  <a:cubicBezTo>
                    <a:pt x="5" y="4"/>
                    <a:pt x="8" y="2"/>
                    <a:pt x="12" y="1"/>
                  </a:cubicBezTo>
                  <a:cubicBezTo>
                    <a:pt x="15" y="0"/>
                    <a:pt x="18" y="1"/>
                    <a:pt x="21" y="3"/>
                  </a:cubicBezTo>
                  <a:cubicBezTo>
                    <a:pt x="27" y="7"/>
                    <a:pt x="29" y="15"/>
                    <a:pt x="25" y="21"/>
                  </a:cubicBezTo>
                  <a:cubicBezTo>
                    <a:pt x="25" y="21"/>
                    <a:pt x="25" y="21"/>
                    <a:pt x="25" y="21"/>
                  </a:cubicBezTo>
                  <a:cubicBezTo>
                    <a:pt x="22" y="24"/>
                    <a:pt x="18" y="26"/>
                    <a:pt x="14" y="26"/>
                  </a:cubicBezTo>
                  <a:close/>
                  <a:moveTo>
                    <a:pt x="14" y="13"/>
                  </a:moveTo>
                  <a:cubicBezTo>
                    <a:pt x="14" y="13"/>
                    <a:pt x="14" y="13"/>
                    <a:pt x="14" y="13"/>
                  </a:cubicBezTo>
                  <a:cubicBezTo>
                    <a:pt x="13" y="14"/>
                    <a:pt x="13" y="14"/>
                    <a:pt x="14" y="14"/>
                  </a:cubicBezTo>
                  <a:cubicBezTo>
                    <a:pt x="14" y="15"/>
                    <a:pt x="15" y="14"/>
                    <a:pt x="15" y="14"/>
                  </a:cubicBezTo>
                  <a:cubicBezTo>
                    <a:pt x="15" y="14"/>
                    <a:pt x="15" y="13"/>
                    <a:pt x="15" y="13"/>
                  </a:cubicBezTo>
                  <a:cubicBezTo>
                    <a:pt x="15" y="13"/>
                    <a:pt x="14" y="13"/>
                    <a:pt x="14"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1" name="Freeform 156">
              <a:extLst>
                <a:ext uri="{FF2B5EF4-FFF2-40B4-BE49-F238E27FC236}">
                  <a16:creationId xmlns:a16="http://schemas.microsoft.com/office/drawing/2014/main" id="{6662556E-8C4F-41E7-892B-16A90F293137}"/>
                </a:ext>
              </a:extLst>
            </p:cNvPr>
            <p:cNvSpPr>
              <a:spLocks/>
            </p:cNvSpPr>
            <p:nvPr/>
          </p:nvSpPr>
          <p:spPr bwMode="auto">
            <a:xfrm>
              <a:off x="2767" y="2288"/>
              <a:ext cx="16" cy="16"/>
            </a:xfrm>
            <a:custGeom>
              <a:avLst/>
              <a:gdLst>
                <a:gd name="T0" fmla="*/ 13 w 15"/>
                <a:gd name="T1" fmla="*/ 11 h 15"/>
                <a:gd name="T2" fmla="*/ 4 w 15"/>
                <a:gd name="T3" fmla="*/ 13 h 15"/>
                <a:gd name="T4" fmla="*/ 2 w 15"/>
                <a:gd name="T5" fmla="*/ 4 h 15"/>
                <a:gd name="T6" fmla="*/ 11 w 15"/>
                <a:gd name="T7" fmla="*/ 2 h 15"/>
                <a:gd name="T8" fmla="*/ 13 w 15"/>
                <a:gd name="T9" fmla="*/ 11 h 15"/>
              </a:gdLst>
              <a:ahLst/>
              <a:cxnLst>
                <a:cxn ang="0">
                  <a:pos x="T0" y="T1"/>
                </a:cxn>
                <a:cxn ang="0">
                  <a:pos x="T2" y="T3"/>
                </a:cxn>
                <a:cxn ang="0">
                  <a:pos x="T4" y="T5"/>
                </a:cxn>
                <a:cxn ang="0">
                  <a:pos x="T6" y="T7"/>
                </a:cxn>
                <a:cxn ang="0">
                  <a:pos x="T8" y="T9"/>
                </a:cxn>
              </a:cxnLst>
              <a:rect l="0" t="0" r="r" b="b"/>
              <a:pathLst>
                <a:path w="15" h="15">
                  <a:moveTo>
                    <a:pt x="13" y="11"/>
                  </a:moveTo>
                  <a:cubicBezTo>
                    <a:pt x="11" y="15"/>
                    <a:pt x="7" y="15"/>
                    <a:pt x="4" y="13"/>
                  </a:cubicBezTo>
                  <a:cubicBezTo>
                    <a:pt x="1" y="11"/>
                    <a:pt x="0" y="7"/>
                    <a:pt x="2" y="4"/>
                  </a:cubicBezTo>
                  <a:cubicBezTo>
                    <a:pt x="4" y="1"/>
                    <a:pt x="8" y="0"/>
                    <a:pt x="11" y="2"/>
                  </a:cubicBezTo>
                  <a:cubicBezTo>
                    <a:pt x="15" y="4"/>
                    <a:pt x="15" y="8"/>
                    <a:pt x="1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2" name="Freeform 157">
              <a:extLst>
                <a:ext uri="{FF2B5EF4-FFF2-40B4-BE49-F238E27FC236}">
                  <a16:creationId xmlns:a16="http://schemas.microsoft.com/office/drawing/2014/main" id="{25EE7EFB-2584-4CC8-8D36-9E164B832914}"/>
                </a:ext>
              </a:extLst>
            </p:cNvPr>
            <p:cNvSpPr>
              <a:spLocks noEditPoints="1"/>
            </p:cNvSpPr>
            <p:nvPr/>
          </p:nvSpPr>
          <p:spPr bwMode="auto">
            <a:xfrm>
              <a:off x="2762" y="2281"/>
              <a:ext cx="28" cy="29"/>
            </a:xfrm>
            <a:custGeom>
              <a:avLst/>
              <a:gdLst>
                <a:gd name="T0" fmla="*/ 13 w 27"/>
                <a:gd name="T1" fmla="*/ 28 h 28"/>
                <a:gd name="T2" fmla="*/ 6 w 27"/>
                <a:gd name="T3" fmla="*/ 25 h 28"/>
                <a:gd name="T4" fmla="*/ 0 w 27"/>
                <a:gd name="T5" fmla="*/ 17 h 28"/>
                <a:gd name="T6" fmla="*/ 2 w 27"/>
                <a:gd name="T7" fmla="*/ 8 h 28"/>
                <a:gd name="T8" fmla="*/ 20 w 27"/>
                <a:gd name="T9" fmla="*/ 4 h 28"/>
                <a:gd name="T10" fmla="*/ 23 w 27"/>
                <a:gd name="T11" fmla="*/ 22 h 28"/>
                <a:gd name="T12" fmla="*/ 15 w 27"/>
                <a:gd name="T13" fmla="*/ 27 h 28"/>
                <a:gd name="T14" fmla="*/ 13 w 27"/>
                <a:gd name="T15" fmla="*/ 28 h 28"/>
                <a:gd name="T16" fmla="*/ 13 w 27"/>
                <a:gd name="T17" fmla="*/ 14 h 28"/>
                <a:gd name="T18" fmla="*/ 12 w 27"/>
                <a:gd name="T19" fmla="*/ 14 h 28"/>
                <a:gd name="T20" fmla="*/ 12 w 27"/>
                <a:gd name="T21" fmla="*/ 15 h 28"/>
                <a:gd name="T22" fmla="*/ 13 w 27"/>
                <a:gd name="T23" fmla="*/ 15 h 28"/>
                <a:gd name="T24" fmla="*/ 13 w 27"/>
                <a:gd name="T25" fmla="*/ 14 h 28"/>
                <a:gd name="T26" fmla="*/ 13 w 27"/>
                <a:gd name="T27"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8">
                  <a:moveTo>
                    <a:pt x="13" y="28"/>
                  </a:moveTo>
                  <a:cubicBezTo>
                    <a:pt x="10" y="28"/>
                    <a:pt x="8" y="27"/>
                    <a:pt x="6" y="25"/>
                  </a:cubicBezTo>
                  <a:cubicBezTo>
                    <a:pt x="3" y="24"/>
                    <a:pt x="1" y="21"/>
                    <a:pt x="0" y="17"/>
                  </a:cubicBezTo>
                  <a:cubicBezTo>
                    <a:pt x="0" y="14"/>
                    <a:pt x="0" y="11"/>
                    <a:pt x="2" y="8"/>
                  </a:cubicBezTo>
                  <a:cubicBezTo>
                    <a:pt x="6" y="2"/>
                    <a:pt x="14" y="0"/>
                    <a:pt x="20" y="4"/>
                  </a:cubicBezTo>
                  <a:cubicBezTo>
                    <a:pt x="26" y="8"/>
                    <a:pt x="27" y="16"/>
                    <a:pt x="23" y="22"/>
                  </a:cubicBezTo>
                  <a:cubicBezTo>
                    <a:pt x="22" y="25"/>
                    <a:pt x="19" y="27"/>
                    <a:pt x="15" y="27"/>
                  </a:cubicBezTo>
                  <a:cubicBezTo>
                    <a:pt x="14" y="27"/>
                    <a:pt x="14" y="28"/>
                    <a:pt x="13" y="28"/>
                  </a:cubicBezTo>
                  <a:close/>
                  <a:moveTo>
                    <a:pt x="13" y="14"/>
                  </a:moveTo>
                  <a:cubicBezTo>
                    <a:pt x="13" y="14"/>
                    <a:pt x="12" y="14"/>
                    <a:pt x="12" y="14"/>
                  </a:cubicBezTo>
                  <a:cubicBezTo>
                    <a:pt x="12" y="15"/>
                    <a:pt x="12" y="15"/>
                    <a:pt x="12" y="15"/>
                  </a:cubicBezTo>
                  <a:cubicBezTo>
                    <a:pt x="13" y="16"/>
                    <a:pt x="13" y="15"/>
                    <a:pt x="13" y="15"/>
                  </a:cubicBezTo>
                  <a:cubicBezTo>
                    <a:pt x="14" y="15"/>
                    <a:pt x="14" y="14"/>
                    <a:pt x="13" y="14"/>
                  </a:cubicBezTo>
                  <a:cubicBezTo>
                    <a:pt x="13" y="14"/>
                    <a:pt x="13" y="14"/>
                    <a:pt x="13"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3" name="Freeform 158">
              <a:extLst>
                <a:ext uri="{FF2B5EF4-FFF2-40B4-BE49-F238E27FC236}">
                  <a16:creationId xmlns:a16="http://schemas.microsoft.com/office/drawing/2014/main" id="{EB5C6130-008A-47CA-8F12-5D3CAB9104D6}"/>
                </a:ext>
              </a:extLst>
            </p:cNvPr>
            <p:cNvSpPr>
              <a:spLocks/>
            </p:cNvSpPr>
            <p:nvPr/>
          </p:nvSpPr>
          <p:spPr bwMode="auto">
            <a:xfrm>
              <a:off x="2738" y="2278"/>
              <a:ext cx="17" cy="16"/>
            </a:xfrm>
            <a:custGeom>
              <a:avLst/>
              <a:gdLst>
                <a:gd name="T0" fmla="*/ 14 w 16"/>
                <a:gd name="T1" fmla="*/ 12 h 16"/>
                <a:gd name="T2" fmla="*/ 4 w 16"/>
                <a:gd name="T3" fmla="*/ 14 h 16"/>
                <a:gd name="T4" fmla="*/ 2 w 16"/>
                <a:gd name="T5" fmla="*/ 4 h 16"/>
                <a:gd name="T6" fmla="*/ 12 w 16"/>
                <a:gd name="T7" fmla="*/ 2 h 16"/>
                <a:gd name="T8" fmla="*/ 14 w 16"/>
                <a:gd name="T9" fmla="*/ 12 h 16"/>
              </a:gdLst>
              <a:ahLst/>
              <a:cxnLst>
                <a:cxn ang="0">
                  <a:pos x="T0" y="T1"/>
                </a:cxn>
                <a:cxn ang="0">
                  <a:pos x="T2" y="T3"/>
                </a:cxn>
                <a:cxn ang="0">
                  <a:pos x="T4" y="T5"/>
                </a:cxn>
                <a:cxn ang="0">
                  <a:pos x="T6" y="T7"/>
                </a:cxn>
                <a:cxn ang="0">
                  <a:pos x="T8" y="T9"/>
                </a:cxn>
              </a:cxnLst>
              <a:rect l="0" t="0" r="r" b="b"/>
              <a:pathLst>
                <a:path w="16" h="16">
                  <a:moveTo>
                    <a:pt x="14" y="12"/>
                  </a:moveTo>
                  <a:cubicBezTo>
                    <a:pt x="11" y="15"/>
                    <a:pt x="7" y="16"/>
                    <a:pt x="4" y="14"/>
                  </a:cubicBezTo>
                  <a:cubicBezTo>
                    <a:pt x="1" y="12"/>
                    <a:pt x="0" y="7"/>
                    <a:pt x="2" y="4"/>
                  </a:cubicBezTo>
                  <a:cubicBezTo>
                    <a:pt x="4" y="1"/>
                    <a:pt x="8" y="0"/>
                    <a:pt x="12" y="2"/>
                  </a:cubicBezTo>
                  <a:cubicBezTo>
                    <a:pt x="15" y="4"/>
                    <a:pt x="16" y="9"/>
                    <a:pt x="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4" name="Freeform 159">
              <a:extLst>
                <a:ext uri="{FF2B5EF4-FFF2-40B4-BE49-F238E27FC236}">
                  <a16:creationId xmlns:a16="http://schemas.microsoft.com/office/drawing/2014/main" id="{C67CC8BF-0972-432A-AEB4-56FB17071701}"/>
                </a:ext>
              </a:extLst>
            </p:cNvPr>
            <p:cNvSpPr>
              <a:spLocks noEditPoints="1"/>
            </p:cNvSpPr>
            <p:nvPr/>
          </p:nvSpPr>
          <p:spPr bwMode="auto">
            <a:xfrm>
              <a:off x="2733" y="2272"/>
              <a:ext cx="27" cy="28"/>
            </a:xfrm>
            <a:custGeom>
              <a:avLst/>
              <a:gdLst>
                <a:gd name="T0" fmla="*/ 13 w 26"/>
                <a:gd name="T1" fmla="*/ 26 h 26"/>
                <a:gd name="T2" fmla="*/ 6 w 26"/>
                <a:gd name="T3" fmla="*/ 24 h 26"/>
                <a:gd name="T4" fmla="*/ 0 w 26"/>
                <a:gd name="T5" fmla="*/ 16 h 26"/>
                <a:gd name="T6" fmla="*/ 2 w 26"/>
                <a:gd name="T7" fmla="*/ 6 h 26"/>
                <a:gd name="T8" fmla="*/ 10 w 26"/>
                <a:gd name="T9" fmla="*/ 0 h 26"/>
                <a:gd name="T10" fmla="*/ 20 w 26"/>
                <a:gd name="T11" fmla="*/ 2 h 26"/>
                <a:gd name="T12" fmla="*/ 25 w 26"/>
                <a:gd name="T13" fmla="*/ 10 h 26"/>
                <a:gd name="T14" fmla="*/ 24 w 26"/>
                <a:gd name="T15" fmla="*/ 20 h 26"/>
                <a:gd name="T16" fmla="*/ 15 w 26"/>
                <a:gd name="T17" fmla="*/ 25 h 26"/>
                <a:gd name="T18" fmla="*/ 13 w 26"/>
                <a:gd name="T19" fmla="*/ 26 h 26"/>
                <a:gd name="T20" fmla="*/ 13 w 26"/>
                <a:gd name="T21" fmla="*/ 12 h 26"/>
                <a:gd name="T22" fmla="*/ 12 w 26"/>
                <a:gd name="T23" fmla="*/ 13 h 26"/>
                <a:gd name="T24" fmla="*/ 12 w 26"/>
                <a:gd name="T25" fmla="*/ 14 h 26"/>
                <a:gd name="T26" fmla="*/ 13 w 26"/>
                <a:gd name="T27" fmla="*/ 13 h 26"/>
                <a:gd name="T28" fmla="*/ 13 w 26"/>
                <a:gd name="T29" fmla="*/ 13 h 26"/>
                <a:gd name="T30" fmla="*/ 13 w 26"/>
                <a:gd name="T31" fmla="*/ 12 h 26"/>
                <a:gd name="T32" fmla="*/ 13 w 26"/>
                <a:gd name="T3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6">
                  <a:moveTo>
                    <a:pt x="13" y="26"/>
                  </a:moveTo>
                  <a:cubicBezTo>
                    <a:pt x="10" y="26"/>
                    <a:pt x="8" y="25"/>
                    <a:pt x="6" y="24"/>
                  </a:cubicBezTo>
                  <a:cubicBezTo>
                    <a:pt x="3" y="22"/>
                    <a:pt x="1" y="19"/>
                    <a:pt x="0" y="16"/>
                  </a:cubicBezTo>
                  <a:cubicBezTo>
                    <a:pt x="0" y="12"/>
                    <a:pt x="0" y="9"/>
                    <a:pt x="2" y="6"/>
                  </a:cubicBezTo>
                  <a:cubicBezTo>
                    <a:pt x="4" y="3"/>
                    <a:pt x="7" y="1"/>
                    <a:pt x="10" y="0"/>
                  </a:cubicBezTo>
                  <a:cubicBezTo>
                    <a:pt x="14" y="0"/>
                    <a:pt x="17" y="0"/>
                    <a:pt x="20" y="2"/>
                  </a:cubicBezTo>
                  <a:cubicBezTo>
                    <a:pt x="23" y="4"/>
                    <a:pt x="25" y="7"/>
                    <a:pt x="25" y="10"/>
                  </a:cubicBezTo>
                  <a:cubicBezTo>
                    <a:pt x="26" y="14"/>
                    <a:pt x="25" y="17"/>
                    <a:pt x="24" y="20"/>
                  </a:cubicBezTo>
                  <a:cubicBezTo>
                    <a:pt x="22" y="23"/>
                    <a:pt x="19" y="25"/>
                    <a:pt x="15" y="25"/>
                  </a:cubicBezTo>
                  <a:cubicBezTo>
                    <a:pt x="15" y="26"/>
                    <a:pt x="14" y="26"/>
                    <a:pt x="13" y="26"/>
                  </a:cubicBezTo>
                  <a:close/>
                  <a:moveTo>
                    <a:pt x="13" y="12"/>
                  </a:moveTo>
                  <a:cubicBezTo>
                    <a:pt x="13" y="12"/>
                    <a:pt x="12" y="12"/>
                    <a:pt x="12" y="13"/>
                  </a:cubicBezTo>
                  <a:cubicBezTo>
                    <a:pt x="12" y="13"/>
                    <a:pt x="12" y="13"/>
                    <a:pt x="12" y="14"/>
                  </a:cubicBezTo>
                  <a:cubicBezTo>
                    <a:pt x="13" y="14"/>
                    <a:pt x="13" y="14"/>
                    <a:pt x="13" y="13"/>
                  </a:cubicBezTo>
                  <a:cubicBezTo>
                    <a:pt x="13" y="13"/>
                    <a:pt x="13" y="13"/>
                    <a:pt x="13" y="13"/>
                  </a:cubicBezTo>
                  <a:cubicBezTo>
                    <a:pt x="14" y="13"/>
                    <a:pt x="14" y="13"/>
                    <a:pt x="13" y="12"/>
                  </a:cubicBezTo>
                  <a:cubicBezTo>
                    <a:pt x="13" y="12"/>
                    <a:pt x="13" y="12"/>
                    <a:pt x="1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75" name="Freeform 378">
            <a:extLst>
              <a:ext uri="{FF2B5EF4-FFF2-40B4-BE49-F238E27FC236}">
                <a16:creationId xmlns:a16="http://schemas.microsoft.com/office/drawing/2014/main" id="{D25AA071-8A46-4DC4-BB6D-3B352D8EDFE1}"/>
              </a:ext>
            </a:extLst>
          </p:cNvPr>
          <p:cNvSpPr>
            <a:spLocks/>
          </p:cNvSpPr>
          <p:nvPr/>
        </p:nvSpPr>
        <p:spPr bwMode="auto">
          <a:xfrm>
            <a:off x="231495" y="5074504"/>
            <a:ext cx="480374" cy="603791"/>
          </a:xfrm>
          <a:custGeom>
            <a:avLst/>
            <a:gdLst>
              <a:gd name="T0" fmla="*/ 4112 w 4428"/>
              <a:gd name="T1" fmla="*/ 1292 h 5535"/>
              <a:gd name="T2" fmla="*/ 4220 w 4428"/>
              <a:gd name="T3" fmla="*/ 1921 h 5535"/>
              <a:gd name="T4" fmla="*/ 4397 w 4428"/>
              <a:gd name="T5" fmla="*/ 2566 h 5535"/>
              <a:gd name="T6" fmla="*/ 4185 w 4428"/>
              <a:gd name="T7" fmla="*/ 2835 h 5535"/>
              <a:gd name="T8" fmla="*/ 4041 w 4428"/>
              <a:gd name="T9" fmla="*/ 2934 h 5535"/>
              <a:gd name="T10" fmla="*/ 3693 w 4428"/>
              <a:gd name="T11" fmla="*/ 3096 h 5535"/>
              <a:gd name="T12" fmla="*/ 3303 w 4428"/>
              <a:gd name="T13" fmla="*/ 3279 h 5535"/>
              <a:gd name="T14" fmla="*/ 3080 w 4428"/>
              <a:gd name="T15" fmla="*/ 3391 h 5535"/>
              <a:gd name="T16" fmla="*/ 3197 w 4428"/>
              <a:gd name="T17" fmla="*/ 3589 h 5535"/>
              <a:gd name="T18" fmla="*/ 3280 w 4428"/>
              <a:gd name="T19" fmla="*/ 3958 h 5535"/>
              <a:gd name="T20" fmla="*/ 3638 w 4428"/>
              <a:gd name="T21" fmla="*/ 4250 h 5535"/>
              <a:gd name="T22" fmla="*/ 3837 w 4428"/>
              <a:gd name="T23" fmla="*/ 4482 h 5535"/>
              <a:gd name="T24" fmla="*/ 3658 w 4428"/>
              <a:gd name="T25" fmla="*/ 4690 h 5535"/>
              <a:gd name="T26" fmla="*/ 3414 w 4428"/>
              <a:gd name="T27" fmla="*/ 5050 h 5535"/>
              <a:gd name="T28" fmla="*/ 3375 w 4428"/>
              <a:gd name="T29" fmla="*/ 5337 h 5535"/>
              <a:gd name="T30" fmla="*/ 3085 w 4428"/>
              <a:gd name="T31" fmla="*/ 5241 h 5535"/>
              <a:gd name="T32" fmla="*/ 2754 w 4428"/>
              <a:gd name="T33" fmla="*/ 5359 h 5535"/>
              <a:gd name="T34" fmla="*/ 2472 w 4428"/>
              <a:gd name="T35" fmla="*/ 5442 h 5535"/>
              <a:gd name="T36" fmla="*/ 2211 w 4428"/>
              <a:gd name="T37" fmla="*/ 5354 h 5535"/>
              <a:gd name="T38" fmla="*/ 2048 w 4428"/>
              <a:gd name="T39" fmla="*/ 5415 h 5535"/>
              <a:gd name="T40" fmla="*/ 1496 w 4428"/>
              <a:gd name="T41" fmla="*/ 5255 h 5535"/>
              <a:gd name="T42" fmla="*/ 1353 w 4428"/>
              <a:gd name="T43" fmla="*/ 5235 h 5535"/>
              <a:gd name="T44" fmla="*/ 1279 w 4428"/>
              <a:gd name="T45" fmla="*/ 5176 h 5535"/>
              <a:gd name="T46" fmla="*/ 1301 w 4428"/>
              <a:gd name="T47" fmla="*/ 5290 h 5535"/>
              <a:gd name="T48" fmla="*/ 1002 w 4428"/>
              <a:gd name="T49" fmla="*/ 5328 h 5535"/>
              <a:gd name="T50" fmla="*/ 820 w 4428"/>
              <a:gd name="T51" fmla="*/ 5272 h 5535"/>
              <a:gd name="T52" fmla="*/ 936 w 4428"/>
              <a:gd name="T53" fmla="*/ 4646 h 5535"/>
              <a:gd name="T54" fmla="*/ 908 w 4428"/>
              <a:gd name="T55" fmla="*/ 4259 h 5535"/>
              <a:gd name="T56" fmla="*/ 570 w 4428"/>
              <a:gd name="T57" fmla="*/ 4183 h 5535"/>
              <a:gd name="T58" fmla="*/ 347 w 4428"/>
              <a:gd name="T59" fmla="*/ 4010 h 5535"/>
              <a:gd name="T60" fmla="*/ 171 w 4428"/>
              <a:gd name="T61" fmla="*/ 3631 h 5535"/>
              <a:gd name="T62" fmla="*/ 251 w 4428"/>
              <a:gd name="T63" fmla="*/ 3247 h 5535"/>
              <a:gd name="T64" fmla="*/ 99 w 4428"/>
              <a:gd name="T65" fmla="*/ 2947 h 5535"/>
              <a:gd name="T66" fmla="*/ 112 w 4428"/>
              <a:gd name="T67" fmla="*/ 2719 h 5535"/>
              <a:gd name="T68" fmla="*/ 37 w 4428"/>
              <a:gd name="T69" fmla="*/ 2238 h 5535"/>
              <a:gd name="T70" fmla="*/ 451 w 4428"/>
              <a:gd name="T71" fmla="*/ 2150 h 5535"/>
              <a:gd name="T72" fmla="*/ 433 w 4428"/>
              <a:gd name="T73" fmla="*/ 1786 h 5535"/>
              <a:gd name="T74" fmla="*/ 642 w 4428"/>
              <a:gd name="T75" fmla="*/ 1277 h 5535"/>
              <a:gd name="T76" fmla="*/ 601 w 4428"/>
              <a:gd name="T77" fmla="*/ 1013 h 5535"/>
              <a:gd name="T78" fmla="*/ 1079 w 4428"/>
              <a:gd name="T79" fmla="*/ 936 h 5535"/>
              <a:gd name="T80" fmla="*/ 1230 w 4428"/>
              <a:gd name="T81" fmla="*/ 980 h 5535"/>
              <a:gd name="T82" fmla="*/ 1357 w 4428"/>
              <a:gd name="T83" fmla="*/ 748 h 5535"/>
              <a:gd name="T84" fmla="*/ 1821 w 4428"/>
              <a:gd name="T85" fmla="*/ 960 h 5535"/>
              <a:gd name="T86" fmla="*/ 1492 w 4428"/>
              <a:gd name="T87" fmla="*/ 602 h 5535"/>
              <a:gd name="T88" fmla="*/ 1336 w 4428"/>
              <a:gd name="T89" fmla="*/ 422 h 5535"/>
              <a:gd name="T90" fmla="*/ 1422 w 4428"/>
              <a:gd name="T91" fmla="*/ 308 h 5535"/>
              <a:gd name="T92" fmla="*/ 1345 w 4428"/>
              <a:gd name="T93" fmla="*/ 8 h 5535"/>
              <a:gd name="T94" fmla="*/ 1803 w 4428"/>
              <a:gd name="T95" fmla="*/ 38 h 5535"/>
              <a:gd name="T96" fmla="*/ 1880 w 4428"/>
              <a:gd name="T97" fmla="*/ 266 h 5535"/>
              <a:gd name="T98" fmla="*/ 1984 w 4428"/>
              <a:gd name="T99" fmla="*/ 296 h 5535"/>
              <a:gd name="T100" fmla="*/ 2138 w 4428"/>
              <a:gd name="T101" fmla="*/ 365 h 5535"/>
              <a:gd name="T102" fmla="*/ 2522 w 4428"/>
              <a:gd name="T103" fmla="*/ 468 h 5535"/>
              <a:gd name="T104" fmla="*/ 2426 w 4428"/>
              <a:gd name="T105" fmla="*/ 730 h 5535"/>
              <a:gd name="T106" fmla="*/ 2700 w 4428"/>
              <a:gd name="T107" fmla="*/ 744 h 5535"/>
              <a:gd name="T108" fmla="*/ 3004 w 4428"/>
              <a:gd name="T109" fmla="*/ 595 h 5535"/>
              <a:gd name="T110" fmla="*/ 3416 w 4428"/>
              <a:gd name="T111" fmla="*/ 348 h 5535"/>
              <a:gd name="T112" fmla="*/ 3155 w 4428"/>
              <a:gd name="T113" fmla="*/ 424 h 5535"/>
              <a:gd name="T114" fmla="*/ 3291 w 4428"/>
              <a:gd name="T115" fmla="*/ 380 h 5535"/>
              <a:gd name="T116" fmla="*/ 3483 w 4428"/>
              <a:gd name="T117" fmla="*/ 415 h 5535"/>
              <a:gd name="T118" fmla="*/ 3629 w 4428"/>
              <a:gd name="T119" fmla="*/ 569 h 5535"/>
              <a:gd name="T120" fmla="*/ 3879 w 4428"/>
              <a:gd name="T121" fmla="*/ 721 h 5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28" h="5535">
                <a:moveTo>
                  <a:pt x="4061" y="896"/>
                </a:moveTo>
                <a:cubicBezTo>
                  <a:pt x="4063" y="909"/>
                  <a:pt x="4063" y="909"/>
                  <a:pt x="4063" y="909"/>
                </a:cubicBezTo>
                <a:cubicBezTo>
                  <a:pt x="4059" y="914"/>
                  <a:pt x="4059" y="914"/>
                  <a:pt x="4059" y="914"/>
                </a:cubicBezTo>
                <a:cubicBezTo>
                  <a:pt x="4065" y="921"/>
                  <a:pt x="4065" y="921"/>
                  <a:pt x="4065" y="921"/>
                </a:cubicBezTo>
                <a:cubicBezTo>
                  <a:pt x="4064" y="934"/>
                  <a:pt x="4064" y="934"/>
                  <a:pt x="4064" y="934"/>
                </a:cubicBezTo>
                <a:cubicBezTo>
                  <a:pt x="4076" y="951"/>
                  <a:pt x="4076" y="951"/>
                  <a:pt x="4076" y="951"/>
                </a:cubicBezTo>
                <a:cubicBezTo>
                  <a:pt x="4079" y="987"/>
                  <a:pt x="4079" y="987"/>
                  <a:pt x="4079" y="987"/>
                </a:cubicBezTo>
                <a:cubicBezTo>
                  <a:pt x="4075" y="999"/>
                  <a:pt x="4075" y="999"/>
                  <a:pt x="4075" y="999"/>
                </a:cubicBezTo>
                <a:cubicBezTo>
                  <a:pt x="4080" y="1007"/>
                  <a:pt x="4080" y="1007"/>
                  <a:pt x="4080" y="1007"/>
                </a:cubicBezTo>
                <a:cubicBezTo>
                  <a:pt x="4082" y="1024"/>
                  <a:pt x="4082" y="1024"/>
                  <a:pt x="4082" y="1024"/>
                </a:cubicBezTo>
                <a:cubicBezTo>
                  <a:pt x="4093" y="1036"/>
                  <a:pt x="4093" y="1036"/>
                  <a:pt x="4093" y="1036"/>
                </a:cubicBezTo>
                <a:cubicBezTo>
                  <a:pt x="4095" y="1054"/>
                  <a:pt x="4095" y="1054"/>
                  <a:pt x="4095" y="1054"/>
                </a:cubicBezTo>
                <a:cubicBezTo>
                  <a:pt x="4104" y="1067"/>
                  <a:pt x="4104" y="1067"/>
                  <a:pt x="4104" y="1067"/>
                </a:cubicBezTo>
                <a:cubicBezTo>
                  <a:pt x="4102" y="1091"/>
                  <a:pt x="4102" y="1091"/>
                  <a:pt x="4102" y="1091"/>
                </a:cubicBezTo>
                <a:cubicBezTo>
                  <a:pt x="4118" y="1122"/>
                  <a:pt x="4118" y="1122"/>
                  <a:pt x="4118" y="1122"/>
                </a:cubicBezTo>
                <a:cubicBezTo>
                  <a:pt x="4117" y="1140"/>
                  <a:pt x="4117" y="1140"/>
                  <a:pt x="4117" y="1140"/>
                </a:cubicBezTo>
                <a:cubicBezTo>
                  <a:pt x="4124" y="1154"/>
                  <a:pt x="4124" y="1154"/>
                  <a:pt x="4124" y="1154"/>
                </a:cubicBezTo>
                <a:cubicBezTo>
                  <a:pt x="4122" y="1168"/>
                  <a:pt x="4122" y="1168"/>
                  <a:pt x="4122" y="1168"/>
                </a:cubicBezTo>
                <a:cubicBezTo>
                  <a:pt x="4130" y="1194"/>
                  <a:pt x="4130" y="1194"/>
                  <a:pt x="4130" y="1194"/>
                </a:cubicBezTo>
                <a:cubicBezTo>
                  <a:pt x="4141" y="1196"/>
                  <a:pt x="4141" y="1196"/>
                  <a:pt x="4141" y="1196"/>
                </a:cubicBezTo>
                <a:cubicBezTo>
                  <a:pt x="4145" y="1206"/>
                  <a:pt x="4145" y="1206"/>
                  <a:pt x="4145" y="1206"/>
                </a:cubicBezTo>
                <a:cubicBezTo>
                  <a:pt x="4116" y="1232"/>
                  <a:pt x="4116" y="1232"/>
                  <a:pt x="4116" y="1232"/>
                </a:cubicBezTo>
                <a:cubicBezTo>
                  <a:pt x="4116" y="1242"/>
                  <a:pt x="4116" y="1242"/>
                  <a:pt x="4116" y="1242"/>
                </a:cubicBezTo>
                <a:cubicBezTo>
                  <a:pt x="4104" y="1250"/>
                  <a:pt x="4104" y="1250"/>
                  <a:pt x="4104" y="1250"/>
                </a:cubicBezTo>
                <a:cubicBezTo>
                  <a:pt x="4102" y="1272"/>
                  <a:pt x="4102" y="1272"/>
                  <a:pt x="4102" y="1272"/>
                </a:cubicBezTo>
                <a:cubicBezTo>
                  <a:pt x="4112" y="1292"/>
                  <a:pt x="4112" y="1292"/>
                  <a:pt x="4112" y="1292"/>
                </a:cubicBezTo>
                <a:cubicBezTo>
                  <a:pt x="4112" y="1312"/>
                  <a:pt x="4108" y="1326"/>
                  <a:pt x="4104" y="1334"/>
                </a:cubicBezTo>
                <a:cubicBezTo>
                  <a:pt x="4093" y="1361"/>
                  <a:pt x="4067" y="1388"/>
                  <a:pt x="4035" y="1400"/>
                </a:cubicBezTo>
                <a:cubicBezTo>
                  <a:pt x="4017" y="1407"/>
                  <a:pt x="4004" y="1407"/>
                  <a:pt x="3998" y="1419"/>
                </a:cubicBezTo>
                <a:cubicBezTo>
                  <a:pt x="3995" y="1427"/>
                  <a:pt x="3997" y="1436"/>
                  <a:pt x="3999" y="1449"/>
                </a:cubicBezTo>
                <a:cubicBezTo>
                  <a:pt x="4003" y="1469"/>
                  <a:pt x="4008" y="1471"/>
                  <a:pt x="4006" y="1480"/>
                </a:cubicBezTo>
                <a:cubicBezTo>
                  <a:pt x="4002" y="1493"/>
                  <a:pt x="3987" y="1493"/>
                  <a:pt x="3986" y="1505"/>
                </a:cubicBezTo>
                <a:cubicBezTo>
                  <a:pt x="3985" y="1512"/>
                  <a:pt x="3989" y="1519"/>
                  <a:pt x="3994" y="1523"/>
                </a:cubicBezTo>
                <a:cubicBezTo>
                  <a:pt x="4005" y="1531"/>
                  <a:pt x="4016" y="1519"/>
                  <a:pt x="4031" y="1525"/>
                </a:cubicBezTo>
                <a:cubicBezTo>
                  <a:pt x="4045" y="1530"/>
                  <a:pt x="4041" y="1544"/>
                  <a:pt x="4058" y="1558"/>
                </a:cubicBezTo>
                <a:cubicBezTo>
                  <a:pt x="4072" y="1569"/>
                  <a:pt x="4079" y="1564"/>
                  <a:pt x="4095" y="1574"/>
                </a:cubicBezTo>
                <a:cubicBezTo>
                  <a:pt x="4111" y="1583"/>
                  <a:pt x="4109" y="1589"/>
                  <a:pt x="4131" y="1614"/>
                </a:cubicBezTo>
                <a:cubicBezTo>
                  <a:pt x="4157" y="1642"/>
                  <a:pt x="4169" y="1656"/>
                  <a:pt x="4189" y="1662"/>
                </a:cubicBezTo>
                <a:cubicBezTo>
                  <a:pt x="4199" y="1666"/>
                  <a:pt x="4215" y="1668"/>
                  <a:pt x="4219" y="1680"/>
                </a:cubicBezTo>
                <a:cubicBezTo>
                  <a:pt x="4221" y="1684"/>
                  <a:pt x="4220" y="1688"/>
                  <a:pt x="4223" y="1694"/>
                </a:cubicBezTo>
                <a:cubicBezTo>
                  <a:pt x="4228" y="1703"/>
                  <a:pt x="4234" y="1702"/>
                  <a:pt x="4235" y="1707"/>
                </a:cubicBezTo>
                <a:cubicBezTo>
                  <a:pt x="4237" y="1715"/>
                  <a:pt x="4223" y="1719"/>
                  <a:pt x="4220" y="1731"/>
                </a:cubicBezTo>
                <a:cubicBezTo>
                  <a:pt x="4218" y="1740"/>
                  <a:pt x="4224" y="1743"/>
                  <a:pt x="4226" y="1755"/>
                </a:cubicBezTo>
                <a:cubicBezTo>
                  <a:pt x="4230" y="1776"/>
                  <a:pt x="4218" y="1800"/>
                  <a:pt x="4205" y="1803"/>
                </a:cubicBezTo>
                <a:cubicBezTo>
                  <a:pt x="4199" y="1804"/>
                  <a:pt x="4195" y="1801"/>
                  <a:pt x="4192" y="1804"/>
                </a:cubicBezTo>
                <a:cubicBezTo>
                  <a:pt x="4189" y="1807"/>
                  <a:pt x="4192" y="1811"/>
                  <a:pt x="4189" y="1819"/>
                </a:cubicBezTo>
                <a:cubicBezTo>
                  <a:pt x="4187" y="1826"/>
                  <a:pt x="4183" y="1826"/>
                  <a:pt x="4182" y="1831"/>
                </a:cubicBezTo>
                <a:cubicBezTo>
                  <a:pt x="4182" y="1836"/>
                  <a:pt x="4188" y="1838"/>
                  <a:pt x="4192" y="1845"/>
                </a:cubicBezTo>
                <a:cubicBezTo>
                  <a:pt x="4201" y="1858"/>
                  <a:pt x="4190" y="1869"/>
                  <a:pt x="4198" y="1881"/>
                </a:cubicBezTo>
                <a:cubicBezTo>
                  <a:pt x="4202" y="1888"/>
                  <a:pt x="4208" y="1889"/>
                  <a:pt x="4208" y="1894"/>
                </a:cubicBezTo>
                <a:cubicBezTo>
                  <a:pt x="4209" y="1900"/>
                  <a:pt x="4202" y="1903"/>
                  <a:pt x="4202" y="1908"/>
                </a:cubicBezTo>
                <a:cubicBezTo>
                  <a:pt x="4203" y="1914"/>
                  <a:pt x="4213" y="1918"/>
                  <a:pt x="4220" y="1921"/>
                </a:cubicBezTo>
                <a:cubicBezTo>
                  <a:pt x="4238" y="1927"/>
                  <a:pt x="4243" y="1922"/>
                  <a:pt x="4254" y="1928"/>
                </a:cubicBezTo>
                <a:cubicBezTo>
                  <a:pt x="4263" y="1933"/>
                  <a:pt x="4272" y="1944"/>
                  <a:pt x="4271" y="1954"/>
                </a:cubicBezTo>
                <a:cubicBezTo>
                  <a:pt x="4269" y="1965"/>
                  <a:pt x="4253" y="1967"/>
                  <a:pt x="4254" y="1976"/>
                </a:cubicBezTo>
                <a:cubicBezTo>
                  <a:pt x="4254" y="1984"/>
                  <a:pt x="4267" y="1986"/>
                  <a:pt x="4267" y="1994"/>
                </a:cubicBezTo>
                <a:cubicBezTo>
                  <a:pt x="4267" y="1999"/>
                  <a:pt x="4262" y="2000"/>
                  <a:pt x="4258" y="2005"/>
                </a:cubicBezTo>
                <a:cubicBezTo>
                  <a:pt x="4251" y="2015"/>
                  <a:pt x="4249" y="2032"/>
                  <a:pt x="4256" y="2040"/>
                </a:cubicBezTo>
                <a:cubicBezTo>
                  <a:pt x="4262" y="2048"/>
                  <a:pt x="4270" y="2042"/>
                  <a:pt x="4280" y="2050"/>
                </a:cubicBezTo>
                <a:cubicBezTo>
                  <a:pt x="4292" y="2060"/>
                  <a:pt x="4296" y="2083"/>
                  <a:pt x="4288" y="2095"/>
                </a:cubicBezTo>
                <a:cubicBezTo>
                  <a:pt x="4282" y="2102"/>
                  <a:pt x="4274" y="2101"/>
                  <a:pt x="4272" y="2108"/>
                </a:cubicBezTo>
                <a:cubicBezTo>
                  <a:pt x="4271" y="2114"/>
                  <a:pt x="4278" y="2117"/>
                  <a:pt x="4278" y="2124"/>
                </a:cubicBezTo>
                <a:cubicBezTo>
                  <a:pt x="4277" y="2132"/>
                  <a:pt x="4269" y="2133"/>
                  <a:pt x="4264" y="2142"/>
                </a:cubicBezTo>
                <a:cubicBezTo>
                  <a:pt x="4257" y="2155"/>
                  <a:pt x="4270" y="2164"/>
                  <a:pt x="4265" y="2180"/>
                </a:cubicBezTo>
                <a:cubicBezTo>
                  <a:pt x="4263" y="2190"/>
                  <a:pt x="4254" y="2197"/>
                  <a:pt x="4237" y="2212"/>
                </a:cubicBezTo>
                <a:cubicBezTo>
                  <a:pt x="4219" y="2227"/>
                  <a:pt x="4211" y="2229"/>
                  <a:pt x="4209" y="2239"/>
                </a:cubicBezTo>
                <a:cubicBezTo>
                  <a:pt x="4208" y="2247"/>
                  <a:pt x="4211" y="2256"/>
                  <a:pt x="4217" y="2261"/>
                </a:cubicBezTo>
                <a:cubicBezTo>
                  <a:pt x="4225" y="2267"/>
                  <a:pt x="4233" y="2262"/>
                  <a:pt x="4239" y="2268"/>
                </a:cubicBezTo>
                <a:cubicBezTo>
                  <a:pt x="4247" y="2275"/>
                  <a:pt x="4238" y="2288"/>
                  <a:pt x="4241" y="2304"/>
                </a:cubicBezTo>
                <a:cubicBezTo>
                  <a:pt x="4245" y="2321"/>
                  <a:pt x="4257" y="2321"/>
                  <a:pt x="4275" y="2343"/>
                </a:cubicBezTo>
                <a:cubicBezTo>
                  <a:pt x="4282" y="2352"/>
                  <a:pt x="4304" y="2381"/>
                  <a:pt x="4296" y="2403"/>
                </a:cubicBezTo>
                <a:cubicBezTo>
                  <a:pt x="4290" y="2416"/>
                  <a:pt x="4277" y="2415"/>
                  <a:pt x="4271" y="2431"/>
                </a:cubicBezTo>
                <a:cubicBezTo>
                  <a:pt x="4268" y="2440"/>
                  <a:pt x="4268" y="2453"/>
                  <a:pt x="4275" y="2462"/>
                </a:cubicBezTo>
                <a:cubicBezTo>
                  <a:pt x="4282" y="2469"/>
                  <a:pt x="4289" y="2465"/>
                  <a:pt x="4308" y="2471"/>
                </a:cubicBezTo>
                <a:cubicBezTo>
                  <a:pt x="4326" y="2477"/>
                  <a:pt x="4324" y="2482"/>
                  <a:pt x="4343" y="2489"/>
                </a:cubicBezTo>
                <a:cubicBezTo>
                  <a:pt x="4365" y="2497"/>
                  <a:pt x="4372" y="2492"/>
                  <a:pt x="4380" y="2500"/>
                </a:cubicBezTo>
                <a:cubicBezTo>
                  <a:pt x="4384" y="2504"/>
                  <a:pt x="4382" y="2505"/>
                  <a:pt x="4391" y="2536"/>
                </a:cubicBezTo>
                <a:cubicBezTo>
                  <a:pt x="4396" y="2553"/>
                  <a:pt x="4397" y="2558"/>
                  <a:pt x="4397" y="2566"/>
                </a:cubicBezTo>
                <a:cubicBezTo>
                  <a:pt x="4397" y="2578"/>
                  <a:pt x="4393" y="2579"/>
                  <a:pt x="4394" y="2588"/>
                </a:cubicBezTo>
                <a:cubicBezTo>
                  <a:pt x="4395" y="2602"/>
                  <a:pt x="4405" y="2607"/>
                  <a:pt x="4414" y="2623"/>
                </a:cubicBezTo>
                <a:cubicBezTo>
                  <a:pt x="4415" y="2624"/>
                  <a:pt x="4428" y="2645"/>
                  <a:pt x="4428" y="2667"/>
                </a:cubicBezTo>
                <a:cubicBezTo>
                  <a:pt x="4428" y="2691"/>
                  <a:pt x="4414" y="2690"/>
                  <a:pt x="4408" y="2722"/>
                </a:cubicBezTo>
                <a:cubicBezTo>
                  <a:pt x="4402" y="2748"/>
                  <a:pt x="4410" y="2760"/>
                  <a:pt x="4398" y="2780"/>
                </a:cubicBezTo>
                <a:cubicBezTo>
                  <a:pt x="4393" y="2790"/>
                  <a:pt x="4390" y="2788"/>
                  <a:pt x="4385" y="2799"/>
                </a:cubicBezTo>
                <a:cubicBezTo>
                  <a:pt x="4375" y="2817"/>
                  <a:pt x="4382" y="2826"/>
                  <a:pt x="4376" y="2847"/>
                </a:cubicBezTo>
                <a:cubicBezTo>
                  <a:pt x="4375" y="2853"/>
                  <a:pt x="4368" y="2879"/>
                  <a:pt x="4347" y="2897"/>
                </a:cubicBezTo>
                <a:cubicBezTo>
                  <a:pt x="4336" y="2906"/>
                  <a:pt x="4324" y="2911"/>
                  <a:pt x="4323" y="2922"/>
                </a:cubicBezTo>
                <a:cubicBezTo>
                  <a:pt x="4322" y="2929"/>
                  <a:pt x="4326" y="2932"/>
                  <a:pt x="4324" y="2938"/>
                </a:cubicBezTo>
                <a:cubicBezTo>
                  <a:pt x="4322" y="2946"/>
                  <a:pt x="4316" y="2946"/>
                  <a:pt x="4312" y="2954"/>
                </a:cubicBezTo>
                <a:cubicBezTo>
                  <a:pt x="4309" y="2958"/>
                  <a:pt x="4307" y="2964"/>
                  <a:pt x="4308" y="2973"/>
                </a:cubicBezTo>
                <a:cubicBezTo>
                  <a:pt x="4288" y="2964"/>
                  <a:pt x="4288" y="2964"/>
                  <a:pt x="4288" y="2964"/>
                </a:cubicBezTo>
                <a:cubicBezTo>
                  <a:pt x="4271" y="2966"/>
                  <a:pt x="4271" y="2966"/>
                  <a:pt x="4271" y="2966"/>
                </a:cubicBezTo>
                <a:cubicBezTo>
                  <a:pt x="4262" y="2958"/>
                  <a:pt x="4262" y="2958"/>
                  <a:pt x="4262" y="2958"/>
                </a:cubicBezTo>
                <a:cubicBezTo>
                  <a:pt x="4241" y="2950"/>
                  <a:pt x="4241" y="2950"/>
                  <a:pt x="4241" y="2950"/>
                </a:cubicBezTo>
                <a:cubicBezTo>
                  <a:pt x="4227" y="2941"/>
                  <a:pt x="4227" y="2941"/>
                  <a:pt x="4227" y="2941"/>
                </a:cubicBezTo>
                <a:cubicBezTo>
                  <a:pt x="4239" y="2908"/>
                  <a:pt x="4239" y="2908"/>
                  <a:pt x="4239" y="2908"/>
                </a:cubicBezTo>
                <a:cubicBezTo>
                  <a:pt x="4241" y="2894"/>
                  <a:pt x="4241" y="2894"/>
                  <a:pt x="4241" y="2894"/>
                </a:cubicBezTo>
                <a:cubicBezTo>
                  <a:pt x="4237" y="2886"/>
                  <a:pt x="4237" y="2886"/>
                  <a:pt x="4237" y="2886"/>
                </a:cubicBezTo>
                <a:cubicBezTo>
                  <a:pt x="4237" y="2886"/>
                  <a:pt x="4206" y="2902"/>
                  <a:pt x="4205" y="2902"/>
                </a:cubicBezTo>
                <a:cubicBezTo>
                  <a:pt x="4204" y="2902"/>
                  <a:pt x="4199" y="2892"/>
                  <a:pt x="4199" y="2892"/>
                </a:cubicBezTo>
                <a:cubicBezTo>
                  <a:pt x="4213" y="2866"/>
                  <a:pt x="4213" y="2866"/>
                  <a:pt x="4213" y="2866"/>
                </a:cubicBezTo>
                <a:cubicBezTo>
                  <a:pt x="4215" y="2852"/>
                  <a:pt x="4215" y="2852"/>
                  <a:pt x="4215" y="2852"/>
                </a:cubicBezTo>
                <a:cubicBezTo>
                  <a:pt x="4199" y="2835"/>
                  <a:pt x="4199" y="2835"/>
                  <a:pt x="4199" y="2835"/>
                </a:cubicBezTo>
                <a:cubicBezTo>
                  <a:pt x="4185" y="2835"/>
                  <a:pt x="4185" y="2835"/>
                  <a:pt x="4185" y="2835"/>
                </a:cubicBezTo>
                <a:cubicBezTo>
                  <a:pt x="4171" y="2828"/>
                  <a:pt x="4171" y="2828"/>
                  <a:pt x="4171" y="2828"/>
                </a:cubicBezTo>
                <a:cubicBezTo>
                  <a:pt x="4177" y="2810"/>
                  <a:pt x="4177" y="2810"/>
                  <a:pt x="4177" y="2810"/>
                </a:cubicBezTo>
                <a:cubicBezTo>
                  <a:pt x="4164" y="2805"/>
                  <a:pt x="4164" y="2805"/>
                  <a:pt x="4164" y="2805"/>
                </a:cubicBezTo>
                <a:cubicBezTo>
                  <a:pt x="4156" y="2825"/>
                  <a:pt x="4156" y="2825"/>
                  <a:pt x="4156" y="2825"/>
                </a:cubicBezTo>
                <a:cubicBezTo>
                  <a:pt x="4145" y="2813"/>
                  <a:pt x="4145" y="2813"/>
                  <a:pt x="4145" y="2813"/>
                </a:cubicBezTo>
                <a:cubicBezTo>
                  <a:pt x="4132" y="2825"/>
                  <a:pt x="4132" y="2825"/>
                  <a:pt x="4132" y="2825"/>
                </a:cubicBezTo>
                <a:cubicBezTo>
                  <a:pt x="4118" y="2826"/>
                  <a:pt x="4118" y="2826"/>
                  <a:pt x="4118" y="2826"/>
                </a:cubicBezTo>
                <a:cubicBezTo>
                  <a:pt x="4099" y="2807"/>
                  <a:pt x="4099" y="2807"/>
                  <a:pt x="4099" y="2807"/>
                </a:cubicBezTo>
                <a:cubicBezTo>
                  <a:pt x="4091" y="2812"/>
                  <a:pt x="4091" y="2812"/>
                  <a:pt x="4091" y="2812"/>
                </a:cubicBezTo>
                <a:cubicBezTo>
                  <a:pt x="4072" y="2795"/>
                  <a:pt x="4072" y="2795"/>
                  <a:pt x="4072" y="2795"/>
                </a:cubicBezTo>
                <a:cubicBezTo>
                  <a:pt x="4060" y="2809"/>
                  <a:pt x="4060" y="2809"/>
                  <a:pt x="4060" y="2809"/>
                </a:cubicBezTo>
                <a:cubicBezTo>
                  <a:pt x="4063" y="2826"/>
                  <a:pt x="4063" y="2826"/>
                  <a:pt x="4063" y="2826"/>
                </a:cubicBezTo>
                <a:cubicBezTo>
                  <a:pt x="4053" y="2833"/>
                  <a:pt x="4053" y="2833"/>
                  <a:pt x="4053" y="2833"/>
                </a:cubicBezTo>
                <a:cubicBezTo>
                  <a:pt x="4051" y="2847"/>
                  <a:pt x="4051" y="2847"/>
                  <a:pt x="4051" y="2847"/>
                </a:cubicBezTo>
                <a:cubicBezTo>
                  <a:pt x="4063" y="2856"/>
                  <a:pt x="4063" y="2856"/>
                  <a:pt x="4063" y="2856"/>
                </a:cubicBezTo>
                <a:cubicBezTo>
                  <a:pt x="4075" y="2847"/>
                  <a:pt x="4075" y="2847"/>
                  <a:pt x="4075" y="2847"/>
                </a:cubicBezTo>
                <a:cubicBezTo>
                  <a:pt x="4089" y="2855"/>
                  <a:pt x="4089" y="2855"/>
                  <a:pt x="4089" y="2855"/>
                </a:cubicBezTo>
                <a:cubicBezTo>
                  <a:pt x="4076" y="2865"/>
                  <a:pt x="4076" y="2865"/>
                  <a:pt x="4076" y="2865"/>
                </a:cubicBezTo>
                <a:cubicBezTo>
                  <a:pt x="4077" y="2874"/>
                  <a:pt x="4077" y="2874"/>
                  <a:pt x="4077" y="2874"/>
                </a:cubicBezTo>
                <a:cubicBezTo>
                  <a:pt x="4102" y="2880"/>
                  <a:pt x="4102" y="2880"/>
                  <a:pt x="4102" y="2880"/>
                </a:cubicBezTo>
                <a:cubicBezTo>
                  <a:pt x="4124" y="2885"/>
                  <a:pt x="4124" y="2885"/>
                  <a:pt x="4124" y="2885"/>
                </a:cubicBezTo>
                <a:cubicBezTo>
                  <a:pt x="4115" y="2915"/>
                  <a:pt x="4115" y="2915"/>
                  <a:pt x="4115" y="2915"/>
                </a:cubicBezTo>
                <a:cubicBezTo>
                  <a:pt x="4065" y="2924"/>
                  <a:pt x="4065" y="2924"/>
                  <a:pt x="4065" y="2924"/>
                </a:cubicBezTo>
                <a:cubicBezTo>
                  <a:pt x="4053" y="2915"/>
                  <a:pt x="4053" y="2915"/>
                  <a:pt x="4053" y="2915"/>
                </a:cubicBezTo>
                <a:cubicBezTo>
                  <a:pt x="4039" y="2923"/>
                  <a:pt x="4039" y="2923"/>
                  <a:pt x="4039" y="2923"/>
                </a:cubicBezTo>
                <a:cubicBezTo>
                  <a:pt x="4041" y="2934"/>
                  <a:pt x="4041" y="2934"/>
                  <a:pt x="4041" y="2934"/>
                </a:cubicBezTo>
                <a:cubicBezTo>
                  <a:pt x="4024" y="2950"/>
                  <a:pt x="4024" y="2950"/>
                  <a:pt x="4024" y="2950"/>
                </a:cubicBezTo>
                <a:cubicBezTo>
                  <a:pt x="4006" y="2952"/>
                  <a:pt x="4006" y="2952"/>
                  <a:pt x="4006" y="2952"/>
                </a:cubicBezTo>
                <a:cubicBezTo>
                  <a:pt x="3977" y="2965"/>
                  <a:pt x="3977" y="2965"/>
                  <a:pt x="3977" y="2965"/>
                </a:cubicBezTo>
                <a:cubicBezTo>
                  <a:pt x="3959" y="2980"/>
                  <a:pt x="3959" y="2980"/>
                  <a:pt x="3959" y="2980"/>
                </a:cubicBezTo>
                <a:cubicBezTo>
                  <a:pt x="3951" y="2976"/>
                  <a:pt x="3951" y="2976"/>
                  <a:pt x="3951" y="2976"/>
                </a:cubicBezTo>
                <a:cubicBezTo>
                  <a:pt x="3940" y="2980"/>
                  <a:pt x="3940" y="2980"/>
                  <a:pt x="3940" y="2980"/>
                </a:cubicBezTo>
                <a:cubicBezTo>
                  <a:pt x="3924" y="2972"/>
                  <a:pt x="3924" y="2972"/>
                  <a:pt x="3924" y="2972"/>
                </a:cubicBezTo>
                <a:cubicBezTo>
                  <a:pt x="3896" y="2995"/>
                  <a:pt x="3896" y="2995"/>
                  <a:pt x="3896" y="2995"/>
                </a:cubicBezTo>
                <a:cubicBezTo>
                  <a:pt x="3880" y="2995"/>
                  <a:pt x="3880" y="2995"/>
                  <a:pt x="3880" y="2995"/>
                </a:cubicBezTo>
                <a:cubicBezTo>
                  <a:pt x="3874" y="3011"/>
                  <a:pt x="3874" y="3011"/>
                  <a:pt x="3874" y="3011"/>
                </a:cubicBezTo>
                <a:cubicBezTo>
                  <a:pt x="3878" y="3021"/>
                  <a:pt x="3878" y="3021"/>
                  <a:pt x="3878" y="3021"/>
                </a:cubicBezTo>
                <a:cubicBezTo>
                  <a:pt x="3874" y="3030"/>
                  <a:pt x="3874" y="3030"/>
                  <a:pt x="3874" y="3030"/>
                </a:cubicBezTo>
                <a:cubicBezTo>
                  <a:pt x="3861" y="3030"/>
                  <a:pt x="3861" y="3030"/>
                  <a:pt x="3861" y="3030"/>
                </a:cubicBezTo>
                <a:cubicBezTo>
                  <a:pt x="3860" y="3040"/>
                  <a:pt x="3860" y="3040"/>
                  <a:pt x="3860" y="3040"/>
                </a:cubicBezTo>
                <a:cubicBezTo>
                  <a:pt x="3845" y="3043"/>
                  <a:pt x="3845" y="3043"/>
                  <a:pt x="3845" y="3043"/>
                </a:cubicBezTo>
                <a:cubicBezTo>
                  <a:pt x="3832" y="3035"/>
                  <a:pt x="3832" y="3035"/>
                  <a:pt x="3832" y="3035"/>
                </a:cubicBezTo>
                <a:cubicBezTo>
                  <a:pt x="3816" y="3032"/>
                  <a:pt x="3816" y="3032"/>
                  <a:pt x="3816" y="3032"/>
                </a:cubicBezTo>
                <a:cubicBezTo>
                  <a:pt x="3804" y="3042"/>
                  <a:pt x="3804" y="3042"/>
                  <a:pt x="3804" y="3042"/>
                </a:cubicBezTo>
                <a:cubicBezTo>
                  <a:pt x="3796" y="3038"/>
                  <a:pt x="3796" y="3038"/>
                  <a:pt x="3796" y="3038"/>
                </a:cubicBezTo>
                <a:cubicBezTo>
                  <a:pt x="3781" y="3048"/>
                  <a:pt x="3781" y="3048"/>
                  <a:pt x="3781" y="3048"/>
                </a:cubicBezTo>
                <a:cubicBezTo>
                  <a:pt x="3766" y="3035"/>
                  <a:pt x="3766" y="3035"/>
                  <a:pt x="3766" y="3035"/>
                </a:cubicBezTo>
                <a:cubicBezTo>
                  <a:pt x="3736" y="3052"/>
                  <a:pt x="3736" y="3052"/>
                  <a:pt x="3736" y="3052"/>
                </a:cubicBezTo>
                <a:cubicBezTo>
                  <a:pt x="3712" y="3050"/>
                  <a:pt x="3712" y="3050"/>
                  <a:pt x="3712" y="3050"/>
                </a:cubicBezTo>
                <a:cubicBezTo>
                  <a:pt x="3699" y="3059"/>
                  <a:pt x="3699" y="3059"/>
                  <a:pt x="3699" y="3059"/>
                </a:cubicBezTo>
                <a:cubicBezTo>
                  <a:pt x="3706" y="3080"/>
                  <a:pt x="3706" y="3080"/>
                  <a:pt x="3706" y="3080"/>
                </a:cubicBezTo>
                <a:cubicBezTo>
                  <a:pt x="3693" y="3096"/>
                  <a:pt x="3693" y="3096"/>
                  <a:pt x="3693" y="3096"/>
                </a:cubicBezTo>
                <a:cubicBezTo>
                  <a:pt x="3699" y="3102"/>
                  <a:pt x="3699" y="3102"/>
                  <a:pt x="3699" y="3102"/>
                </a:cubicBezTo>
                <a:cubicBezTo>
                  <a:pt x="3667" y="3131"/>
                  <a:pt x="3667" y="3131"/>
                  <a:pt x="3667" y="3131"/>
                </a:cubicBezTo>
                <a:cubicBezTo>
                  <a:pt x="3626" y="3096"/>
                  <a:pt x="3626" y="3096"/>
                  <a:pt x="3626" y="3096"/>
                </a:cubicBezTo>
                <a:cubicBezTo>
                  <a:pt x="3627" y="3114"/>
                  <a:pt x="3627" y="3114"/>
                  <a:pt x="3627" y="3114"/>
                </a:cubicBezTo>
                <a:cubicBezTo>
                  <a:pt x="3601" y="3129"/>
                  <a:pt x="3601" y="3129"/>
                  <a:pt x="3601" y="3129"/>
                </a:cubicBezTo>
                <a:cubicBezTo>
                  <a:pt x="3601" y="3146"/>
                  <a:pt x="3601" y="3146"/>
                  <a:pt x="3601" y="3146"/>
                </a:cubicBezTo>
                <a:cubicBezTo>
                  <a:pt x="3589" y="3149"/>
                  <a:pt x="3589" y="3149"/>
                  <a:pt x="3589" y="3149"/>
                </a:cubicBezTo>
                <a:cubicBezTo>
                  <a:pt x="3571" y="3136"/>
                  <a:pt x="3571" y="3136"/>
                  <a:pt x="3571" y="3136"/>
                </a:cubicBezTo>
                <a:cubicBezTo>
                  <a:pt x="3553" y="3160"/>
                  <a:pt x="3553" y="3160"/>
                  <a:pt x="3553" y="3160"/>
                </a:cubicBezTo>
                <a:cubicBezTo>
                  <a:pt x="3557" y="3168"/>
                  <a:pt x="3557" y="3168"/>
                  <a:pt x="3557" y="3168"/>
                </a:cubicBezTo>
                <a:cubicBezTo>
                  <a:pt x="3536" y="3201"/>
                  <a:pt x="3536" y="3201"/>
                  <a:pt x="3536" y="3201"/>
                </a:cubicBezTo>
                <a:cubicBezTo>
                  <a:pt x="3518" y="3198"/>
                  <a:pt x="3518" y="3198"/>
                  <a:pt x="3518" y="3198"/>
                </a:cubicBezTo>
                <a:cubicBezTo>
                  <a:pt x="3510" y="3192"/>
                  <a:pt x="3510" y="3192"/>
                  <a:pt x="3510" y="3192"/>
                </a:cubicBezTo>
                <a:cubicBezTo>
                  <a:pt x="3493" y="3203"/>
                  <a:pt x="3493" y="3203"/>
                  <a:pt x="3493" y="3203"/>
                </a:cubicBezTo>
                <a:cubicBezTo>
                  <a:pt x="3479" y="3205"/>
                  <a:pt x="3479" y="3205"/>
                  <a:pt x="3479" y="3205"/>
                </a:cubicBezTo>
                <a:cubicBezTo>
                  <a:pt x="3463" y="3196"/>
                  <a:pt x="3463" y="3196"/>
                  <a:pt x="3463" y="3196"/>
                </a:cubicBezTo>
                <a:cubicBezTo>
                  <a:pt x="3454" y="3227"/>
                  <a:pt x="3454" y="3227"/>
                  <a:pt x="3454" y="3227"/>
                </a:cubicBezTo>
                <a:cubicBezTo>
                  <a:pt x="3456" y="3241"/>
                  <a:pt x="3456" y="3241"/>
                  <a:pt x="3456" y="3241"/>
                </a:cubicBezTo>
                <a:cubicBezTo>
                  <a:pt x="3436" y="3266"/>
                  <a:pt x="3436" y="3266"/>
                  <a:pt x="3436" y="3266"/>
                </a:cubicBezTo>
                <a:cubicBezTo>
                  <a:pt x="3413" y="3270"/>
                  <a:pt x="3413" y="3270"/>
                  <a:pt x="3413" y="3270"/>
                </a:cubicBezTo>
                <a:cubicBezTo>
                  <a:pt x="3401" y="3260"/>
                  <a:pt x="3401" y="3260"/>
                  <a:pt x="3401" y="3260"/>
                </a:cubicBezTo>
                <a:cubicBezTo>
                  <a:pt x="3361" y="3235"/>
                  <a:pt x="3361" y="3235"/>
                  <a:pt x="3361" y="3235"/>
                </a:cubicBezTo>
                <a:cubicBezTo>
                  <a:pt x="3350" y="3248"/>
                  <a:pt x="3350" y="3248"/>
                  <a:pt x="3350" y="3248"/>
                </a:cubicBezTo>
                <a:cubicBezTo>
                  <a:pt x="3339" y="3245"/>
                  <a:pt x="3339" y="3245"/>
                  <a:pt x="3339" y="3245"/>
                </a:cubicBezTo>
                <a:cubicBezTo>
                  <a:pt x="3315" y="3261"/>
                  <a:pt x="3315" y="3261"/>
                  <a:pt x="3315" y="3261"/>
                </a:cubicBezTo>
                <a:cubicBezTo>
                  <a:pt x="3303" y="3279"/>
                  <a:pt x="3303" y="3279"/>
                  <a:pt x="3303" y="3279"/>
                </a:cubicBezTo>
                <a:cubicBezTo>
                  <a:pt x="3284" y="3267"/>
                  <a:pt x="3284" y="3267"/>
                  <a:pt x="3284" y="3267"/>
                </a:cubicBezTo>
                <a:cubicBezTo>
                  <a:pt x="3271" y="3271"/>
                  <a:pt x="3271" y="3271"/>
                  <a:pt x="3271" y="3271"/>
                </a:cubicBezTo>
                <a:cubicBezTo>
                  <a:pt x="3263" y="3264"/>
                  <a:pt x="3263" y="3264"/>
                  <a:pt x="3263" y="3264"/>
                </a:cubicBezTo>
                <a:cubicBezTo>
                  <a:pt x="3254" y="3273"/>
                  <a:pt x="3254" y="3273"/>
                  <a:pt x="3254" y="3273"/>
                </a:cubicBezTo>
                <a:cubicBezTo>
                  <a:pt x="3235" y="3277"/>
                  <a:pt x="3235" y="3277"/>
                  <a:pt x="3235" y="3277"/>
                </a:cubicBezTo>
                <a:cubicBezTo>
                  <a:pt x="3215" y="3280"/>
                  <a:pt x="3215" y="3280"/>
                  <a:pt x="3215" y="3280"/>
                </a:cubicBezTo>
                <a:cubicBezTo>
                  <a:pt x="3202" y="3292"/>
                  <a:pt x="3202" y="3292"/>
                  <a:pt x="3202" y="3292"/>
                </a:cubicBezTo>
                <a:cubicBezTo>
                  <a:pt x="3198" y="3319"/>
                  <a:pt x="3198" y="3319"/>
                  <a:pt x="3198" y="3319"/>
                </a:cubicBezTo>
                <a:cubicBezTo>
                  <a:pt x="3181" y="3319"/>
                  <a:pt x="3181" y="3319"/>
                  <a:pt x="3181" y="3319"/>
                </a:cubicBezTo>
                <a:cubicBezTo>
                  <a:pt x="3175" y="3331"/>
                  <a:pt x="3175" y="3331"/>
                  <a:pt x="3175" y="3331"/>
                </a:cubicBezTo>
                <a:cubicBezTo>
                  <a:pt x="3156" y="3335"/>
                  <a:pt x="3156" y="3335"/>
                  <a:pt x="3156" y="3335"/>
                </a:cubicBezTo>
                <a:cubicBezTo>
                  <a:pt x="3157" y="3354"/>
                  <a:pt x="3157" y="3354"/>
                  <a:pt x="3157" y="3354"/>
                </a:cubicBezTo>
                <a:cubicBezTo>
                  <a:pt x="3142" y="3361"/>
                  <a:pt x="3142" y="3361"/>
                  <a:pt x="3142" y="3361"/>
                </a:cubicBezTo>
                <a:cubicBezTo>
                  <a:pt x="3132" y="3381"/>
                  <a:pt x="3132" y="3381"/>
                  <a:pt x="3132" y="3381"/>
                </a:cubicBezTo>
                <a:cubicBezTo>
                  <a:pt x="3137" y="3392"/>
                  <a:pt x="3137" y="3392"/>
                  <a:pt x="3137" y="3392"/>
                </a:cubicBezTo>
                <a:cubicBezTo>
                  <a:pt x="3135" y="3398"/>
                  <a:pt x="3135" y="3398"/>
                  <a:pt x="3135" y="3398"/>
                </a:cubicBezTo>
                <a:cubicBezTo>
                  <a:pt x="3125" y="3398"/>
                  <a:pt x="3125" y="3398"/>
                  <a:pt x="3125" y="3398"/>
                </a:cubicBezTo>
                <a:cubicBezTo>
                  <a:pt x="3123" y="3401"/>
                  <a:pt x="3123" y="3401"/>
                  <a:pt x="3123" y="3401"/>
                </a:cubicBezTo>
                <a:cubicBezTo>
                  <a:pt x="3127" y="3411"/>
                  <a:pt x="3127" y="3411"/>
                  <a:pt x="3127" y="3411"/>
                </a:cubicBezTo>
                <a:cubicBezTo>
                  <a:pt x="3121" y="3418"/>
                  <a:pt x="3121" y="3418"/>
                  <a:pt x="3121" y="3418"/>
                </a:cubicBezTo>
                <a:cubicBezTo>
                  <a:pt x="3127" y="3425"/>
                  <a:pt x="3127" y="3425"/>
                  <a:pt x="3127" y="3425"/>
                </a:cubicBezTo>
                <a:cubicBezTo>
                  <a:pt x="3117" y="3441"/>
                  <a:pt x="3117" y="3441"/>
                  <a:pt x="3117" y="3441"/>
                </a:cubicBezTo>
                <a:cubicBezTo>
                  <a:pt x="3107" y="3440"/>
                  <a:pt x="3107" y="3440"/>
                  <a:pt x="3107" y="3440"/>
                </a:cubicBezTo>
                <a:cubicBezTo>
                  <a:pt x="3099" y="3427"/>
                  <a:pt x="3099" y="3427"/>
                  <a:pt x="3099" y="3427"/>
                </a:cubicBezTo>
                <a:cubicBezTo>
                  <a:pt x="3103" y="3403"/>
                  <a:pt x="3103" y="3403"/>
                  <a:pt x="3103" y="3403"/>
                </a:cubicBezTo>
                <a:cubicBezTo>
                  <a:pt x="3080" y="3391"/>
                  <a:pt x="3080" y="3391"/>
                  <a:pt x="3080" y="3391"/>
                </a:cubicBezTo>
                <a:cubicBezTo>
                  <a:pt x="3094" y="3383"/>
                  <a:pt x="3094" y="3383"/>
                  <a:pt x="3094" y="3383"/>
                </a:cubicBezTo>
                <a:cubicBezTo>
                  <a:pt x="3087" y="3373"/>
                  <a:pt x="3087" y="3373"/>
                  <a:pt x="3087" y="3373"/>
                </a:cubicBezTo>
                <a:cubicBezTo>
                  <a:pt x="3062" y="3370"/>
                  <a:pt x="3062" y="3370"/>
                  <a:pt x="3062" y="3370"/>
                </a:cubicBezTo>
                <a:cubicBezTo>
                  <a:pt x="3053" y="3335"/>
                  <a:pt x="3053" y="3335"/>
                  <a:pt x="3053" y="3335"/>
                </a:cubicBezTo>
                <a:cubicBezTo>
                  <a:pt x="3022" y="3339"/>
                  <a:pt x="3022" y="3339"/>
                  <a:pt x="3022" y="3339"/>
                </a:cubicBezTo>
                <a:cubicBezTo>
                  <a:pt x="3023" y="3353"/>
                  <a:pt x="3023" y="3353"/>
                  <a:pt x="3023" y="3353"/>
                </a:cubicBezTo>
                <a:cubicBezTo>
                  <a:pt x="3031" y="3366"/>
                  <a:pt x="3031" y="3366"/>
                  <a:pt x="3031" y="3366"/>
                </a:cubicBezTo>
                <a:cubicBezTo>
                  <a:pt x="3007" y="3385"/>
                  <a:pt x="3007" y="3385"/>
                  <a:pt x="3007" y="3385"/>
                </a:cubicBezTo>
                <a:cubicBezTo>
                  <a:pt x="3017" y="3396"/>
                  <a:pt x="3017" y="3396"/>
                  <a:pt x="3017" y="3396"/>
                </a:cubicBezTo>
                <a:cubicBezTo>
                  <a:pt x="3041" y="3402"/>
                  <a:pt x="3041" y="3402"/>
                  <a:pt x="3041" y="3402"/>
                </a:cubicBezTo>
                <a:cubicBezTo>
                  <a:pt x="3045" y="3414"/>
                  <a:pt x="3045" y="3414"/>
                  <a:pt x="3045" y="3414"/>
                </a:cubicBezTo>
                <a:cubicBezTo>
                  <a:pt x="3060" y="3426"/>
                  <a:pt x="3060" y="3426"/>
                  <a:pt x="3060" y="3426"/>
                </a:cubicBezTo>
                <a:cubicBezTo>
                  <a:pt x="3066" y="3450"/>
                  <a:pt x="3066" y="3450"/>
                  <a:pt x="3066" y="3450"/>
                </a:cubicBezTo>
                <a:cubicBezTo>
                  <a:pt x="3057" y="3464"/>
                  <a:pt x="3057" y="3464"/>
                  <a:pt x="3057" y="3464"/>
                </a:cubicBezTo>
                <a:cubicBezTo>
                  <a:pt x="3065" y="3487"/>
                  <a:pt x="3065" y="3487"/>
                  <a:pt x="3065" y="3487"/>
                </a:cubicBezTo>
                <a:cubicBezTo>
                  <a:pt x="3074" y="3490"/>
                  <a:pt x="3074" y="3490"/>
                  <a:pt x="3074" y="3490"/>
                </a:cubicBezTo>
                <a:cubicBezTo>
                  <a:pt x="3092" y="3512"/>
                  <a:pt x="3092" y="3512"/>
                  <a:pt x="3092" y="3512"/>
                </a:cubicBezTo>
                <a:cubicBezTo>
                  <a:pt x="3087" y="3520"/>
                  <a:pt x="3087" y="3520"/>
                  <a:pt x="3087" y="3520"/>
                </a:cubicBezTo>
                <a:cubicBezTo>
                  <a:pt x="3118" y="3526"/>
                  <a:pt x="3118" y="3526"/>
                  <a:pt x="3118" y="3526"/>
                </a:cubicBezTo>
                <a:cubicBezTo>
                  <a:pt x="3119" y="3541"/>
                  <a:pt x="3119" y="3541"/>
                  <a:pt x="3119" y="3541"/>
                </a:cubicBezTo>
                <a:cubicBezTo>
                  <a:pt x="3129" y="3541"/>
                  <a:pt x="3129" y="3541"/>
                  <a:pt x="3129" y="3541"/>
                </a:cubicBezTo>
                <a:cubicBezTo>
                  <a:pt x="3167" y="3565"/>
                  <a:pt x="3167" y="3565"/>
                  <a:pt x="3167" y="3565"/>
                </a:cubicBezTo>
                <a:cubicBezTo>
                  <a:pt x="3174" y="3575"/>
                  <a:pt x="3174" y="3575"/>
                  <a:pt x="3174" y="3575"/>
                </a:cubicBezTo>
                <a:cubicBezTo>
                  <a:pt x="3183" y="3566"/>
                  <a:pt x="3183" y="3566"/>
                  <a:pt x="3183" y="3566"/>
                </a:cubicBezTo>
                <a:cubicBezTo>
                  <a:pt x="3197" y="3580"/>
                  <a:pt x="3197" y="3580"/>
                  <a:pt x="3197" y="3580"/>
                </a:cubicBezTo>
                <a:cubicBezTo>
                  <a:pt x="3197" y="3589"/>
                  <a:pt x="3197" y="3589"/>
                  <a:pt x="3197" y="3589"/>
                </a:cubicBezTo>
                <a:cubicBezTo>
                  <a:pt x="3187" y="3598"/>
                  <a:pt x="3187" y="3598"/>
                  <a:pt x="3187" y="3598"/>
                </a:cubicBezTo>
                <a:cubicBezTo>
                  <a:pt x="3187" y="3607"/>
                  <a:pt x="3187" y="3607"/>
                  <a:pt x="3187" y="3607"/>
                </a:cubicBezTo>
                <a:cubicBezTo>
                  <a:pt x="3227" y="3623"/>
                  <a:pt x="3227" y="3623"/>
                  <a:pt x="3227" y="3623"/>
                </a:cubicBezTo>
                <a:cubicBezTo>
                  <a:pt x="3227" y="3634"/>
                  <a:pt x="3227" y="3634"/>
                  <a:pt x="3227" y="3634"/>
                </a:cubicBezTo>
                <a:cubicBezTo>
                  <a:pt x="3214" y="3649"/>
                  <a:pt x="3214" y="3649"/>
                  <a:pt x="3214" y="3649"/>
                </a:cubicBezTo>
                <a:cubicBezTo>
                  <a:pt x="3210" y="3663"/>
                  <a:pt x="3210" y="3663"/>
                  <a:pt x="3210" y="3663"/>
                </a:cubicBezTo>
                <a:cubicBezTo>
                  <a:pt x="3203" y="3667"/>
                  <a:pt x="3203" y="3667"/>
                  <a:pt x="3203" y="3667"/>
                </a:cubicBezTo>
                <a:cubicBezTo>
                  <a:pt x="3200" y="3683"/>
                  <a:pt x="3200" y="3683"/>
                  <a:pt x="3200" y="3683"/>
                </a:cubicBezTo>
                <a:cubicBezTo>
                  <a:pt x="3190" y="3680"/>
                  <a:pt x="3190" y="3680"/>
                  <a:pt x="3190" y="3680"/>
                </a:cubicBezTo>
                <a:cubicBezTo>
                  <a:pt x="3187" y="3717"/>
                  <a:pt x="3187" y="3717"/>
                  <a:pt x="3187" y="3717"/>
                </a:cubicBezTo>
                <a:cubicBezTo>
                  <a:pt x="3154" y="3743"/>
                  <a:pt x="3154" y="3743"/>
                  <a:pt x="3154" y="3743"/>
                </a:cubicBezTo>
                <a:cubicBezTo>
                  <a:pt x="3183" y="3780"/>
                  <a:pt x="3183" y="3780"/>
                  <a:pt x="3183" y="3780"/>
                </a:cubicBezTo>
                <a:cubicBezTo>
                  <a:pt x="3196" y="3788"/>
                  <a:pt x="3196" y="3788"/>
                  <a:pt x="3196" y="3788"/>
                </a:cubicBezTo>
                <a:cubicBezTo>
                  <a:pt x="3208" y="3792"/>
                  <a:pt x="3208" y="3792"/>
                  <a:pt x="3208" y="3792"/>
                </a:cubicBezTo>
                <a:cubicBezTo>
                  <a:pt x="3216" y="3799"/>
                  <a:pt x="3216" y="3799"/>
                  <a:pt x="3216" y="3799"/>
                </a:cubicBezTo>
                <a:cubicBezTo>
                  <a:pt x="3214" y="3821"/>
                  <a:pt x="3214" y="3821"/>
                  <a:pt x="3214" y="3821"/>
                </a:cubicBezTo>
                <a:cubicBezTo>
                  <a:pt x="3215" y="3843"/>
                  <a:pt x="3215" y="3843"/>
                  <a:pt x="3215" y="3843"/>
                </a:cubicBezTo>
                <a:cubicBezTo>
                  <a:pt x="3231" y="3843"/>
                  <a:pt x="3231" y="3843"/>
                  <a:pt x="3231" y="3843"/>
                </a:cubicBezTo>
                <a:cubicBezTo>
                  <a:pt x="3234" y="3857"/>
                  <a:pt x="3234" y="3857"/>
                  <a:pt x="3234" y="3857"/>
                </a:cubicBezTo>
                <a:cubicBezTo>
                  <a:pt x="3238" y="3865"/>
                  <a:pt x="3238" y="3865"/>
                  <a:pt x="3238" y="3865"/>
                </a:cubicBezTo>
                <a:cubicBezTo>
                  <a:pt x="3234" y="3881"/>
                  <a:pt x="3234" y="3881"/>
                  <a:pt x="3234" y="3881"/>
                </a:cubicBezTo>
                <a:cubicBezTo>
                  <a:pt x="3256" y="3907"/>
                  <a:pt x="3256" y="3907"/>
                  <a:pt x="3256" y="3907"/>
                </a:cubicBezTo>
                <a:cubicBezTo>
                  <a:pt x="3272" y="3911"/>
                  <a:pt x="3272" y="3911"/>
                  <a:pt x="3272" y="3911"/>
                </a:cubicBezTo>
                <a:cubicBezTo>
                  <a:pt x="3274" y="3937"/>
                  <a:pt x="3274" y="3937"/>
                  <a:pt x="3274" y="3937"/>
                </a:cubicBezTo>
                <a:cubicBezTo>
                  <a:pt x="3268" y="3948"/>
                  <a:pt x="3268" y="3948"/>
                  <a:pt x="3268" y="3948"/>
                </a:cubicBezTo>
                <a:cubicBezTo>
                  <a:pt x="3280" y="3958"/>
                  <a:pt x="3280" y="3958"/>
                  <a:pt x="3280" y="3958"/>
                </a:cubicBezTo>
                <a:cubicBezTo>
                  <a:pt x="3278" y="3975"/>
                  <a:pt x="3278" y="3975"/>
                  <a:pt x="3278" y="3975"/>
                </a:cubicBezTo>
                <a:cubicBezTo>
                  <a:pt x="3290" y="3986"/>
                  <a:pt x="3290" y="3986"/>
                  <a:pt x="3290" y="3986"/>
                </a:cubicBezTo>
                <a:cubicBezTo>
                  <a:pt x="3302" y="3986"/>
                  <a:pt x="3302" y="3986"/>
                  <a:pt x="3302" y="3986"/>
                </a:cubicBezTo>
                <a:cubicBezTo>
                  <a:pt x="3330" y="4010"/>
                  <a:pt x="3330" y="4010"/>
                  <a:pt x="3330" y="4010"/>
                </a:cubicBezTo>
                <a:cubicBezTo>
                  <a:pt x="3331" y="4023"/>
                  <a:pt x="3331" y="4023"/>
                  <a:pt x="3331" y="4023"/>
                </a:cubicBezTo>
                <a:cubicBezTo>
                  <a:pt x="3339" y="4031"/>
                  <a:pt x="3339" y="4031"/>
                  <a:pt x="3339" y="4031"/>
                </a:cubicBezTo>
                <a:cubicBezTo>
                  <a:pt x="3340" y="4042"/>
                  <a:pt x="3340" y="4042"/>
                  <a:pt x="3340" y="4042"/>
                </a:cubicBezTo>
                <a:cubicBezTo>
                  <a:pt x="3370" y="4042"/>
                  <a:pt x="3370" y="4042"/>
                  <a:pt x="3370" y="4042"/>
                </a:cubicBezTo>
                <a:cubicBezTo>
                  <a:pt x="3384" y="4051"/>
                  <a:pt x="3384" y="4051"/>
                  <a:pt x="3384" y="4051"/>
                </a:cubicBezTo>
                <a:cubicBezTo>
                  <a:pt x="3391" y="4035"/>
                  <a:pt x="3391" y="4035"/>
                  <a:pt x="3391" y="4035"/>
                </a:cubicBezTo>
                <a:cubicBezTo>
                  <a:pt x="3406" y="4040"/>
                  <a:pt x="3406" y="4040"/>
                  <a:pt x="3406" y="4040"/>
                </a:cubicBezTo>
                <a:cubicBezTo>
                  <a:pt x="3422" y="4042"/>
                  <a:pt x="3422" y="4042"/>
                  <a:pt x="3422" y="4042"/>
                </a:cubicBezTo>
                <a:cubicBezTo>
                  <a:pt x="3444" y="4066"/>
                  <a:pt x="3444" y="4066"/>
                  <a:pt x="3444" y="4066"/>
                </a:cubicBezTo>
                <a:cubicBezTo>
                  <a:pt x="3459" y="4072"/>
                  <a:pt x="3459" y="4072"/>
                  <a:pt x="3459" y="4072"/>
                </a:cubicBezTo>
                <a:cubicBezTo>
                  <a:pt x="3455" y="4096"/>
                  <a:pt x="3455" y="4096"/>
                  <a:pt x="3455" y="4096"/>
                </a:cubicBezTo>
                <a:cubicBezTo>
                  <a:pt x="3469" y="4100"/>
                  <a:pt x="3469" y="4100"/>
                  <a:pt x="3469" y="4100"/>
                </a:cubicBezTo>
                <a:cubicBezTo>
                  <a:pt x="3471" y="4115"/>
                  <a:pt x="3471" y="4115"/>
                  <a:pt x="3471" y="4115"/>
                </a:cubicBezTo>
                <a:cubicBezTo>
                  <a:pt x="3482" y="4115"/>
                  <a:pt x="3482" y="4115"/>
                  <a:pt x="3482" y="4115"/>
                </a:cubicBezTo>
                <a:cubicBezTo>
                  <a:pt x="3484" y="4131"/>
                  <a:pt x="3484" y="4131"/>
                  <a:pt x="3484" y="4131"/>
                </a:cubicBezTo>
                <a:cubicBezTo>
                  <a:pt x="3496" y="4131"/>
                  <a:pt x="3496" y="4131"/>
                  <a:pt x="3496" y="4131"/>
                </a:cubicBezTo>
                <a:cubicBezTo>
                  <a:pt x="3500" y="4141"/>
                  <a:pt x="3500" y="4141"/>
                  <a:pt x="3500" y="4141"/>
                </a:cubicBezTo>
                <a:cubicBezTo>
                  <a:pt x="3532" y="4168"/>
                  <a:pt x="3532" y="4168"/>
                  <a:pt x="3532" y="4168"/>
                </a:cubicBezTo>
                <a:cubicBezTo>
                  <a:pt x="3531" y="4188"/>
                  <a:pt x="3531" y="4188"/>
                  <a:pt x="3531" y="4188"/>
                </a:cubicBezTo>
                <a:cubicBezTo>
                  <a:pt x="3558" y="4207"/>
                  <a:pt x="3558" y="4207"/>
                  <a:pt x="3558" y="4207"/>
                </a:cubicBezTo>
                <a:cubicBezTo>
                  <a:pt x="3582" y="4199"/>
                  <a:pt x="3582" y="4199"/>
                  <a:pt x="3582" y="4199"/>
                </a:cubicBezTo>
                <a:cubicBezTo>
                  <a:pt x="3638" y="4250"/>
                  <a:pt x="3638" y="4250"/>
                  <a:pt x="3638" y="4250"/>
                </a:cubicBezTo>
                <a:cubicBezTo>
                  <a:pt x="3636" y="4255"/>
                  <a:pt x="3636" y="4255"/>
                  <a:pt x="3636" y="4255"/>
                </a:cubicBezTo>
                <a:cubicBezTo>
                  <a:pt x="3639" y="4275"/>
                  <a:pt x="3639" y="4275"/>
                  <a:pt x="3639" y="4275"/>
                </a:cubicBezTo>
                <a:cubicBezTo>
                  <a:pt x="3643" y="4283"/>
                  <a:pt x="3643" y="4283"/>
                  <a:pt x="3643" y="4283"/>
                </a:cubicBezTo>
                <a:cubicBezTo>
                  <a:pt x="3640" y="4301"/>
                  <a:pt x="3640" y="4301"/>
                  <a:pt x="3640" y="4301"/>
                </a:cubicBezTo>
                <a:cubicBezTo>
                  <a:pt x="3687" y="4331"/>
                  <a:pt x="3687" y="4331"/>
                  <a:pt x="3687" y="4331"/>
                </a:cubicBezTo>
                <a:cubicBezTo>
                  <a:pt x="3692" y="4331"/>
                  <a:pt x="3692" y="4331"/>
                  <a:pt x="3692" y="4331"/>
                </a:cubicBezTo>
                <a:cubicBezTo>
                  <a:pt x="3692" y="4314"/>
                  <a:pt x="3692" y="4314"/>
                  <a:pt x="3692" y="4314"/>
                </a:cubicBezTo>
                <a:cubicBezTo>
                  <a:pt x="3704" y="4314"/>
                  <a:pt x="3704" y="4314"/>
                  <a:pt x="3704" y="4314"/>
                </a:cubicBezTo>
                <a:cubicBezTo>
                  <a:pt x="3716" y="4317"/>
                  <a:pt x="3716" y="4317"/>
                  <a:pt x="3716" y="4317"/>
                </a:cubicBezTo>
                <a:cubicBezTo>
                  <a:pt x="3734" y="4317"/>
                  <a:pt x="3734" y="4317"/>
                  <a:pt x="3734" y="4317"/>
                </a:cubicBezTo>
                <a:cubicBezTo>
                  <a:pt x="3737" y="4331"/>
                  <a:pt x="3737" y="4331"/>
                  <a:pt x="3737" y="4331"/>
                </a:cubicBezTo>
                <a:cubicBezTo>
                  <a:pt x="3753" y="4326"/>
                  <a:pt x="3753" y="4326"/>
                  <a:pt x="3753" y="4326"/>
                </a:cubicBezTo>
                <a:cubicBezTo>
                  <a:pt x="3747" y="4337"/>
                  <a:pt x="3747" y="4337"/>
                  <a:pt x="3747" y="4337"/>
                </a:cubicBezTo>
                <a:cubicBezTo>
                  <a:pt x="3771" y="4373"/>
                  <a:pt x="3771" y="4373"/>
                  <a:pt x="3771" y="4373"/>
                </a:cubicBezTo>
                <a:cubicBezTo>
                  <a:pt x="3791" y="4373"/>
                  <a:pt x="3791" y="4373"/>
                  <a:pt x="3791" y="4373"/>
                </a:cubicBezTo>
                <a:cubicBezTo>
                  <a:pt x="3799" y="4370"/>
                  <a:pt x="3799" y="4370"/>
                  <a:pt x="3799" y="4370"/>
                </a:cubicBezTo>
                <a:cubicBezTo>
                  <a:pt x="3809" y="4384"/>
                  <a:pt x="3809" y="4384"/>
                  <a:pt x="3809" y="4384"/>
                </a:cubicBezTo>
                <a:cubicBezTo>
                  <a:pt x="3808" y="4390"/>
                  <a:pt x="3808" y="4390"/>
                  <a:pt x="3808" y="4390"/>
                </a:cubicBezTo>
                <a:cubicBezTo>
                  <a:pt x="3817" y="4408"/>
                  <a:pt x="3817" y="4408"/>
                  <a:pt x="3817" y="4408"/>
                </a:cubicBezTo>
                <a:cubicBezTo>
                  <a:pt x="3827" y="4410"/>
                  <a:pt x="3827" y="4410"/>
                  <a:pt x="3827" y="4410"/>
                </a:cubicBezTo>
                <a:cubicBezTo>
                  <a:pt x="3838" y="4430"/>
                  <a:pt x="3838" y="4430"/>
                  <a:pt x="3838" y="4430"/>
                </a:cubicBezTo>
                <a:cubicBezTo>
                  <a:pt x="3835" y="4444"/>
                  <a:pt x="3835" y="4444"/>
                  <a:pt x="3835" y="4444"/>
                </a:cubicBezTo>
                <a:cubicBezTo>
                  <a:pt x="3839" y="4451"/>
                  <a:pt x="3839" y="4451"/>
                  <a:pt x="3839" y="4451"/>
                </a:cubicBezTo>
                <a:cubicBezTo>
                  <a:pt x="3852" y="4453"/>
                  <a:pt x="3852" y="4453"/>
                  <a:pt x="3852" y="4453"/>
                </a:cubicBezTo>
                <a:cubicBezTo>
                  <a:pt x="3837" y="4467"/>
                  <a:pt x="3837" y="4467"/>
                  <a:pt x="3837" y="4467"/>
                </a:cubicBezTo>
                <a:cubicBezTo>
                  <a:pt x="3837" y="4482"/>
                  <a:pt x="3837" y="4482"/>
                  <a:pt x="3837" y="4482"/>
                </a:cubicBezTo>
                <a:cubicBezTo>
                  <a:pt x="3829" y="4494"/>
                  <a:pt x="3829" y="4494"/>
                  <a:pt x="3829" y="4494"/>
                </a:cubicBezTo>
                <a:cubicBezTo>
                  <a:pt x="3841" y="4508"/>
                  <a:pt x="3841" y="4508"/>
                  <a:pt x="3841" y="4508"/>
                </a:cubicBezTo>
                <a:cubicBezTo>
                  <a:pt x="3835" y="4518"/>
                  <a:pt x="3835" y="4518"/>
                  <a:pt x="3835" y="4518"/>
                </a:cubicBezTo>
                <a:cubicBezTo>
                  <a:pt x="3839" y="4523"/>
                  <a:pt x="3839" y="4523"/>
                  <a:pt x="3839" y="4523"/>
                </a:cubicBezTo>
                <a:cubicBezTo>
                  <a:pt x="3841" y="4539"/>
                  <a:pt x="3841" y="4539"/>
                  <a:pt x="3841" y="4539"/>
                </a:cubicBezTo>
                <a:cubicBezTo>
                  <a:pt x="3843" y="4545"/>
                  <a:pt x="3843" y="4545"/>
                  <a:pt x="3843" y="4545"/>
                </a:cubicBezTo>
                <a:cubicBezTo>
                  <a:pt x="3845" y="4566"/>
                  <a:pt x="3845" y="4566"/>
                  <a:pt x="3845" y="4566"/>
                </a:cubicBezTo>
                <a:cubicBezTo>
                  <a:pt x="3828" y="4576"/>
                  <a:pt x="3828" y="4576"/>
                  <a:pt x="3828" y="4576"/>
                </a:cubicBezTo>
                <a:cubicBezTo>
                  <a:pt x="3831" y="4583"/>
                  <a:pt x="3831" y="4583"/>
                  <a:pt x="3831" y="4583"/>
                </a:cubicBezTo>
                <a:cubicBezTo>
                  <a:pt x="3831" y="4592"/>
                  <a:pt x="3831" y="4592"/>
                  <a:pt x="3831" y="4592"/>
                </a:cubicBezTo>
                <a:cubicBezTo>
                  <a:pt x="3824" y="4597"/>
                  <a:pt x="3824" y="4597"/>
                  <a:pt x="3824" y="4597"/>
                </a:cubicBezTo>
                <a:cubicBezTo>
                  <a:pt x="3816" y="4610"/>
                  <a:pt x="3816" y="4610"/>
                  <a:pt x="3816" y="4610"/>
                </a:cubicBezTo>
                <a:cubicBezTo>
                  <a:pt x="3808" y="4605"/>
                  <a:pt x="3808" y="4605"/>
                  <a:pt x="3808" y="4605"/>
                </a:cubicBezTo>
                <a:cubicBezTo>
                  <a:pt x="3801" y="4614"/>
                  <a:pt x="3801" y="4614"/>
                  <a:pt x="3801" y="4614"/>
                </a:cubicBezTo>
                <a:cubicBezTo>
                  <a:pt x="3801" y="4627"/>
                  <a:pt x="3801" y="4627"/>
                  <a:pt x="3801" y="4627"/>
                </a:cubicBezTo>
                <a:cubicBezTo>
                  <a:pt x="3791" y="4639"/>
                  <a:pt x="3791" y="4639"/>
                  <a:pt x="3791" y="4639"/>
                </a:cubicBezTo>
                <a:cubicBezTo>
                  <a:pt x="3777" y="4634"/>
                  <a:pt x="3770" y="4627"/>
                  <a:pt x="3767" y="4622"/>
                </a:cubicBezTo>
                <a:cubicBezTo>
                  <a:pt x="3763" y="4616"/>
                  <a:pt x="3764" y="4612"/>
                  <a:pt x="3759" y="4607"/>
                </a:cubicBezTo>
                <a:cubicBezTo>
                  <a:pt x="3752" y="4599"/>
                  <a:pt x="3740" y="4594"/>
                  <a:pt x="3734" y="4598"/>
                </a:cubicBezTo>
                <a:cubicBezTo>
                  <a:pt x="3730" y="4601"/>
                  <a:pt x="3732" y="4608"/>
                  <a:pt x="3729" y="4609"/>
                </a:cubicBezTo>
                <a:cubicBezTo>
                  <a:pt x="3721" y="4611"/>
                  <a:pt x="3708" y="4577"/>
                  <a:pt x="3697" y="4579"/>
                </a:cubicBezTo>
                <a:cubicBezTo>
                  <a:pt x="3691" y="4580"/>
                  <a:pt x="3693" y="4588"/>
                  <a:pt x="3684" y="4595"/>
                </a:cubicBezTo>
                <a:cubicBezTo>
                  <a:pt x="3672" y="4606"/>
                  <a:pt x="3658" y="4600"/>
                  <a:pt x="3654" y="4608"/>
                </a:cubicBezTo>
                <a:cubicBezTo>
                  <a:pt x="3651" y="4615"/>
                  <a:pt x="3663" y="4620"/>
                  <a:pt x="3664" y="4635"/>
                </a:cubicBezTo>
                <a:cubicBezTo>
                  <a:pt x="3665" y="4653"/>
                  <a:pt x="3647" y="4661"/>
                  <a:pt x="3651" y="4676"/>
                </a:cubicBezTo>
                <a:cubicBezTo>
                  <a:pt x="3653" y="4682"/>
                  <a:pt x="3657" y="4683"/>
                  <a:pt x="3658" y="4690"/>
                </a:cubicBezTo>
                <a:cubicBezTo>
                  <a:pt x="3659" y="4698"/>
                  <a:pt x="3654" y="4701"/>
                  <a:pt x="3650" y="4712"/>
                </a:cubicBezTo>
                <a:cubicBezTo>
                  <a:pt x="3644" y="4726"/>
                  <a:pt x="3648" y="4726"/>
                  <a:pt x="3644" y="4735"/>
                </a:cubicBezTo>
                <a:cubicBezTo>
                  <a:pt x="3638" y="4746"/>
                  <a:pt x="3631" y="4745"/>
                  <a:pt x="3617" y="4761"/>
                </a:cubicBezTo>
                <a:cubicBezTo>
                  <a:pt x="3608" y="4771"/>
                  <a:pt x="3610" y="4771"/>
                  <a:pt x="3604" y="4777"/>
                </a:cubicBezTo>
                <a:cubicBezTo>
                  <a:pt x="3602" y="4779"/>
                  <a:pt x="3587" y="4793"/>
                  <a:pt x="3566" y="4795"/>
                </a:cubicBezTo>
                <a:cubicBezTo>
                  <a:pt x="3550" y="4797"/>
                  <a:pt x="3547" y="4791"/>
                  <a:pt x="3534" y="4795"/>
                </a:cubicBezTo>
                <a:cubicBezTo>
                  <a:pt x="3525" y="4799"/>
                  <a:pt x="3526" y="4802"/>
                  <a:pt x="3517" y="4806"/>
                </a:cubicBezTo>
                <a:cubicBezTo>
                  <a:pt x="3503" y="4811"/>
                  <a:pt x="3499" y="4804"/>
                  <a:pt x="3485" y="4809"/>
                </a:cubicBezTo>
                <a:cubicBezTo>
                  <a:pt x="3476" y="4812"/>
                  <a:pt x="3477" y="4815"/>
                  <a:pt x="3465" y="4820"/>
                </a:cubicBezTo>
                <a:cubicBezTo>
                  <a:pt x="3457" y="4823"/>
                  <a:pt x="3453" y="4823"/>
                  <a:pt x="3450" y="4827"/>
                </a:cubicBezTo>
                <a:cubicBezTo>
                  <a:pt x="3445" y="4831"/>
                  <a:pt x="3446" y="4836"/>
                  <a:pt x="3444" y="4842"/>
                </a:cubicBezTo>
                <a:cubicBezTo>
                  <a:pt x="3442" y="4847"/>
                  <a:pt x="3436" y="4854"/>
                  <a:pt x="3419" y="4859"/>
                </a:cubicBezTo>
                <a:cubicBezTo>
                  <a:pt x="3389" y="4862"/>
                  <a:pt x="3389" y="4862"/>
                  <a:pt x="3389" y="4862"/>
                </a:cubicBezTo>
                <a:cubicBezTo>
                  <a:pt x="3361" y="4902"/>
                  <a:pt x="3361" y="4902"/>
                  <a:pt x="3361" y="4902"/>
                </a:cubicBezTo>
                <a:cubicBezTo>
                  <a:pt x="3346" y="4910"/>
                  <a:pt x="3346" y="4910"/>
                  <a:pt x="3346" y="4910"/>
                </a:cubicBezTo>
                <a:cubicBezTo>
                  <a:pt x="3340" y="4923"/>
                  <a:pt x="3340" y="4923"/>
                  <a:pt x="3340" y="4923"/>
                </a:cubicBezTo>
                <a:cubicBezTo>
                  <a:pt x="3333" y="4918"/>
                  <a:pt x="3333" y="4918"/>
                  <a:pt x="3333" y="4918"/>
                </a:cubicBezTo>
                <a:cubicBezTo>
                  <a:pt x="3324" y="4935"/>
                  <a:pt x="3324" y="4935"/>
                  <a:pt x="3324" y="4935"/>
                </a:cubicBezTo>
                <a:cubicBezTo>
                  <a:pt x="3326" y="4953"/>
                  <a:pt x="3326" y="4953"/>
                  <a:pt x="3326" y="4953"/>
                </a:cubicBezTo>
                <a:cubicBezTo>
                  <a:pt x="3377" y="4998"/>
                  <a:pt x="3377" y="4998"/>
                  <a:pt x="3377" y="4998"/>
                </a:cubicBezTo>
                <a:cubicBezTo>
                  <a:pt x="3383" y="5012"/>
                  <a:pt x="3383" y="5012"/>
                  <a:pt x="3383" y="5012"/>
                </a:cubicBezTo>
                <a:cubicBezTo>
                  <a:pt x="3384" y="5027"/>
                  <a:pt x="3384" y="5027"/>
                  <a:pt x="3384" y="5027"/>
                </a:cubicBezTo>
                <a:cubicBezTo>
                  <a:pt x="3390" y="5039"/>
                  <a:pt x="3390" y="5039"/>
                  <a:pt x="3390" y="5039"/>
                </a:cubicBezTo>
                <a:cubicBezTo>
                  <a:pt x="3408" y="5042"/>
                  <a:pt x="3408" y="5042"/>
                  <a:pt x="3408" y="5042"/>
                </a:cubicBezTo>
                <a:cubicBezTo>
                  <a:pt x="3410" y="5051"/>
                  <a:pt x="3410" y="5051"/>
                  <a:pt x="3410" y="5051"/>
                </a:cubicBezTo>
                <a:cubicBezTo>
                  <a:pt x="3414" y="5050"/>
                  <a:pt x="3414" y="5050"/>
                  <a:pt x="3414" y="5050"/>
                </a:cubicBezTo>
                <a:cubicBezTo>
                  <a:pt x="3417" y="5061"/>
                  <a:pt x="3417" y="5061"/>
                  <a:pt x="3417" y="5061"/>
                </a:cubicBezTo>
                <a:cubicBezTo>
                  <a:pt x="3453" y="5121"/>
                  <a:pt x="3453" y="5121"/>
                  <a:pt x="3453" y="5121"/>
                </a:cubicBezTo>
                <a:cubicBezTo>
                  <a:pt x="3420" y="5171"/>
                  <a:pt x="3420" y="5171"/>
                  <a:pt x="3420" y="5171"/>
                </a:cubicBezTo>
                <a:cubicBezTo>
                  <a:pt x="3419" y="5188"/>
                  <a:pt x="3419" y="5188"/>
                  <a:pt x="3419" y="5188"/>
                </a:cubicBezTo>
                <a:cubicBezTo>
                  <a:pt x="3402" y="5205"/>
                  <a:pt x="3402" y="5205"/>
                  <a:pt x="3402" y="5205"/>
                </a:cubicBezTo>
                <a:cubicBezTo>
                  <a:pt x="3413" y="5221"/>
                  <a:pt x="3413" y="5221"/>
                  <a:pt x="3413" y="5221"/>
                </a:cubicBezTo>
                <a:cubicBezTo>
                  <a:pt x="3437" y="5223"/>
                  <a:pt x="3437" y="5223"/>
                  <a:pt x="3437" y="5223"/>
                </a:cubicBezTo>
                <a:cubicBezTo>
                  <a:pt x="3457" y="5210"/>
                  <a:pt x="3457" y="5210"/>
                  <a:pt x="3457" y="5210"/>
                </a:cubicBezTo>
                <a:cubicBezTo>
                  <a:pt x="3482" y="5229"/>
                  <a:pt x="3482" y="5229"/>
                  <a:pt x="3482" y="5229"/>
                </a:cubicBezTo>
                <a:cubicBezTo>
                  <a:pt x="3488" y="5254"/>
                  <a:pt x="3488" y="5254"/>
                  <a:pt x="3488" y="5254"/>
                </a:cubicBezTo>
                <a:cubicBezTo>
                  <a:pt x="3496" y="5273"/>
                  <a:pt x="3496" y="5273"/>
                  <a:pt x="3496" y="5273"/>
                </a:cubicBezTo>
                <a:cubicBezTo>
                  <a:pt x="3479" y="5290"/>
                  <a:pt x="3479" y="5290"/>
                  <a:pt x="3479" y="5290"/>
                </a:cubicBezTo>
                <a:cubicBezTo>
                  <a:pt x="3482" y="5304"/>
                  <a:pt x="3482" y="5304"/>
                  <a:pt x="3482" y="5304"/>
                </a:cubicBezTo>
                <a:cubicBezTo>
                  <a:pt x="3480" y="5311"/>
                  <a:pt x="3480" y="5311"/>
                  <a:pt x="3480" y="5311"/>
                </a:cubicBezTo>
                <a:cubicBezTo>
                  <a:pt x="3469" y="5309"/>
                  <a:pt x="3469" y="5309"/>
                  <a:pt x="3469" y="5309"/>
                </a:cubicBezTo>
                <a:cubicBezTo>
                  <a:pt x="3464" y="5321"/>
                  <a:pt x="3464" y="5321"/>
                  <a:pt x="3464" y="5321"/>
                </a:cubicBezTo>
                <a:cubicBezTo>
                  <a:pt x="3477" y="5329"/>
                  <a:pt x="3477" y="5329"/>
                  <a:pt x="3477" y="5329"/>
                </a:cubicBezTo>
                <a:cubicBezTo>
                  <a:pt x="3463" y="5343"/>
                  <a:pt x="3463" y="5343"/>
                  <a:pt x="3463" y="5343"/>
                </a:cubicBezTo>
                <a:cubicBezTo>
                  <a:pt x="3469" y="5358"/>
                  <a:pt x="3469" y="5358"/>
                  <a:pt x="3469" y="5358"/>
                </a:cubicBezTo>
                <a:cubicBezTo>
                  <a:pt x="3469" y="5374"/>
                  <a:pt x="3469" y="5374"/>
                  <a:pt x="3469" y="5374"/>
                </a:cubicBezTo>
                <a:cubicBezTo>
                  <a:pt x="3449" y="5393"/>
                  <a:pt x="3449" y="5393"/>
                  <a:pt x="3449" y="5393"/>
                </a:cubicBezTo>
                <a:cubicBezTo>
                  <a:pt x="3436" y="5383"/>
                  <a:pt x="3436" y="5383"/>
                  <a:pt x="3436" y="5383"/>
                </a:cubicBezTo>
                <a:cubicBezTo>
                  <a:pt x="3436" y="5383"/>
                  <a:pt x="3431" y="5389"/>
                  <a:pt x="3430" y="5389"/>
                </a:cubicBezTo>
                <a:cubicBezTo>
                  <a:pt x="3429" y="5388"/>
                  <a:pt x="3403" y="5369"/>
                  <a:pt x="3403" y="5369"/>
                </a:cubicBezTo>
                <a:cubicBezTo>
                  <a:pt x="3377" y="5346"/>
                  <a:pt x="3377" y="5346"/>
                  <a:pt x="3377" y="5346"/>
                </a:cubicBezTo>
                <a:cubicBezTo>
                  <a:pt x="3375" y="5337"/>
                  <a:pt x="3375" y="5337"/>
                  <a:pt x="3375" y="5337"/>
                </a:cubicBezTo>
                <a:cubicBezTo>
                  <a:pt x="3353" y="5335"/>
                  <a:pt x="3353" y="5335"/>
                  <a:pt x="3353" y="5335"/>
                </a:cubicBezTo>
                <a:cubicBezTo>
                  <a:pt x="3341" y="5315"/>
                  <a:pt x="3341" y="5315"/>
                  <a:pt x="3341" y="5315"/>
                </a:cubicBezTo>
                <a:cubicBezTo>
                  <a:pt x="3346" y="5299"/>
                  <a:pt x="3346" y="5299"/>
                  <a:pt x="3346" y="5299"/>
                </a:cubicBezTo>
                <a:cubicBezTo>
                  <a:pt x="3357" y="5294"/>
                  <a:pt x="3357" y="5294"/>
                  <a:pt x="3357" y="5294"/>
                </a:cubicBezTo>
                <a:cubicBezTo>
                  <a:pt x="3357" y="5289"/>
                  <a:pt x="3357" y="5289"/>
                  <a:pt x="3357" y="5289"/>
                </a:cubicBezTo>
                <a:cubicBezTo>
                  <a:pt x="3337" y="5274"/>
                  <a:pt x="3337" y="5274"/>
                  <a:pt x="3337" y="5274"/>
                </a:cubicBezTo>
                <a:cubicBezTo>
                  <a:pt x="3333" y="5260"/>
                  <a:pt x="3333" y="5260"/>
                  <a:pt x="3333" y="5260"/>
                </a:cubicBezTo>
                <a:cubicBezTo>
                  <a:pt x="3342" y="5251"/>
                  <a:pt x="3342" y="5251"/>
                  <a:pt x="3342" y="5251"/>
                </a:cubicBezTo>
                <a:cubicBezTo>
                  <a:pt x="3340" y="5246"/>
                  <a:pt x="3340" y="5246"/>
                  <a:pt x="3340" y="5246"/>
                </a:cubicBezTo>
                <a:cubicBezTo>
                  <a:pt x="3328" y="5249"/>
                  <a:pt x="3328" y="5249"/>
                  <a:pt x="3328" y="5249"/>
                </a:cubicBezTo>
                <a:cubicBezTo>
                  <a:pt x="3328" y="5249"/>
                  <a:pt x="3290" y="5238"/>
                  <a:pt x="3289" y="5237"/>
                </a:cubicBezTo>
                <a:cubicBezTo>
                  <a:pt x="3288" y="5236"/>
                  <a:pt x="3273" y="5249"/>
                  <a:pt x="3273" y="5249"/>
                </a:cubicBezTo>
                <a:cubicBezTo>
                  <a:pt x="3261" y="5244"/>
                  <a:pt x="3261" y="5244"/>
                  <a:pt x="3261" y="5244"/>
                </a:cubicBezTo>
                <a:cubicBezTo>
                  <a:pt x="3248" y="5254"/>
                  <a:pt x="3248" y="5254"/>
                  <a:pt x="3248" y="5254"/>
                </a:cubicBezTo>
                <a:cubicBezTo>
                  <a:pt x="3239" y="5273"/>
                  <a:pt x="3239" y="5273"/>
                  <a:pt x="3239" y="5273"/>
                </a:cubicBezTo>
                <a:cubicBezTo>
                  <a:pt x="3222" y="5272"/>
                  <a:pt x="3222" y="5272"/>
                  <a:pt x="3222" y="5272"/>
                </a:cubicBezTo>
                <a:cubicBezTo>
                  <a:pt x="3216" y="5281"/>
                  <a:pt x="3216" y="5281"/>
                  <a:pt x="3216" y="5281"/>
                </a:cubicBezTo>
                <a:cubicBezTo>
                  <a:pt x="3206" y="5284"/>
                  <a:pt x="3206" y="5284"/>
                  <a:pt x="3206" y="5284"/>
                </a:cubicBezTo>
                <a:cubicBezTo>
                  <a:pt x="3179" y="5246"/>
                  <a:pt x="3179" y="5246"/>
                  <a:pt x="3179" y="5246"/>
                </a:cubicBezTo>
                <a:cubicBezTo>
                  <a:pt x="3175" y="5229"/>
                  <a:pt x="3175" y="5229"/>
                  <a:pt x="3175" y="5229"/>
                </a:cubicBezTo>
                <a:cubicBezTo>
                  <a:pt x="3166" y="5227"/>
                  <a:pt x="3166" y="5227"/>
                  <a:pt x="3166" y="5227"/>
                </a:cubicBezTo>
                <a:cubicBezTo>
                  <a:pt x="3144" y="5237"/>
                  <a:pt x="3144" y="5237"/>
                  <a:pt x="3144" y="5237"/>
                </a:cubicBezTo>
                <a:cubicBezTo>
                  <a:pt x="3134" y="5233"/>
                  <a:pt x="3134" y="5233"/>
                  <a:pt x="3134" y="5233"/>
                </a:cubicBezTo>
                <a:cubicBezTo>
                  <a:pt x="3118" y="5227"/>
                  <a:pt x="3118" y="5227"/>
                  <a:pt x="3118" y="5227"/>
                </a:cubicBezTo>
                <a:cubicBezTo>
                  <a:pt x="3096" y="5241"/>
                  <a:pt x="3096" y="5241"/>
                  <a:pt x="3096" y="5241"/>
                </a:cubicBezTo>
                <a:cubicBezTo>
                  <a:pt x="3085" y="5241"/>
                  <a:pt x="3085" y="5241"/>
                  <a:pt x="3085" y="5241"/>
                </a:cubicBezTo>
                <a:cubicBezTo>
                  <a:pt x="3083" y="5223"/>
                  <a:pt x="3083" y="5223"/>
                  <a:pt x="3083" y="5223"/>
                </a:cubicBezTo>
                <a:cubicBezTo>
                  <a:pt x="3096" y="5203"/>
                  <a:pt x="3096" y="5203"/>
                  <a:pt x="3096" y="5203"/>
                </a:cubicBezTo>
                <a:cubicBezTo>
                  <a:pt x="3090" y="5196"/>
                  <a:pt x="3090" y="5196"/>
                  <a:pt x="3090" y="5196"/>
                </a:cubicBezTo>
                <a:cubicBezTo>
                  <a:pt x="3062" y="5219"/>
                  <a:pt x="3062" y="5219"/>
                  <a:pt x="3062" y="5219"/>
                </a:cubicBezTo>
                <a:cubicBezTo>
                  <a:pt x="3044" y="5230"/>
                  <a:pt x="3044" y="5230"/>
                  <a:pt x="3044" y="5230"/>
                </a:cubicBezTo>
                <a:cubicBezTo>
                  <a:pt x="3062" y="5267"/>
                  <a:pt x="3062" y="5267"/>
                  <a:pt x="3062" y="5267"/>
                </a:cubicBezTo>
                <a:cubicBezTo>
                  <a:pt x="3061" y="5282"/>
                  <a:pt x="3061" y="5282"/>
                  <a:pt x="3061" y="5282"/>
                </a:cubicBezTo>
                <a:cubicBezTo>
                  <a:pt x="3027" y="5294"/>
                  <a:pt x="3027" y="5294"/>
                  <a:pt x="3027" y="5294"/>
                </a:cubicBezTo>
                <a:cubicBezTo>
                  <a:pt x="3009" y="5295"/>
                  <a:pt x="3009" y="5295"/>
                  <a:pt x="3009" y="5295"/>
                </a:cubicBezTo>
                <a:cubicBezTo>
                  <a:pt x="2989" y="5285"/>
                  <a:pt x="2989" y="5285"/>
                  <a:pt x="2989" y="5285"/>
                </a:cubicBezTo>
                <a:cubicBezTo>
                  <a:pt x="2972" y="5289"/>
                  <a:pt x="2972" y="5289"/>
                  <a:pt x="2972" y="5289"/>
                </a:cubicBezTo>
                <a:cubicBezTo>
                  <a:pt x="2961" y="5283"/>
                  <a:pt x="2961" y="5283"/>
                  <a:pt x="2961" y="5283"/>
                </a:cubicBezTo>
                <a:cubicBezTo>
                  <a:pt x="2951" y="5289"/>
                  <a:pt x="2951" y="5289"/>
                  <a:pt x="2951" y="5289"/>
                </a:cubicBezTo>
                <a:cubicBezTo>
                  <a:pt x="2917" y="5288"/>
                  <a:pt x="2917" y="5288"/>
                  <a:pt x="2917" y="5288"/>
                </a:cubicBezTo>
                <a:cubicBezTo>
                  <a:pt x="2893" y="5296"/>
                  <a:pt x="2893" y="5296"/>
                  <a:pt x="2893" y="5296"/>
                </a:cubicBezTo>
                <a:cubicBezTo>
                  <a:pt x="2891" y="5309"/>
                  <a:pt x="2891" y="5309"/>
                  <a:pt x="2891" y="5309"/>
                </a:cubicBezTo>
                <a:cubicBezTo>
                  <a:pt x="2878" y="5312"/>
                  <a:pt x="2878" y="5312"/>
                  <a:pt x="2878" y="5312"/>
                </a:cubicBezTo>
                <a:cubicBezTo>
                  <a:pt x="2858" y="5304"/>
                  <a:pt x="2858" y="5304"/>
                  <a:pt x="2858" y="5304"/>
                </a:cubicBezTo>
                <a:cubicBezTo>
                  <a:pt x="2835" y="5305"/>
                  <a:pt x="2835" y="5305"/>
                  <a:pt x="2835" y="5305"/>
                </a:cubicBezTo>
                <a:cubicBezTo>
                  <a:pt x="2812" y="5309"/>
                  <a:pt x="2812" y="5309"/>
                  <a:pt x="2812" y="5309"/>
                </a:cubicBezTo>
                <a:cubicBezTo>
                  <a:pt x="2795" y="5309"/>
                  <a:pt x="2795" y="5309"/>
                  <a:pt x="2795" y="5309"/>
                </a:cubicBezTo>
                <a:cubicBezTo>
                  <a:pt x="2786" y="5305"/>
                  <a:pt x="2786" y="5305"/>
                  <a:pt x="2786" y="5305"/>
                </a:cubicBezTo>
                <a:cubicBezTo>
                  <a:pt x="2771" y="5316"/>
                  <a:pt x="2771" y="5316"/>
                  <a:pt x="2771" y="5316"/>
                </a:cubicBezTo>
                <a:cubicBezTo>
                  <a:pt x="2763" y="5341"/>
                  <a:pt x="2763" y="5341"/>
                  <a:pt x="2763" y="5341"/>
                </a:cubicBezTo>
                <a:cubicBezTo>
                  <a:pt x="2766" y="5351"/>
                  <a:pt x="2766" y="5351"/>
                  <a:pt x="2766" y="5351"/>
                </a:cubicBezTo>
                <a:cubicBezTo>
                  <a:pt x="2754" y="5359"/>
                  <a:pt x="2754" y="5359"/>
                  <a:pt x="2754" y="5359"/>
                </a:cubicBezTo>
                <a:cubicBezTo>
                  <a:pt x="2739" y="5360"/>
                  <a:pt x="2739" y="5360"/>
                  <a:pt x="2739" y="5360"/>
                </a:cubicBezTo>
                <a:cubicBezTo>
                  <a:pt x="2719" y="5363"/>
                  <a:pt x="2719" y="5363"/>
                  <a:pt x="2719" y="5363"/>
                </a:cubicBezTo>
                <a:cubicBezTo>
                  <a:pt x="2703" y="5363"/>
                  <a:pt x="2703" y="5363"/>
                  <a:pt x="2703" y="5363"/>
                </a:cubicBezTo>
                <a:cubicBezTo>
                  <a:pt x="2692" y="5357"/>
                  <a:pt x="2692" y="5357"/>
                  <a:pt x="2692" y="5357"/>
                </a:cubicBezTo>
                <a:cubicBezTo>
                  <a:pt x="2666" y="5386"/>
                  <a:pt x="2666" y="5386"/>
                  <a:pt x="2666" y="5386"/>
                </a:cubicBezTo>
                <a:cubicBezTo>
                  <a:pt x="2669" y="5393"/>
                  <a:pt x="2669" y="5393"/>
                  <a:pt x="2669" y="5393"/>
                </a:cubicBezTo>
                <a:cubicBezTo>
                  <a:pt x="2682" y="5392"/>
                  <a:pt x="2682" y="5392"/>
                  <a:pt x="2682" y="5392"/>
                </a:cubicBezTo>
                <a:cubicBezTo>
                  <a:pt x="2689" y="5413"/>
                  <a:pt x="2689" y="5413"/>
                  <a:pt x="2689" y="5413"/>
                </a:cubicBezTo>
                <a:cubicBezTo>
                  <a:pt x="2665" y="5404"/>
                  <a:pt x="2665" y="5404"/>
                  <a:pt x="2665" y="5404"/>
                </a:cubicBezTo>
                <a:cubicBezTo>
                  <a:pt x="2660" y="5410"/>
                  <a:pt x="2660" y="5410"/>
                  <a:pt x="2660" y="5410"/>
                </a:cubicBezTo>
                <a:cubicBezTo>
                  <a:pt x="2654" y="5404"/>
                  <a:pt x="2654" y="5404"/>
                  <a:pt x="2654" y="5404"/>
                </a:cubicBezTo>
                <a:cubicBezTo>
                  <a:pt x="2641" y="5405"/>
                  <a:pt x="2641" y="5405"/>
                  <a:pt x="2641" y="5405"/>
                </a:cubicBezTo>
                <a:cubicBezTo>
                  <a:pt x="2636" y="5414"/>
                  <a:pt x="2636" y="5414"/>
                  <a:pt x="2636" y="5414"/>
                </a:cubicBezTo>
                <a:cubicBezTo>
                  <a:pt x="2627" y="5419"/>
                  <a:pt x="2627" y="5419"/>
                  <a:pt x="2627" y="5419"/>
                </a:cubicBezTo>
                <a:cubicBezTo>
                  <a:pt x="2621" y="5429"/>
                  <a:pt x="2621" y="5429"/>
                  <a:pt x="2621" y="5429"/>
                </a:cubicBezTo>
                <a:cubicBezTo>
                  <a:pt x="2617" y="5440"/>
                  <a:pt x="2617" y="5440"/>
                  <a:pt x="2617" y="5440"/>
                </a:cubicBezTo>
                <a:cubicBezTo>
                  <a:pt x="2593" y="5441"/>
                  <a:pt x="2593" y="5441"/>
                  <a:pt x="2593" y="5441"/>
                </a:cubicBezTo>
                <a:cubicBezTo>
                  <a:pt x="2590" y="5436"/>
                  <a:pt x="2590" y="5436"/>
                  <a:pt x="2590" y="5436"/>
                </a:cubicBezTo>
                <a:cubicBezTo>
                  <a:pt x="2597" y="5424"/>
                  <a:pt x="2597" y="5424"/>
                  <a:pt x="2597" y="5424"/>
                </a:cubicBezTo>
                <a:cubicBezTo>
                  <a:pt x="2597" y="5419"/>
                  <a:pt x="2597" y="5419"/>
                  <a:pt x="2597" y="5419"/>
                </a:cubicBezTo>
                <a:cubicBezTo>
                  <a:pt x="2578" y="5418"/>
                  <a:pt x="2578" y="5418"/>
                  <a:pt x="2578" y="5418"/>
                </a:cubicBezTo>
                <a:cubicBezTo>
                  <a:pt x="2541" y="5432"/>
                  <a:pt x="2541" y="5432"/>
                  <a:pt x="2541" y="5432"/>
                </a:cubicBezTo>
                <a:cubicBezTo>
                  <a:pt x="2537" y="5444"/>
                  <a:pt x="2537" y="5444"/>
                  <a:pt x="2537" y="5444"/>
                </a:cubicBezTo>
                <a:cubicBezTo>
                  <a:pt x="2493" y="5446"/>
                  <a:pt x="2493" y="5446"/>
                  <a:pt x="2493" y="5446"/>
                </a:cubicBezTo>
                <a:cubicBezTo>
                  <a:pt x="2485" y="5441"/>
                  <a:pt x="2485" y="5441"/>
                  <a:pt x="2485" y="5441"/>
                </a:cubicBezTo>
                <a:cubicBezTo>
                  <a:pt x="2472" y="5442"/>
                  <a:pt x="2472" y="5442"/>
                  <a:pt x="2472" y="5442"/>
                </a:cubicBezTo>
                <a:cubicBezTo>
                  <a:pt x="2467" y="5435"/>
                  <a:pt x="2467" y="5435"/>
                  <a:pt x="2467" y="5435"/>
                </a:cubicBezTo>
                <a:cubicBezTo>
                  <a:pt x="2473" y="5428"/>
                  <a:pt x="2473" y="5428"/>
                  <a:pt x="2473" y="5428"/>
                </a:cubicBezTo>
                <a:cubicBezTo>
                  <a:pt x="2475" y="5419"/>
                  <a:pt x="2475" y="5419"/>
                  <a:pt x="2475" y="5419"/>
                </a:cubicBezTo>
                <a:cubicBezTo>
                  <a:pt x="2453" y="5399"/>
                  <a:pt x="2453" y="5399"/>
                  <a:pt x="2453" y="5399"/>
                </a:cubicBezTo>
                <a:cubicBezTo>
                  <a:pt x="2449" y="5382"/>
                  <a:pt x="2449" y="5382"/>
                  <a:pt x="2449" y="5382"/>
                </a:cubicBezTo>
                <a:cubicBezTo>
                  <a:pt x="2421" y="5381"/>
                  <a:pt x="2421" y="5381"/>
                  <a:pt x="2421" y="5381"/>
                </a:cubicBezTo>
                <a:cubicBezTo>
                  <a:pt x="2418" y="5373"/>
                  <a:pt x="2418" y="5373"/>
                  <a:pt x="2418" y="5373"/>
                </a:cubicBezTo>
                <a:cubicBezTo>
                  <a:pt x="2422" y="5366"/>
                  <a:pt x="2422" y="5366"/>
                  <a:pt x="2422" y="5366"/>
                </a:cubicBezTo>
                <a:cubicBezTo>
                  <a:pt x="2438" y="5362"/>
                  <a:pt x="2438" y="5362"/>
                  <a:pt x="2438" y="5362"/>
                </a:cubicBezTo>
                <a:cubicBezTo>
                  <a:pt x="2442" y="5358"/>
                  <a:pt x="2442" y="5358"/>
                  <a:pt x="2442" y="5358"/>
                </a:cubicBezTo>
                <a:cubicBezTo>
                  <a:pt x="2427" y="5345"/>
                  <a:pt x="2427" y="5345"/>
                  <a:pt x="2427" y="5345"/>
                </a:cubicBezTo>
                <a:cubicBezTo>
                  <a:pt x="2411" y="5347"/>
                  <a:pt x="2411" y="5347"/>
                  <a:pt x="2411" y="5347"/>
                </a:cubicBezTo>
                <a:cubicBezTo>
                  <a:pt x="2388" y="5358"/>
                  <a:pt x="2388" y="5358"/>
                  <a:pt x="2388" y="5358"/>
                </a:cubicBezTo>
                <a:cubicBezTo>
                  <a:pt x="2377" y="5360"/>
                  <a:pt x="2377" y="5360"/>
                  <a:pt x="2377" y="5360"/>
                </a:cubicBezTo>
                <a:cubicBezTo>
                  <a:pt x="2364" y="5349"/>
                  <a:pt x="2364" y="5349"/>
                  <a:pt x="2364" y="5349"/>
                </a:cubicBezTo>
                <a:cubicBezTo>
                  <a:pt x="2350" y="5344"/>
                  <a:pt x="2350" y="5344"/>
                  <a:pt x="2350" y="5344"/>
                </a:cubicBezTo>
                <a:cubicBezTo>
                  <a:pt x="2328" y="5328"/>
                  <a:pt x="2328" y="5328"/>
                  <a:pt x="2328" y="5328"/>
                </a:cubicBezTo>
                <a:cubicBezTo>
                  <a:pt x="2289" y="5319"/>
                  <a:pt x="2289" y="5319"/>
                  <a:pt x="2289" y="5319"/>
                </a:cubicBezTo>
                <a:cubicBezTo>
                  <a:pt x="2276" y="5346"/>
                  <a:pt x="2276" y="5346"/>
                  <a:pt x="2276" y="5346"/>
                </a:cubicBezTo>
                <a:cubicBezTo>
                  <a:pt x="2237" y="5343"/>
                  <a:pt x="2237" y="5343"/>
                  <a:pt x="2237" y="5343"/>
                </a:cubicBezTo>
                <a:cubicBezTo>
                  <a:pt x="2225" y="5325"/>
                  <a:pt x="2225" y="5325"/>
                  <a:pt x="2225" y="5325"/>
                </a:cubicBezTo>
                <a:cubicBezTo>
                  <a:pt x="2231" y="5308"/>
                  <a:pt x="2231" y="5308"/>
                  <a:pt x="2231" y="5308"/>
                </a:cubicBezTo>
                <a:cubicBezTo>
                  <a:pt x="2215" y="5308"/>
                  <a:pt x="2215" y="5308"/>
                  <a:pt x="2215" y="5308"/>
                </a:cubicBezTo>
                <a:cubicBezTo>
                  <a:pt x="2205" y="5312"/>
                  <a:pt x="2205" y="5312"/>
                  <a:pt x="2205" y="5312"/>
                </a:cubicBezTo>
                <a:cubicBezTo>
                  <a:pt x="2216" y="5330"/>
                  <a:pt x="2216" y="5330"/>
                  <a:pt x="2216" y="5330"/>
                </a:cubicBezTo>
                <a:cubicBezTo>
                  <a:pt x="2211" y="5354"/>
                  <a:pt x="2211" y="5354"/>
                  <a:pt x="2211" y="5354"/>
                </a:cubicBezTo>
                <a:cubicBezTo>
                  <a:pt x="2210" y="5379"/>
                  <a:pt x="2210" y="5379"/>
                  <a:pt x="2210" y="5379"/>
                </a:cubicBezTo>
                <a:cubicBezTo>
                  <a:pt x="2222" y="5382"/>
                  <a:pt x="2222" y="5382"/>
                  <a:pt x="2222" y="5382"/>
                </a:cubicBezTo>
                <a:cubicBezTo>
                  <a:pt x="2229" y="5416"/>
                  <a:pt x="2229" y="5416"/>
                  <a:pt x="2229" y="5416"/>
                </a:cubicBezTo>
                <a:cubicBezTo>
                  <a:pt x="2210" y="5431"/>
                  <a:pt x="2210" y="5431"/>
                  <a:pt x="2210" y="5431"/>
                </a:cubicBezTo>
                <a:cubicBezTo>
                  <a:pt x="2206" y="5449"/>
                  <a:pt x="2206" y="5449"/>
                  <a:pt x="2206" y="5449"/>
                </a:cubicBezTo>
                <a:cubicBezTo>
                  <a:pt x="2188" y="5460"/>
                  <a:pt x="2188" y="5460"/>
                  <a:pt x="2188" y="5460"/>
                </a:cubicBezTo>
                <a:cubicBezTo>
                  <a:pt x="2187" y="5468"/>
                  <a:pt x="2187" y="5468"/>
                  <a:pt x="2187" y="5468"/>
                </a:cubicBezTo>
                <a:cubicBezTo>
                  <a:pt x="2170" y="5486"/>
                  <a:pt x="2170" y="5486"/>
                  <a:pt x="2170" y="5486"/>
                </a:cubicBezTo>
                <a:cubicBezTo>
                  <a:pt x="2166" y="5503"/>
                  <a:pt x="2166" y="5503"/>
                  <a:pt x="2166" y="5503"/>
                </a:cubicBezTo>
                <a:cubicBezTo>
                  <a:pt x="2112" y="5533"/>
                  <a:pt x="2112" y="5533"/>
                  <a:pt x="2112" y="5533"/>
                </a:cubicBezTo>
                <a:cubicBezTo>
                  <a:pt x="2101" y="5528"/>
                  <a:pt x="2101" y="5528"/>
                  <a:pt x="2101" y="5528"/>
                </a:cubicBezTo>
                <a:cubicBezTo>
                  <a:pt x="2090" y="5535"/>
                  <a:pt x="2090" y="5535"/>
                  <a:pt x="2090" y="5535"/>
                </a:cubicBezTo>
                <a:cubicBezTo>
                  <a:pt x="2082" y="5535"/>
                  <a:pt x="2082" y="5535"/>
                  <a:pt x="2082" y="5535"/>
                </a:cubicBezTo>
                <a:cubicBezTo>
                  <a:pt x="2085" y="5518"/>
                  <a:pt x="2085" y="5518"/>
                  <a:pt x="2085" y="5518"/>
                </a:cubicBezTo>
                <a:cubicBezTo>
                  <a:pt x="2102" y="5502"/>
                  <a:pt x="2102" y="5502"/>
                  <a:pt x="2102" y="5502"/>
                </a:cubicBezTo>
                <a:cubicBezTo>
                  <a:pt x="2094" y="5491"/>
                  <a:pt x="2094" y="5491"/>
                  <a:pt x="2094" y="5491"/>
                </a:cubicBezTo>
                <a:cubicBezTo>
                  <a:pt x="2114" y="5458"/>
                  <a:pt x="2114" y="5458"/>
                  <a:pt x="2114" y="5458"/>
                </a:cubicBezTo>
                <a:cubicBezTo>
                  <a:pt x="2105" y="5447"/>
                  <a:pt x="2105" y="5447"/>
                  <a:pt x="2105" y="5447"/>
                </a:cubicBezTo>
                <a:cubicBezTo>
                  <a:pt x="2101" y="5451"/>
                  <a:pt x="2101" y="5451"/>
                  <a:pt x="2101" y="5451"/>
                </a:cubicBezTo>
                <a:cubicBezTo>
                  <a:pt x="2082" y="5453"/>
                  <a:pt x="2082" y="5453"/>
                  <a:pt x="2082" y="5453"/>
                </a:cubicBezTo>
                <a:cubicBezTo>
                  <a:pt x="2080" y="5458"/>
                  <a:pt x="2080" y="5458"/>
                  <a:pt x="2080" y="5458"/>
                </a:cubicBezTo>
                <a:cubicBezTo>
                  <a:pt x="2071" y="5463"/>
                  <a:pt x="2071" y="5463"/>
                  <a:pt x="2071" y="5463"/>
                </a:cubicBezTo>
                <a:cubicBezTo>
                  <a:pt x="2056" y="5457"/>
                  <a:pt x="2056" y="5457"/>
                  <a:pt x="2056" y="5457"/>
                </a:cubicBezTo>
                <a:cubicBezTo>
                  <a:pt x="2044" y="5467"/>
                  <a:pt x="2044" y="5467"/>
                  <a:pt x="2044" y="5467"/>
                </a:cubicBezTo>
                <a:cubicBezTo>
                  <a:pt x="2033" y="5431"/>
                  <a:pt x="2033" y="5431"/>
                  <a:pt x="2033" y="5431"/>
                </a:cubicBezTo>
                <a:cubicBezTo>
                  <a:pt x="2048" y="5415"/>
                  <a:pt x="2048" y="5415"/>
                  <a:pt x="2048" y="5415"/>
                </a:cubicBezTo>
                <a:cubicBezTo>
                  <a:pt x="2037" y="5398"/>
                  <a:pt x="2037" y="5398"/>
                  <a:pt x="2037" y="5398"/>
                </a:cubicBezTo>
                <a:cubicBezTo>
                  <a:pt x="2020" y="5392"/>
                  <a:pt x="2020" y="5392"/>
                  <a:pt x="2020" y="5392"/>
                </a:cubicBezTo>
                <a:cubicBezTo>
                  <a:pt x="2017" y="5377"/>
                  <a:pt x="2017" y="5377"/>
                  <a:pt x="2017" y="5377"/>
                </a:cubicBezTo>
                <a:cubicBezTo>
                  <a:pt x="2001" y="5381"/>
                  <a:pt x="2001" y="5381"/>
                  <a:pt x="2001" y="5381"/>
                </a:cubicBezTo>
                <a:cubicBezTo>
                  <a:pt x="1988" y="5371"/>
                  <a:pt x="1988" y="5371"/>
                  <a:pt x="1988" y="5371"/>
                </a:cubicBezTo>
                <a:cubicBezTo>
                  <a:pt x="1978" y="5342"/>
                  <a:pt x="1978" y="5342"/>
                  <a:pt x="1978" y="5342"/>
                </a:cubicBezTo>
                <a:cubicBezTo>
                  <a:pt x="1957" y="5345"/>
                  <a:pt x="1957" y="5345"/>
                  <a:pt x="1957" y="5345"/>
                </a:cubicBezTo>
                <a:cubicBezTo>
                  <a:pt x="1951" y="5336"/>
                  <a:pt x="1951" y="5336"/>
                  <a:pt x="1951" y="5336"/>
                </a:cubicBezTo>
                <a:cubicBezTo>
                  <a:pt x="1936" y="5334"/>
                  <a:pt x="1936" y="5334"/>
                  <a:pt x="1936" y="5334"/>
                </a:cubicBezTo>
                <a:cubicBezTo>
                  <a:pt x="1931" y="5346"/>
                  <a:pt x="1931" y="5346"/>
                  <a:pt x="1931" y="5346"/>
                </a:cubicBezTo>
                <a:cubicBezTo>
                  <a:pt x="1908" y="5333"/>
                  <a:pt x="1908" y="5333"/>
                  <a:pt x="1908" y="5333"/>
                </a:cubicBezTo>
                <a:cubicBezTo>
                  <a:pt x="1908" y="5305"/>
                  <a:pt x="1908" y="5305"/>
                  <a:pt x="1908" y="5305"/>
                </a:cubicBezTo>
                <a:cubicBezTo>
                  <a:pt x="1896" y="5300"/>
                  <a:pt x="1896" y="5300"/>
                  <a:pt x="1896" y="5300"/>
                </a:cubicBezTo>
                <a:cubicBezTo>
                  <a:pt x="1883" y="5314"/>
                  <a:pt x="1883" y="5314"/>
                  <a:pt x="1883" y="5314"/>
                </a:cubicBezTo>
                <a:cubicBezTo>
                  <a:pt x="1870" y="5348"/>
                  <a:pt x="1870" y="5348"/>
                  <a:pt x="1870" y="5348"/>
                </a:cubicBezTo>
                <a:cubicBezTo>
                  <a:pt x="1852" y="5352"/>
                  <a:pt x="1852" y="5352"/>
                  <a:pt x="1852" y="5352"/>
                </a:cubicBezTo>
                <a:cubicBezTo>
                  <a:pt x="1769" y="5334"/>
                  <a:pt x="1769" y="5334"/>
                  <a:pt x="1769" y="5334"/>
                </a:cubicBezTo>
                <a:cubicBezTo>
                  <a:pt x="1641" y="5260"/>
                  <a:pt x="1641" y="5260"/>
                  <a:pt x="1641" y="5260"/>
                </a:cubicBezTo>
                <a:cubicBezTo>
                  <a:pt x="1604" y="5262"/>
                  <a:pt x="1604" y="5262"/>
                  <a:pt x="1604" y="5262"/>
                </a:cubicBezTo>
                <a:cubicBezTo>
                  <a:pt x="1593" y="5266"/>
                  <a:pt x="1593" y="5266"/>
                  <a:pt x="1593" y="5266"/>
                </a:cubicBezTo>
                <a:cubicBezTo>
                  <a:pt x="1573" y="5250"/>
                  <a:pt x="1573" y="5250"/>
                  <a:pt x="1573" y="5250"/>
                </a:cubicBezTo>
                <a:cubicBezTo>
                  <a:pt x="1560" y="5244"/>
                  <a:pt x="1560" y="5244"/>
                  <a:pt x="1560" y="5244"/>
                </a:cubicBezTo>
                <a:cubicBezTo>
                  <a:pt x="1540" y="5243"/>
                  <a:pt x="1540" y="5243"/>
                  <a:pt x="1540" y="5243"/>
                </a:cubicBezTo>
                <a:cubicBezTo>
                  <a:pt x="1530" y="5242"/>
                  <a:pt x="1530" y="5242"/>
                  <a:pt x="1530" y="5242"/>
                </a:cubicBezTo>
                <a:cubicBezTo>
                  <a:pt x="1520" y="5242"/>
                  <a:pt x="1520" y="5242"/>
                  <a:pt x="1520" y="5242"/>
                </a:cubicBezTo>
                <a:cubicBezTo>
                  <a:pt x="1496" y="5255"/>
                  <a:pt x="1496" y="5255"/>
                  <a:pt x="1496" y="5255"/>
                </a:cubicBezTo>
                <a:cubicBezTo>
                  <a:pt x="1481" y="5261"/>
                  <a:pt x="1481" y="5261"/>
                  <a:pt x="1481" y="5261"/>
                </a:cubicBezTo>
                <a:cubicBezTo>
                  <a:pt x="1478" y="5263"/>
                  <a:pt x="1473" y="5265"/>
                  <a:pt x="1468" y="5264"/>
                </a:cubicBezTo>
                <a:cubicBezTo>
                  <a:pt x="1464" y="5263"/>
                  <a:pt x="1463" y="5261"/>
                  <a:pt x="1457" y="5258"/>
                </a:cubicBezTo>
                <a:cubicBezTo>
                  <a:pt x="1455" y="5257"/>
                  <a:pt x="1454" y="5257"/>
                  <a:pt x="1452" y="5256"/>
                </a:cubicBezTo>
                <a:cubicBezTo>
                  <a:pt x="1451" y="5244"/>
                  <a:pt x="1451" y="5244"/>
                  <a:pt x="1451" y="5244"/>
                </a:cubicBezTo>
                <a:cubicBezTo>
                  <a:pt x="1443" y="5243"/>
                  <a:pt x="1443" y="5243"/>
                  <a:pt x="1443" y="5243"/>
                </a:cubicBezTo>
                <a:cubicBezTo>
                  <a:pt x="1441" y="5236"/>
                  <a:pt x="1441" y="5236"/>
                  <a:pt x="1441" y="5236"/>
                </a:cubicBezTo>
                <a:cubicBezTo>
                  <a:pt x="1449" y="5233"/>
                  <a:pt x="1449" y="5233"/>
                  <a:pt x="1449" y="5233"/>
                </a:cubicBezTo>
                <a:cubicBezTo>
                  <a:pt x="1449" y="5225"/>
                  <a:pt x="1449" y="5225"/>
                  <a:pt x="1449" y="5225"/>
                </a:cubicBezTo>
                <a:cubicBezTo>
                  <a:pt x="1440" y="5226"/>
                  <a:pt x="1440" y="5226"/>
                  <a:pt x="1440" y="5226"/>
                </a:cubicBezTo>
                <a:cubicBezTo>
                  <a:pt x="1437" y="5219"/>
                  <a:pt x="1437" y="5219"/>
                  <a:pt x="1437" y="5219"/>
                </a:cubicBezTo>
                <a:cubicBezTo>
                  <a:pt x="1427" y="5220"/>
                  <a:pt x="1427" y="5220"/>
                  <a:pt x="1427" y="5220"/>
                </a:cubicBezTo>
                <a:cubicBezTo>
                  <a:pt x="1421" y="5211"/>
                  <a:pt x="1421" y="5211"/>
                  <a:pt x="1421" y="5211"/>
                </a:cubicBezTo>
                <a:cubicBezTo>
                  <a:pt x="1421" y="5201"/>
                  <a:pt x="1421" y="5201"/>
                  <a:pt x="1421" y="5201"/>
                </a:cubicBezTo>
                <a:cubicBezTo>
                  <a:pt x="1415" y="5193"/>
                  <a:pt x="1415" y="5193"/>
                  <a:pt x="1415" y="5193"/>
                </a:cubicBezTo>
                <a:cubicBezTo>
                  <a:pt x="1410" y="5199"/>
                  <a:pt x="1410" y="5199"/>
                  <a:pt x="1410" y="5199"/>
                </a:cubicBezTo>
                <a:cubicBezTo>
                  <a:pt x="1409" y="5210"/>
                  <a:pt x="1409" y="5210"/>
                  <a:pt x="1409" y="5210"/>
                </a:cubicBezTo>
                <a:cubicBezTo>
                  <a:pt x="1402" y="5216"/>
                  <a:pt x="1402" y="5216"/>
                  <a:pt x="1402" y="5216"/>
                </a:cubicBezTo>
                <a:cubicBezTo>
                  <a:pt x="1404" y="5224"/>
                  <a:pt x="1404" y="5224"/>
                  <a:pt x="1404" y="5224"/>
                </a:cubicBezTo>
                <a:cubicBezTo>
                  <a:pt x="1413" y="5225"/>
                  <a:pt x="1413" y="5225"/>
                  <a:pt x="1413" y="5225"/>
                </a:cubicBezTo>
                <a:cubicBezTo>
                  <a:pt x="1417" y="5232"/>
                  <a:pt x="1417" y="5232"/>
                  <a:pt x="1417" y="5232"/>
                </a:cubicBezTo>
                <a:cubicBezTo>
                  <a:pt x="1410" y="5241"/>
                  <a:pt x="1410" y="5241"/>
                  <a:pt x="1410" y="5241"/>
                </a:cubicBezTo>
                <a:cubicBezTo>
                  <a:pt x="1408" y="5239"/>
                  <a:pt x="1406" y="5237"/>
                  <a:pt x="1402" y="5235"/>
                </a:cubicBezTo>
                <a:cubicBezTo>
                  <a:pt x="1395" y="5231"/>
                  <a:pt x="1388" y="5230"/>
                  <a:pt x="1385" y="5230"/>
                </a:cubicBezTo>
                <a:cubicBezTo>
                  <a:pt x="1370" y="5230"/>
                  <a:pt x="1366" y="5240"/>
                  <a:pt x="1357" y="5237"/>
                </a:cubicBezTo>
                <a:cubicBezTo>
                  <a:pt x="1355" y="5236"/>
                  <a:pt x="1354" y="5236"/>
                  <a:pt x="1353" y="5235"/>
                </a:cubicBezTo>
                <a:cubicBezTo>
                  <a:pt x="1351" y="5218"/>
                  <a:pt x="1351" y="5218"/>
                  <a:pt x="1351" y="5218"/>
                </a:cubicBezTo>
                <a:cubicBezTo>
                  <a:pt x="1365" y="5217"/>
                  <a:pt x="1365" y="5217"/>
                  <a:pt x="1365" y="5217"/>
                </a:cubicBezTo>
                <a:cubicBezTo>
                  <a:pt x="1372" y="5220"/>
                  <a:pt x="1372" y="5220"/>
                  <a:pt x="1372" y="5220"/>
                </a:cubicBezTo>
                <a:cubicBezTo>
                  <a:pt x="1381" y="5219"/>
                  <a:pt x="1381" y="5219"/>
                  <a:pt x="1381" y="5219"/>
                </a:cubicBezTo>
                <a:cubicBezTo>
                  <a:pt x="1382" y="5214"/>
                  <a:pt x="1382" y="5214"/>
                  <a:pt x="1382" y="5214"/>
                </a:cubicBezTo>
                <a:cubicBezTo>
                  <a:pt x="1376" y="5211"/>
                  <a:pt x="1376" y="5211"/>
                  <a:pt x="1376" y="5211"/>
                </a:cubicBezTo>
                <a:cubicBezTo>
                  <a:pt x="1372" y="5200"/>
                  <a:pt x="1372" y="5200"/>
                  <a:pt x="1372" y="5200"/>
                </a:cubicBezTo>
                <a:cubicBezTo>
                  <a:pt x="1385" y="5191"/>
                  <a:pt x="1385" y="5191"/>
                  <a:pt x="1385" y="5191"/>
                </a:cubicBezTo>
                <a:cubicBezTo>
                  <a:pt x="1376" y="5181"/>
                  <a:pt x="1376" y="5181"/>
                  <a:pt x="1376" y="5181"/>
                </a:cubicBezTo>
                <a:cubicBezTo>
                  <a:pt x="1366" y="5188"/>
                  <a:pt x="1366" y="5188"/>
                  <a:pt x="1366" y="5188"/>
                </a:cubicBezTo>
                <a:cubicBezTo>
                  <a:pt x="1356" y="5183"/>
                  <a:pt x="1356" y="5183"/>
                  <a:pt x="1356" y="5183"/>
                </a:cubicBezTo>
                <a:cubicBezTo>
                  <a:pt x="1356" y="5170"/>
                  <a:pt x="1356" y="5170"/>
                  <a:pt x="1356" y="5170"/>
                </a:cubicBezTo>
                <a:cubicBezTo>
                  <a:pt x="1343" y="5157"/>
                  <a:pt x="1343" y="5157"/>
                  <a:pt x="1343" y="5157"/>
                </a:cubicBezTo>
                <a:cubicBezTo>
                  <a:pt x="1339" y="5167"/>
                  <a:pt x="1339" y="5167"/>
                  <a:pt x="1339" y="5167"/>
                </a:cubicBezTo>
                <a:cubicBezTo>
                  <a:pt x="1342" y="5179"/>
                  <a:pt x="1342" y="5179"/>
                  <a:pt x="1342" y="5179"/>
                </a:cubicBezTo>
                <a:cubicBezTo>
                  <a:pt x="1327" y="5189"/>
                  <a:pt x="1327" y="5189"/>
                  <a:pt x="1327" y="5189"/>
                </a:cubicBezTo>
                <a:cubicBezTo>
                  <a:pt x="1327" y="5176"/>
                  <a:pt x="1327" y="5176"/>
                  <a:pt x="1327" y="5176"/>
                </a:cubicBezTo>
                <a:cubicBezTo>
                  <a:pt x="1323" y="5167"/>
                  <a:pt x="1323" y="5167"/>
                  <a:pt x="1323" y="5167"/>
                </a:cubicBezTo>
                <a:cubicBezTo>
                  <a:pt x="1323" y="5155"/>
                  <a:pt x="1323" y="5155"/>
                  <a:pt x="1323" y="5155"/>
                </a:cubicBezTo>
                <a:cubicBezTo>
                  <a:pt x="1311" y="5156"/>
                  <a:pt x="1311" y="5156"/>
                  <a:pt x="1311" y="5156"/>
                </a:cubicBezTo>
                <a:cubicBezTo>
                  <a:pt x="1303" y="5151"/>
                  <a:pt x="1303" y="5151"/>
                  <a:pt x="1303" y="5151"/>
                </a:cubicBezTo>
                <a:cubicBezTo>
                  <a:pt x="1299" y="5159"/>
                  <a:pt x="1299" y="5159"/>
                  <a:pt x="1299" y="5159"/>
                </a:cubicBezTo>
                <a:cubicBezTo>
                  <a:pt x="1309" y="5168"/>
                  <a:pt x="1309" y="5168"/>
                  <a:pt x="1309" y="5168"/>
                </a:cubicBezTo>
                <a:cubicBezTo>
                  <a:pt x="1304" y="5174"/>
                  <a:pt x="1304" y="5174"/>
                  <a:pt x="1304" y="5174"/>
                </a:cubicBezTo>
                <a:cubicBezTo>
                  <a:pt x="1290" y="5170"/>
                  <a:pt x="1290" y="5170"/>
                  <a:pt x="1290" y="5170"/>
                </a:cubicBezTo>
                <a:cubicBezTo>
                  <a:pt x="1279" y="5176"/>
                  <a:pt x="1279" y="5176"/>
                  <a:pt x="1279" y="5176"/>
                </a:cubicBezTo>
                <a:cubicBezTo>
                  <a:pt x="1265" y="5174"/>
                  <a:pt x="1265" y="5174"/>
                  <a:pt x="1265" y="5174"/>
                </a:cubicBezTo>
                <a:cubicBezTo>
                  <a:pt x="1248" y="5196"/>
                  <a:pt x="1248" y="5196"/>
                  <a:pt x="1248" y="5196"/>
                </a:cubicBezTo>
                <a:cubicBezTo>
                  <a:pt x="1249" y="5211"/>
                  <a:pt x="1249" y="5211"/>
                  <a:pt x="1249" y="5211"/>
                </a:cubicBezTo>
                <a:cubicBezTo>
                  <a:pt x="1242" y="5220"/>
                  <a:pt x="1242" y="5220"/>
                  <a:pt x="1242" y="5220"/>
                </a:cubicBezTo>
                <a:cubicBezTo>
                  <a:pt x="1232" y="5220"/>
                  <a:pt x="1232" y="5220"/>
                  <a:pt x="1232" y="5220"/>
                </a:cubicBezTo>
                <a:cubicBezTo>
                  <a:pt x="1224" y="5229"/>
                  <a:pt x="1224" y="5229"/>
                  <a:pt x="1224" y="5229"/>
                </a:cubicBezTo>
                <a:cubicBezTo>
                  <a:pt x="1235" y="5241"/>
                  <a:pt x="1235" y="5241"/>
                  <a:pt x="1235" y="5241"/>
                </a:cubicBezTo>
                <a:cubicBezTo>
                  <a:pt x="1224" y="5245"/>
                  <a:pt x="1224" y="5245"/>
                  <a:pt x="1224" y="5245"/>
                </a:cubicBezTo>
                <a:cubicBezTo>
                  <a:pt x="1225" y="5251"/>
                  <a:pt x="1225" y="5251"/>
                  <a:pt x="1225" y="5251"/>
                </a:cubicBezTo>
                <a:cubicBezTo>
                  <a:pt x="1235" y="5251"/>
                  <a:pt x="1235" y="5251"/>
                  <a:pt x="1235" y="5251"/>
                </a:cubicBezTo>
                <a:cubicBezTo>
                  <a:pt x="1242" y="5259"/>
                  <a:pt x="1242" y="5259"/>
                  <a:pt x="1242" y="5259"/>
                </a:cubicBezTo>
                <a:cubicBezTo>
                  <a:pt x="1250" y="5260"/>
                  <a:pt x="1250" y="5260"/>
                  <a:pt x="1250" y="5260"/>
                </a:cubicBezTo>
                <a:cubicBezTo>
                  <a:pt x="1255" y="5269"/>
                  <a:pt x="1255" y="5269"/>
                  <a:pt x="1255" y="5269"/>
                </a:cubicBezTo>
                <a:cubicBezTo>
                  <a:pt x="1271" y="5264"/>
                  <a:pt x="1271" y="5264"/>
                  <a:pt x="1271" y="5264"/>
                </a:cubicBezTo>
                <a:cubicBezTo>
                  <a:pt x="1287" y="5265"/>
                  <a:pt x="1287" y="5265"/>
                  <a:pt x="1287" y="5265"/>
                </a:cubicBezTo>
                <a:cubicBezTo>
                  <a:pt x="1287" y="5253"/>
                  <a:pt x="1287" y="5253"/>
                  <a:pt x="1287" y="5253"/>
                </a:cubicBezTo>
                <a:cubicBezTo>
                  <a:pt x="1301" y="5247"/>
                  <a:pt x="1301" y="5247"/>
                  <a:pt x="1301" y="5247"/>
                </a:cubicBezTo>
                <a:cubicBezTo>
                  <a:pt x="1306" y="5255"/>
                  <a:pt x="1306" y="5255"/>
                  <a:pt x="1306" y="5255"/>
                </a:cubicBezTo>
                <a:cubicBezTo>
                  <a:pt x="1318" y="5246"/>
                  <a:pt x="1318" y="5246"/>
                  <a:pt x="1318" y="5246"/>
                </a:cubicBezTo>
                <a:cubicBezTo>
                  <a:pt x="1325" y="5247"/>
                  <a:pt x="1325" y="5247"/>
                  <a:pt x="1325" y="5247"/>
                </a:cubicBezTo>
                <a:cubicBezTo>
                  <a:pt x="1325" y="5254"/>
                  <a:pt x="1326" y="5256"/>
                  <a:pt x="1324" y="5259"/>
                </a:cubicBezTo>
                <a:cubicBezTo>
                  <a:pt x="1322" y="5263"/>
                  <a:pt x="1318" y="5261"/>
                  <a:pt x="1316" y="5265"/>
                </a:cubicBezTo>
                <a:cubicBezTo>
                  <a:pt x="1313" y="5268"/>
                  <a:pt x="1316" y="5273"/>
                  <a:pt x="1317" y="5281"/>
                </a:cubicBezTo>
                <a:cubicBezTo>
                  <a:pt x="1317" y="5288"/>
                  <a:pt x="1315" y="5300"/>
                  <a:pt x="1309" y="5302"/>
                </a:cubicBezTo>
                <a:cubicBezTo>
                  <a:pt x="1306" y="5303"/>
                  <a:pt x="1301" y="5301"/>
                  <a:pt x="1300" y="5298"/>
                </a:cubicBezTo>
                <a:cubicBezTo>
                  <a:pt x="1299" y="5295"/>
                  <a:pt x="1302" y="5293"/>
                  <a:pt x="1301" y="5290"/>
                </a:cubicBezTo>
                <a:cubicBezTo>
                  <a:pt x="1301" y="5285"/>
                  <a:pt x="1295" y="5282"/>
                  <a:pt x="1291" y="5280"/>
                </a:cubicBezTo>
                <a:cubicBezTo>
                  <a:pt x="1286" y="5278"/>
                  <a:pt x="1284" y="5277"/>
                  <a:pt x="1281" y="5278"/>
                </a:cubicBezTo>
                <a:cubicBezTo>
                  <a:pt x="1276" y="5279"/>
                  <a:pt x="1277" y="5285"/>
                  <a:pt x="1270" y="5288"/>
                </a:cubicBezTo>
                <a:cubicBezTo>
                  <a:pt x="1267" y="5289"/>
                  <a:pt x="1266" y="5288"/>
                  <a:pt x="1261" y="5290"/>
                </a:cubicBezTo>
                <a:cubicBezTo>
                  <a:pt x="1258" y="5291"/>
                  <a:pt x="1252" y="5295"/>
                  <a:pt x="1253" y="5298"/>
                </a:cubicBezTo>
                <a:cubicBezTo>
                  <a:pt x="1253" y="5298"/>
                  <a:pt x="1253" y="5300"/>
                  <a:pt x="1266" y="5304"/>
                </a:cubicBezTo>
                <a:cubicBezTo>
                  <a:pt x="1266" y="5304"/>
                  <a:pt x="1266" y="5304"/>
                  <a:pt x="1266" y="5304"/>
                </a:cubicBezTo>
                <a:cubicBezTo>
                  <a:pt x="1268" y="5308"/>
                  <a:pt x="1268" y="5311"/>
                  <a:pt x="1268" y="5312"/>
                </a:cubicBezTo>
                <a:cubicBezTo>
                  <a:pt x="1265" y="5318"/>
                  <a:pt x="1251" y="5319"/>
                  <a:pt x="1239" y="5316"/>
                </a:cubicBezTo>
                <a:cubicBezTo>
                  <a:pt x="1231" y="5313"/>
                  <a:pt x="1229" y="5309"/>
                  <a:pt x="1222" y="5309"/>
                </a:cubicBezTo>
                <a:cubicBezTo>
                  <a:pt x="1216" y="5310"/>
                  <a:pt x="1216" y="5314"/>
                  <a:pt x="1210" y="5316"/>
                </a:cubicBezTo>
                <a:cubicBezTo>
                  <a:pt x="1202" y="5317"/>
                  <a:pt x="1195" y="5314"/>
                  <a:pt x="1191" y="5312"/>
                </a:cubicBezTo>
                <a:cubicBezTo>
                  <a:pt x="1189" y="5311"/>
                  <a:pt x="1180" y="5306"/>
                  <a:pt x="1176" y="5296"/>
                </a:cubicBezTo>
                <a:cubicBezTo>
                  <a:pt x="1173" y="5291"/>
                  <a:pt x="1174" y="5289"/>
                  <a:pt x="1171" y="5287"/>
                </a:cubicBezTo>
                <a:cubicBezTo>
                  <a:pt x="1167" y="5285"/>
                  <a:pt x="1163" y="5289"/>
                  <a:pt x="1157" y="5286"/>
                </a:cubicBezTo>
                <a:cubicBezTo>
                  <a:pt x="1154" y="5285"/>
                  <a:pt x="1154" y="5282"/>
                  <a:pt x="1152" y="5282"/>
                </a:cubicBezTo>
                <a:cubicBezTo>
                  <a:pt x="1147" y="5281"/>
                  <a:pt x="1145" y="5287"/>
                  <a:pt x="1141" y="5287"/>
                </a:cubicBezTo>
                <a:cubicBezTo>
                  <a:pt x="1137" y="5287"/>
                  <a:pt x="1136" y="5280"/>
                  <a:pt x="1132" y="5279"/>
                </a:cubicBezTo>
                <a:cubicBezTo>
                  <a:pt x="1128" y="5279"/>
                  <a:pt x="1125" y="5282"/>
                  <a:pt x="1118" y="5288"/>
                </a:cubicBezTo>
                <a:cubicBezTo>
                  <a:pt x="1110" y="5295"/>
                  <a:pt x="1106" y="5298"/>
                  <a:pt x="1101" y="5301"/>
                </a:cubicBezTo>
                <a:cubicBezTo>
                  <a:pt x="1090" y="5307"/>
                  <a:pt x="1083" y="5303"/>
                  <a:pt x="1078" y="5308"/>
                </a:cubicBezTo>
                <a:cubicBezTo>
                  <a:pt x="1074" y="5314"/>
                  <a:pt x="1077" y="5320"/>
                  <a:pt x="1073" y="5322"/>
                </a:cubicBezTo>
                <a:cubicBezTo>
                  <a:pt x="1069" y="5324"/>
                  <a:pt x="1065" y="5319"/>
                  <a:pt x="1059" y="5320"/>
                </a:cubicBezTo>
                <a:cubicBezTo>
                  <a:pt x="1053" y="5321"/>
                  <a:pt x="1053" y="5325"/>
                  <a:pt x="1047" y="5326"/>
                </a:cubicBezTo>
                <a:cubicBezTo>
                  <a:pt x="1041" y="5328"/>
                  <a:pt x="1039" y="5325"/>
                  <a:pt x="1029" y="5324"/>
                </a:cubicBezTo>
                <a:cubicBezTo>
                  <a:pt x="1024" y="5323"/>
                  <a:pt x="1011" y="5321"/>
                  <a:pt x="1002" y="5328"/>
                </a:cubicBezTo>
                <a:cubicBezTo>
                  <a:pt x="998" y="5332"/>
                  <a:pt x="998" y="5335"/>
                  <a:pt x="994" y="5335"/>
                </a:cubicBezTo>
                <a:cubicBezTo>
                  <a:pt x="990" y="5336"/>
                  <a:pt x="986" y="5331"/>
                  <a:pt x="984" y="5326"/>
                </a:cubicBezTo>
                <a:cubicBezTo>
                  <a:pt x="982" y="5320"/>
                  <a:pt x="985" y="5317"/>
                  <a:pt x="983" y="5313"/>
                </a:cubicBezTo>
                <a:cubicBezTo>
                  <a:pt x="980" y="5307"/>
                  <a:pt x="971" y="5304"/>
                  <a:pt x="965" y="5306"/>
                </a:cubicBezTo>
                <a:cubicBezTo>
                  <a:pt x="960" y="5307"/>
                  <a:pt x="959" y="5310"/>
                  <a:pt x="955" y="5310"/>
                </a:cubicBezTo>
                <a:cubicBezTo>
                  <a:pt x="949" y="5311"/>
                  <a:pt x="946" y="5303"/>
                  <a:pt x="942" y="5305"/>
                </a:cubicBezTo>
                <a:cubicBezTo>
                  <a:pt x="939" y="5306"/>
                  <a:pt x="941" y="5310"/>
                  <a:pt x="937" y="5316"/>
                </a:cubicBezTo>
                <a:cubicBezTo>
                  <a:pt x="934" y="5322"/>
                  <a:pt x="929" y="5325"/>
                  <a:pt x="925" y="5326"/>
                </a:cubicBezTo>
                <a:cubicBezTo>
                  <a:pt x="917" y="5331"/>
                  <a:pt x="915" y="5328"/>
                  <a:pt x="902" y="5331"/>
                </a:cubicBezTo>
                <a:cubicBezTo>
                  <a:pt x="890" y="5334"/>
                  <a:pt x="883" y="5338"/>
                  <a:pt x="883" y="5338"/>
                </a:cubicBezTo>
                <a:cubicBezTo>
                  <a:pt x="876" y="5341"/>
                  <a:pt x="875" y="5342"/>
                  <a:pt x="871" y="5342"/>
                </a:cubicBezTo>
                <a:cubicBezTo>
                  <a:pt x="865" y="5341"/>
                  <a:pt x="860" y="5334"/>
                  <a:pt x="858" y="5331"/>
                </a:cubicBezTo>
                <a:cubicBezTo>
                  <a:pt x="857" y="5329"/>
                  <a:pt x="856" y="5327"/>
                  <a:pt x="855" y="5326"/>
                </a:cubicBezTo>
                <a:cubicBezTo>
                  <a:pt x="869" y="5324"/>
                  <a:pt x="869" y="5324"/>
                  <a:pt x="869" y="5324"/>
                </a:cubicBezTo>
                <a:cubicBezTo>
                  <a:pt x="877" y="5319"/>
                  <a:pt x="877" y="5319"/>
                  <a:pt x="877" y="5319"/>
                </a:cubicBezTo>
                <a:cubicBezTo>
                  <a:pt x="874" y="5313"/>
                  <a:pt x="874" y="5313"/>
                  <a:pt x="874" y="5313"/>
                </a:cubicBezTo>
                <a:cubicBezTo>
                  <a:pt x="883" y="5297"/>
                  <a:pt x="883" y="5297"/>
                  <a:pt x="883" y="5297"/>
                </a:cubicBezTo>
                <a:cubicBezTo>
                  <a:pt x="878" y="5292"/>
                  <a:pt x="878" y="5292"/>
                  <a:pt x="878" y="5292"/>
                </a:cubicBezTo>
                <a:cubicBezTo>
                  <a:pt x="865" y="5303"/>
                  <a:pt x="865" y="5303"/>
                  <a:pt x="865" y="5303"/>
                </a:cubicBezTo>
                <a:cubicBezTo>
                  <a:pt x="855" y="5300"/>
                  <a:pt x="855" y="5300"/>
                  <a:pt x="855" y="5300"/>
                </a:cubicBezTo>
                <a:cubicBezTo>
                  <a:pt x="845" y="5312"/>
                  <a:pt x="845" y="5312"/>
                  <a:pt x="845" y="5312"/>
                </a:cubicBezTo>
                <a:cubicBezTo>
                  <a:pt x="838" y="5314"/>
                  <a:pt x="838" y="5314"/>
                  <a:pt x="838" y="5314"/>
                </a:cubicBezTo>
                <a:cubicBezTo>
                  <a:pt x="829" y="5298"/>
                  <a:pt x="829" y="5298"/>
                  <a:pt x="829" y="5298"/>
                </a:cubicBezTo>
                <a:cubicBezTo>
                  <a:pt x="829" y="5295"/>
                  <a:pt x="828" y="5292"/>
                  <a:pt x="827" y="5289"/>
                </a:cubicBezTo>
                <a:cubicBezTo>
                  <a:pt x="825" y="5285"/>
                  <a:pt x="823" y="5285"/>
                  <a:pt x="821" y="5281"/>
                </a:cubicBezTo>
                <a:cubicBezTo>
                  <a:pt x="820" y="5277"/>
                  <a:pt x="821" y="5276"/>
                  <a:pt x="820" y="5272"/>
                </a:cubicBezTo>
                <a:cubicBezTo>
                  <a:pt x="819" y="5266"/>
                  <a:pt x="814" y="5265"/>
                  <a:pt x="807" y="5258"/>
                </a:cubicBezTo>
                <a:cubicBezTo>
                  <a:pt x="805" y="5256"/>
                  <a:pt x="801" y="5251"/>
                  <a:pt x="798" y="5242"/>
                </a:cubicBezTo>
                <a:cubicBezTo>
                  <a:pt x="797" y="5237"/>
                  <a:pt x="794" y="5230"/>
                  <a:pt x="797" y="5223"/>
                </a:cubicBezTo>
                <a:cubicBezTo>
                  <a:pt x="800" y="5216"/>
                  <a:pt x="806" y="5217"/>
                  <a:pt x="808" y="5211"/>
                </a:cubicBezTo>
                <a:cubicBezTo>
                  <a:pt x="810" y="5206"/>
                  <a:pt x="808" y="5200"/>
                  <a:pt x="804" y="5189"/>
                </a:cubicBezTo>
                <a:cubicBezTo>
                  <a:pt x="801" y="5179"/>
                  <a:pt x="800" y="5179"/>
                  <a:pt x="799" y="5175"/>
                </a:cubicBezTo>
                <a:cubicBezTo>
                  <a:pt x="799" y="5169"/>
                  <a:pt x="801" y="5166"/>
                  <a:pt x="808" y="5152"/>
                </a:cubicBezTo>
                <a:cubicBezTo>
                  <a:pt x="813" y="5140"/>
                  <a:pt x="816" y="5135"/>
                  <a:pt x="816" y="5131"/>
                </a:cubicBezTo>
                <a:cubicBezTo>
                  <a:pt x="818" y="5119"/>
                  <a:pt x="812" y="5115"/>
                  <a:pt x="816" y="5106"/>
                </a:cubicBezTo>
                <a:cubicBezTo>
                  <a:pt x="819" y="5098"/>
                  <a:pt x="824" y="5099"/>
                  <a:pt x="828" y="5092"/>
                </a:cubicBezTo>
                <a:cubicBezTo>
                  <a:pt x="833" y="5080"/>
                  <a:pt x="824" y="5072"/>
                  <a:pt x="828" y="5059"/>
                </a:cubicBezTo>
                <a:cubicBezTo>
                  <a:pt x="832" y="5045"/>
                  <a:pt x="846" y="5046"/>
                  <a:pt x="848" y="5035"/>
                </a:cubicBezTo>
                <a:cubicBezTo>
                  <a:pt x="851" y="5021"/>
                  <a:pt x="831" y="5016"/>
                  <a:pt x="824" y="4990"/>
                </a:cubicBezTo>
                <a:cubicBezTo>
                  <a:pt x="821" y="4980"/>
                  <a:pt x="821" y="4971"/>
                  <a:pt x="822" y="4963"/>
                </a:cubicBezTo>
                <a:cubicBezTo>
                  <a:pt x="822" y="4954"/>
                  <a:pt x="823" y="4935"/>
                  <a:pt x="833" y="4922"/>
                </a:cubicBezTo>
                <a:cubicBezTo>
                  <a:pt x="834" y="4920"/>
                  <a:pt x="837" y="4916"/>
                  <a:pt x="839" y="4910"/>
                </a:cubicBezTo>
                <a:cubicBezTo>
                  <a:pt x="841" y="4905"/>
                  <a:pt x="840" y="4902"/>
                  <a:pt x="841" y="4898"/>
                </a:cubicBezTo>
                <a:cubicBezTo>
                  <a:pt x="843" y="4889"/>
                  <a:pt x="849" y="4885"/>
                  <a:pt x="857" y="4876"/>
                </a:cubicBezTo>
                <a:cubicBezTo>
                  <a:pt x="857" y="4876"/>
                  <a:pt x="867" y="4865"/>
                  <a:pt x="873" y="4850"/>
                </a:cubicBezTo>
                <a:cubicBezTo>
                  <a:pt x="883" y="4825"/>
                  <a:pt x="871" y="4810"/>
                  <a:pt x="883" y="4799"/>
                </a:cubicBezTo>
                <a:cubicBezTo>
                  <a:pt x="890" y="4791"/>
                  <a:pt x="898" y="4795"/>
                  <a:pt x="903" y="4786"/>
                </a:cubicBezTo>
                <a:cubicBezTo>
                  <a:pt x="907" y="4780"/>
                  <a:pt x="905" y="4775"/>
                  <a:pt x="903" y="4759"/>
                </a:cubicBezTo>
                <a:cubicBezTo>
                  <a:pt x="901" y="4742"/>
                  <a:pt x="901" y="4733"/>
                  <a:pt x="902" y="4726"/>
                </a:cubicBezTo>
                <a:cubicBezTo>
                  <a:pt x="905" y="4705"/>
                  <a:pt x="918" y="4704"/>
                  <a:pt x="919" y="4684"/>
                </a:cubicBezTo>
                <a:cubicBezTo>
                  <a:pt x="919" y="4672"/>
                  <a:pt x="915" y="4667"/>
                  <a:pt x="919" y="4659"/>
                </a:cubicBezTo>
                <a:cubicBezTo>
                  <a:pt x="924" y="4651"/>
                  <a:pt x="930" y="4653"/>
                  <a:pt x="936" y="4646"/>
                </a:cubicBezTo>
                <a:cubicBezTo>
                  <a:pt x="946" y="4634"/>
                  <a:pt x="931" y="4621"/>
                  <a:pt x="938" y="4598"/>
                </a:cubicBezTo>
                <a:cubicBezTo>
                  <a:pt x="942" y="4583"/>
                  <a:pt x="950" y="4583"/>
                  <a:pt x="953" y="4566"/>
                </a:cubicBezTo>
                <a:cubicBezTo>
                  <a:pt x="955" y="4557"/>
                  <a:pt x="953" y="4552"/>
                  <a:pt x="957" y="4546"/>
                </a:cubicBezTo>
                <a:cubicBezTo>
                  <a:pt x="962" y="4539"/>
                  <a:pt x="969" y="4538"/>
                  <a:pt x="979" y="4533"/>
                </a:cubicBezTo>
                <a:cubicBezTo>
                  <a:pt x="994" y="4525"/>
                  <a:pt x="1013" y="4508"/>
                  <a:pt x="1014" y="4489"/>
                </a:cubicBezTo>
                <a:cubicBezTo>
                  <a:pt x="1015" y="4477"/>
                  <a:pt x="1009" y="4468"/>
                  <a:pt x="1013" y="4464"/>
                </a:cubicBezTo>
                <a:cubicBezTo>
                  <a:pt x="1018" y="4461"/>
                  <a:pt x="1027" y="4470"/>
                  <a:pt x="1034" y="4466"/>
                </a:cubicBezTo>
                <a:cubicBezTo>
                  <a:pt x="1042" y="4462"/>
                  <a:pt x="1036" y="4445"/>
                  <a:pt x="1045" y="4440"/>
                </a:cubicBezTo>
                <a:cubicBezTo>
                  <a:pt x="1051" y="4436"/>
                  <a:pt x="1057" y="4445"/>
                  <a:pt x="1066" y="4442"/>
                </a:cubicBezTo>
                <a:cubicBezTo>
                  <a:pt x="1075" y="4440"/>
                  <a:pt x="1080" y="4426"/>
                  <a:pt x="1086" y="4406"/>
                </a:cubicBezTo>
                <a:cubicBezTo>
                  <a:pt x="1092" y="4388"/>
                  <a:pt x="1089" y="4388"/>
                  <a:pt x="1094" y="4376"/>
                </a:cubicBezTo>
                <a:cubicBezTo>
                  <a:pt x="1100" y="4362"/>
                  <a:pt x="1108" y="4352"/>
                  <a:pt x="1118" y="4341"/>
                </a:cubicBezTo>
                <a:cubicBezTo>
                  <a:pt x="1124" y="4334"/>
                  <a:pt x="1132" y="4325"/>
                  <a:pt x="1144" y="4315"/>
                </a:cubicBezTo>
                <a:cubicBezTo>
                  <a:pt x="1139" y="4305"/>
                  <a:pt x="1139" y="4305"/>
                  <a:pt x="1139" y="4305"/>
                </a:cubicBezTo>
                <a:cubicBezTo>
                  <a:pt x="1127" y="4307"/>
                  <a:pt x="1127" y="4307"/>
                  <a:pt x="1127" y="4307"/>
                </a:cubicBezTo>
                <a:cubicBezTo>
                  <a:pt x="1110" y="4304"/>
                  <a:pt x="1110" y="4304"/>
                  <a:pt x="1110" y="4304"/>
                </a:cubicBezTo>
                <a:cubicBezTo>
                  <a:pt x="1076" y="4296"/>
                  <a:pt x="1076" y="4296"/>
                  <a:pt x="1076" y="4296"/>
                </a:cubicBezTo>
                <a:cubicBezTo>
                  <a:pt x="1039" y="4274"/>
                  <a:pt x="1039" y="4274"/>
                  <a:pt x="1039" y="4274"/>
                </a:cubicBezTo>
                <a:cubicBezTo>
                  <a:pt x="1022" y="4274"/>
                  <a:pt x="1022" y="4274"/>
                  <a:pt x="1022" y="4274"/>
                </a:cubicBezTo>
                <a:cubicBezTo>
                  <a:pt x="1001" y="4250"/>
                  <a:pt x="1001" y="4250"/>
                  <a:pt x="1001" y="4250"/>
                </a:cubicBezTo>
                <a:cubicBezTo>
                  <a:pt x="993" y="4256"/>
                  <a:pt x="993" y="4256"/>
                  <a:pt x="993" y="4256"/>
                </a:cubicBezTo>
                <a:cubicBezTo>
                  <a:pt x="975" y="4255"/>
                  <a:pt x="975" y="4255"/>
                  <a:pt x="975" y="4255"/>
                </a:cubicBezTo>
                <a:cubicBezTo>
                  <a:pt x="961" y="4264"/>
                  <a:pt x="961" y="4264"/>
                  <a:pt x="961" y="4264"/>
                </a:cubicBezTo>
                <a:cubicBezTo>
                  <a:pt x="931" y="4241"/>
                  <a:pt x="931" y="4241"/>
                  <a:pt x="931" y="4241"/>
                </a:cubicBezTo>
                <a:cubicBezTo>
                  <a:pt x="922" y="4256"/>
                  <a:pt x="922" y="4256"/>
                  <a:pt x="922" y="4256"/>
                </a:cubicBezTo>
                <a:cubicBezTo>
                  <a:pt x="908" y="4259"/>
                  <a:pt x="908" y="4259"/>
                  <a:pt x="908" y="4259"/>
                </a:cubicBezTo>
                <a:cubicBezTo>
                  <a:pt x="903" y="4251"/>
                  <a:pt x="903" y="4251"/>
                  <a:pt x="903" y="4251"/>
                </a:cubicBezTo>
                <a:cubicBezTo>
                  <a:pt x="890" y="4247"/>
                  <a:pt x="890" y="4247"/>
                  <a:pt x="890" y="4247"/>
                </a:cubicBezTo>
                <a:cubicBezTo>
                  <a:pt x="880" y="4256"/>
                  <a:pt x="880" y="4256"/>
                  <a:pt x="880" y="4256"/>
                </a:cubicBezTo>
                <a:cubicBezTo>
                  <a:pt x="860" y="4252"/>
                  <a:pt x="860" y="4252"/>
                  <a:pt x="860" y="4252"/>
                </a:cubicBezTo>
                <a:cubicBezTo>
                  <a:pt x="841" y="4230"/>
                  <a:pt x="841" y="4230"/>
                  <a:pt x="841" y="4230"/>
                </a:cubicBezTo>
                <a:cubicBezTo>
                  <a:pt x="818" y="4232"/>
                  <a:pt x="818" y="4232"/>
                  <a:pt x="818" y="4232"/>
                </a:cubicBezTo>
                <a:cubicBezTo>
                  <a:pt x="786" y="4186"/>
                  <a:pt x="786" y="4186"/>
                  <a:pt x="786" y="4186"/>
                </a:cubicBezTo>
                <a:cubicBezTo>
                  <a:pt x="794" y="4180"/>
                  <a:pt x="794" y="4180"/>
                  <a:pt x="794" y="4180"/>
                </a:cubicBezTo>
                <a:cubicBezTo>
                  <a:pt x="790" y="4171"/>
                  <a:pt x="790" y="4171"/>
                  <a:pt x="790" y="4171"/>
                </a:cubicBezTo>
                <a:cubicBezTo>
                  <a:pt x="765" y="4170"/>
                  <a:pt x="765" y="4170"/>
                  <a:pt x="765" y="4170"/>
                </a:cubicBezTo>
                <a:cubicBezTo>
                  <a:pt x="761" y="4156"/>
                  <a:pt x="761" y="4156"/>
                  <a:pt x="761" y="4156"/>
                </a:cubicBezTo>
                <a:cubicBezTo>
                  <a:pt x="727" y="4168"/>
                  <a:pt x="727" y="4168"/>
                  <a:pt x="727" y="4168"/>
                </a:cubicBezTo>
                <a:cubicBezTo>
                  <a:pt x="723" y="4188"/>
                  <a:pt x="723" y="4188"/>
                  <a:pt x="723" y="4188"/>
                </a:cubicBezTo>
                <a:cubicBezTo>
                  <a:pt x="707" y="4185"/>
                  <a:pt x="707" y="4185"/>
                  <a:pt x="707" y="4185"/>
                </a:cubicBezTo>
                <a:cubicBezTo>
                  <a:pt x="697" y="4208"/>
                  <a:pt x="697" y="4208"/>
                  <a:pt x="697" y="4208"/>
                </a:cubicBezTo>
                <a:cubicBezTo>
                  <a:pt x="662" y="4194"/>
                  <a:pt x="662" y="4194"/>
                  <a:pt x="662" y="4194"/>
                </a:cubicBezTo>
                <a:cubicBezTo>
                  <a:pt x="646" y="4205"/>
                  <a:pt x="646" y="4205"/>
                  <a:pt x="646" y="4205"/>
                </a:cubicBezTo>
                <a:cubicBezTo>
                  <a:pt x="637" y="4194"/>
                  <a:pt x="637" y="4194"/>
                  <a:pt x="637" y="4194"/>
                </a:cubicBezTo>
                <a:cubicBezTo>
                  <a:pt x="624" y="4202"/>
                  <a:pt x="624" y="4202"/>
                  <a:pt x="624" y="4202"/>
                </a:cubicBezTo>
                <a:cubicBezTo>
                  <a:pt x="604" y="4189"/>
                  <a:pt x="604" y="4189"/>
                  <a:pt x="604" y="4189"/>
                </a:cubicBezTo>
                <a:cubicBezTo>
                  <a:pt x="599" y="4173"/>
                  <a:pt x="599" y="4173"/>
                  <a:pt x="599" y="4173"/>
                </a:cubicBezTo>
                <a:cubicBezTo>
                  <a:pt x="589" y="4178"/>
                  <a:pt x="589" y="4178"/>
                  <a:pt x="589" y="4178"/>
                </a:cubicBezTo>
                <a:cubicBezTo>
                  <a:pt x="590" y="4199"/>
                  <a:pt x="590" y="4199"/>
                  <a:pt x="590" y="4199"/>
                </a:cubicBezTo>
                <a:cubicBezTo>
                  <a:pt x="579" y="4210"/>
                  <a:pt x="579" y="4210"/>
                  <a:pt x="579" y="4210"/>
                </a:cubicBezTo>
                <a:cubicBezTo>
                  <a:pt x="571" y="4203"/>
                  <a:pt x="571" y="4203"/>
                  <a:pt x="571" y="4203"/>
                </a:cubicBezTo>
                <a:cubicBezTo>
                  <a:pt x="570" y="4183"/>
                  <a:pt x="570" y="4183"/>
                  <a:pt x="570" y="4183"/>
                </a:cubicBezTo>
                <a:cubicBezTo>
                  <a:pt x="566" y="4162"/>
                  <a:pt x="566" y="4162"/>
                  <a:pt x="566" y="4162"/>
                </a:cubicBezTo>
                <a:cubicBezTo>
                  <a:pt x="565" y="4147"/>
                  <a:pt x="565" y="4147"/>
                  <a:pt x="565" y="4147"/>
                </a:cubicBezTo>
                <a:cubicBezTo>
                  <a:pt x="553" y="4155"/>
                  <a:pt x="553" y="4155"/>
                  <a:pt x="553" y="4155"/>
                </a:cubicBezTo>
                <a:cubicBezTo>
                  <a:pt x="538" y="4143"/>
                  <a:pt x="538" y="4143"/>
                  <a:pt x="538" y="4143"/>
                </a:cubicBezTo>
                <a:cubicBezTo>
                  <a:pt x="528" y="4143"/>
                  <a:pt x="528" y="4143"/>
                  <a:pt x="528" y="4143"/>
                </a:cubicBezTo>
                <a:cubicBezTo>
                  <a:pt x="512" y="4129"/>
                  <a:pt x="512" y="4129"/>
                  <a:pt x="512" y="4129"/>
                </a:cubicBezTo>
                <a:cubicBezTo>
                  <a:pt x="496" y="4138"/>
                  <a:pt x="496" y="4138"/>
                  <a:pt x="496" y="4138"/>
                </a:cubicBezTo>
                <a:cubicBezTo>
                  <a:pt x="480" y="4126"/>
                  <a:pt x="480" y="4126"/>
                  <a:pt x="480" y="4126"/>
                </a:cubicBezTo>
                <a:cubicBezTo>
                  <a:pt x="471" y="4135"/>
                  <a:pt x="471" y="4135"/>
                  <a:pt x="471" y="4135"/>
                </a:cubicBezTo>
                <a:cubicBezTo>
                  <a:pt x="486" y="4157"/>
                  <a:pt x="486" y="4157"/>
                  <a:pt x="486" y="4157"/>
                </a:cubicBezTo>
                <a:cubicBezTo>
                  <a:pt x="470" y="4181"/>
                  <a:pt x="470" y="4181"/>
                  <a:pt x="470" y="4181"/>
                </a:cubicBezTo>
                <a:cubicBezTo>
                  <a:pt x="445" y="4170"/>
                  <a:pt x="445" y="4170"/>
                  <a:pt x="445" y="4170"/>
                </a:cubicBezTo>
                <a:cubicBezTo>
                  <a:pt x="420" y="4170"/>
                  <a:pt x="420" y="4170"/>
                  <a:pt x="420" y="4170"/>
                </a:cubicBezTo>
                <a:cubicBezTo>
                  <a:pt x="414" y="4153"/>
                  <a:pt x="414" y="4153"/>
                  <a:pt x="414" y="4153"/>
                </a:cubicBezTo>
                <a:cubicBezTo>
                  <a:pt x="417" y="4141"/>
                  <a:pt x="417" y="4141"/>
                  <a:pt x="417" y="4141"/>
                </a:cubicBezTo>
                <a:cubicBezTo>
                  <a:pt x="414" y="4131"/>
                  <a:pt x="414" y="4131"/>
                  <a:pt x="414" y="4131"/>
                </a:cubicBezTo>
                <a:cubicBezTo>
                  <a:pt x="401" y="4133"/>
                  <a:pt x="401" y="4133"/>
                  <a:pt x="401" y="4133"/>
                </a:cubicBezTo>
                <a:cubicBezTo>
                  <a:pt x="398" y="4111"/>
                  <a:pt x="398" y="4111"/>
                  <a:pt x="398" y="4111"/>
                </a:cubicBezTo>
                <a:cubicBezTo>
                  <a:pt x="383" y="4104"/>
                  <a:pt x="383" y="4104"/>
                  <a:pt x="383" y="4104"/>
                </a:cubicBezTo>
                <a:cubicBezTo>
                  <a:pt x="383" y="4084"/>
                  <a:pt x="383" y="4084"/>
                  <a:pt x="383" y="4084"/>
                </a:cubicBezTo>
                <a:cubicBezTo>
                  <a:pt x="348" y="4063"/>
                  <a:pt x="348" y="4063"/>
                  <a:pt x="348" y="4063"/>
                </a:cubicBezTo>
                <a:cubicBezTo>
                  <a:pt x="348" y="4056"/>
                  <a:pt x="348" y="4056"/>
                  <a:pt x="348" y="4056"/>
                </a:cubicBezTo>
                <a:cubicBezTo>
                  <a:pt x="342" y="4048"/>
                  <a:pt x="342" y="4048"/>
                  <a:pt x="342" y="4048"/>
                </a:cubicBezTo>
                <a:cubicBezTo>
                  <a:pt x="339" y="4036"/>
                  <a:pt x="339" y="4036"/>
                  <a:pt x="339" y="4036"/>
                </a:cubicBezTo>
                <a:cubicBezTo>
                  <a:pt x="355" y="4030"/>
                  <a:pt x="355" y="4030"/>
                  <a:pt x="355" y="4030"/>
                </a:cubicBezTo>
                <a:cubicBezTo>
                  <a:pt x="347" y="4010"/>
                  <a:pt x="347" y="4010"/>
                  <a:pt x="347" y="4010"/>
                </a:cubicBezTo>
                <a:cubicBezTo>
                  <a:pt x="325" y="3999"/>
                  <a:pt x="325" y="3999"/>
                  <a:pt x="325" y="3999"/>
                </a:cubicBezTo>
                <a:cubicBezTo>
                  <a:pt x="330" y="3979"/>
                  <a:pt x="330" y="3979"/>
                  <a:pt x="330" y="3979"/>
                </a:cubicBezTo>
                <a:cubicBezTo>
                  <a:pt x="270" y="3949"/>
                  <a:pt x="270" y="3949"/>
                  <a:pt x="270" y="3949"/>
                </a:cubicBezTo>
                <a:cubicBezTo>
                  <a:pt x="245" y="3957"/>
                  <a:pt x="245" y="3957"/>
                  <a:pt x="245" y="3957"/>
                </a:cubicBezTo>
                <a:cubicBezTo>
                  <a:pt x="251" y="3941"/>
                  <a:pt x="250" y="3931"/>
                  <a:pt x="247" y="3923"/>
                </a:cubicBezTo>
                <a:cubicBezTo>
                  <a:pt x="244" y="3917"/>
                  <a:pt x="240" y="3912"/>
                  <a:pt x="242" y="3906"/>
                </a:cubicBezTo>
                <a:cubicBezTo>
                  <a:pt x="245" y="3899"/>
                  <a:pt x="253" y="3899"/>
                  <a:pt x="254" y="3894"/>
                </a:cubicBezTo>
                <a:cubicBezTo>
                  <a:pt x="255" y="3887"/>
                  <a:pt x="245" y="3885"/>
                  <a:pt x="245" y="3877"/>
                </a:cubicBezTo>
                <a:cubicBezTo>
                  <a:pt x="245" y="3872"/>
                  <a:pt x="248" y="3870"/>
                  <a:pt x="256" y="3860"/>
                </a:cubicBezTo>
                <a:cubicBezTo>
                  <a:pt x="267" y="3847"/>
                  <a:pt x="273" y="3840"/>
                  <a:pt x="274" y="3835"/>
                </a:cubicBezTo>
                <a:cubicBezTo>
                  <a:pt x="277" y="3824"/>
                  <a:pt x="271" y="3821"/>
                  <a:pt x="274" y="3811"/>
                </a:cubicBezTo>
                <a:cubicBezTo>
                  <a:pt x="276" y="3805"/>
                  <a:pt x="279" y="3804"/>
                  <a:pt x="294" y="3790"/>
                </a:cubicBezTo>
                <a:cubicBezTo>
                  <a:pt x="313" y="3773"/>
                  <a:pt x="314" y="3770"/>
                  <a:pt x="314" y="3767"/>
                </a:cubicBezTo>
                <a:cubicBezTo>
                  <a:pt x="315" y="3758"/>
                  <a:pt x="306" y="3752"/>
                  <a:pt x="310" y="3745"/>
                </a:cubicBezTo>
                <a:cubicBezTo>
                  <a:pt x="312" y="3740"/>
                  <a:pt x="316" y="3740"/>
                  <a:pt x="316" y="3736"/>
                </a:cubicBezTo>
                <a:cubicBezTo>
                  <a:pt x="317" y="3731"/>
                  <a:pt x="312" y="3728"/>
                  <a:pt x="311" y="3723"/>
                </a:cubicBezTo>
                <a:cubicBezTo>
                  <a:pt x="311" y="3719"/>
                  <a:pt x="312" y="3713"/>
                  <a:pt x="321" y="3705"/>
                </a:cubicBezTo>
                <a:cubicBezTo>
                  <a:pt x="301" y="3701"/>
                  <a:pt x="301" y="3701"/>
                  <a:pt x="301" y="3701"/>
                </a:cubicBezTo>
                <a:cubicBezTo>
                  <a:pt x="296" y="3693"/>
                  <a:pt x="296" y="3693"/>
                  <a:pt x="296" y="3693"/>
                </a:cubicBezTo>
                <a:cubicBezTo>
                  <a:pt x="287" y="3701"/>
                  <a:pt x="287" y="3701"/>
                  <a:pt x="287" y="3701"/>
                </a:cubicBezTo>
                <a:cubicBezTo>
                  <a:pt x="265" y="3701"/>
                  <a:pt x="265" y="3701"/>
                  <a:pt x="265" y="3701"/>
                </a:cubicBezTo>
                <a:cubicBezTo>
                  <a:pt x="239" y="3676"/>
                  <a:pt x="239" y="3676"/>
                  <a:pt x="239" y="3676"/>
                </a:cubicBezTo>
                <a:cubicBezTo>
                  <a:pt x="218" y="3683"/>
                  <a:pt x="218" y="3683"/>
                  <a:pt x="218" y="3683"/>
                </a:cubicBezTo>
                <a:cubicBezTo>
                  <a:pt x="219" y="3662"/>
                  <a:pt x="219" y="3662"/>
                  <a:pt x="219" y="3662"/>
                </a:cubicBezTo>
                <a:cubicBezTo>
                  <a:pt x="204" y="3661"/>
                  <a:pt x="204" y="3661"/>
                  <a:pt x="204" y="3661"/>
                </a:cubicBezTo>
                <a:cubicBezTo>
                  <a:pt x="171" y="3631"/>
                  <a:pt x="171" y="3631"/>
                  <a:pt x="171" y="3631"/>
                </a:cubicBezTo>
                <a:cubicBezTo>
                  <a:pt x="171" y="3610"/>
                  <a:pt x="171" y="3610"/>
                  <a:pt x="171" y="3610"/>
                </a:cubicBezTo>
                <a:cubicBezTo>
                  <a:pt x="149" y="3595"/>
                  <a:pt x="149" y="3595"/>
                  <a:pt x="149" y="3595"/>
                </a:cubicBezTo>
                <a:cubicBezTo>
                  <a:pt x="146" y="3579"/>
                  <a:pt x="146" y="3579"/>
                  <a:pt x="146" y="3579"/>
                </a:cubicBezTo>
                <a:cubicBezTo>
                  <a:pt x="135" y="3560"/>
                  <a:pt x="135" y="3560"/>
                  <a:pt x="135" y="3560"/>
                </a:cubicBezTo>
                <a:cubicBezTo>
                  <a:pt x="128" y="3527"/>
                  <a:pt x="128" y="3527"/>
                  <a:pt x="128" y="3527"/>
                </a:cubicBezTo>
                <a:cubicBezTo>
                  <a:pt x="125" y="3501"/>
                  <a:pt x="125" y="3501"/>
                  <a:pt x="125" y="3501"/>
                </a:cubicBezTo>
                <a:cubicBezTo>
                  <a:pt x="134" y="3475"/>
                  <a:pt x="134" y="3475"/>
                  <a:pt x="134" y="3475"/>
                </a:cubicBezTo>
                <a:cubicBezTo>
                  <a:pt x="143" y="3462"/>
                  <a:pt x="143" y="3462"/>
                  <a:pt x="143" y="3462"/>
                </a:cubicBezTo>
                <a:cubicBezTo>
                  <a:pt x="136" y="3452"/>
                  <a:pt x="136" y="3452"/>
                  <a:pt x="136" y="3452"/>
                </a:cubicBezTo>
                <a:cubicBezTo>
                  <a:pt x="139" y="3438"/>
                  <a:pt x="139" y="3438"/>
                  <a:pt x="139" y="3438"/>
                </a:cubicBezTo>
                <a:cubicBezTo>
                  <a:pt x="158" y="3438"/>
                  <a:pt x="158" y="3438"/>
                  <a:pt x="158" y="3438"/>
                </a:cubicBezTo>
                <a:cubicBezTo>
                  <a:pt x="156" y="3414"/>
                  <a:pt x="156" y="3414"/>
                  <a:pt x="156" y="3414"/>
                </a:cubicBezTo>
                <a:cubicBezTo>
                  <a:pt x="148" y="3402"/>
                  <a:pt x="148" y="3402"/>
                  <a:pt x="148" y="3402"/>
                </a:cubicBezTo>
                <a:cubicBezTo>
                  <a:pt x="160" y="3395"/>
                  <a:pt x="160" y="3395"/>
                  <a:pt x="160" y="3395"/>
                </a:cubicBezTo>
                <a:cubicBezTo>
                  <a:pt x="173" y="3378"/>
                  <a:pt x="173" y="3378"/>
                  <a:pt x="173" y="3378"/>
                </a:cubicBezTo>
                <a:cubicBezTo>
                  <a:pt x="200" y="3378"/>
                  <a:pt x="200" y="3378"/>
                  <a:pt x="200" y="3378"/>
                </a:cubicBezTo>
                <a:cubicBezTo>
                  <a:pt x="211" y="3366"/>
                  <a:pt x="211" y="3366"/>
                  <a:pt x="211" y="3366"/>
                </a:cubicBezTo>
                <a:cubicBezTo>
                  <a:pt x="210" y="3350"/>
                  <a:pt x="210" y="3350"/>
                  <a:pt x="210" y="3350"/>
                </a:cubicBezTo>
                <a:cubicBezTo>
                  <a:pt x="222" y="3332"/>
                  <a:pt x="222" y="3332"/>
                  <a:pt x="222" y="3332"/>
                </a:cubicBezTo>
                <a:cubicBezTo>
                  <a:pt x="242" y="3343"/>
                  <a:pt x="242" y="3343"/>
                  <a:pt x="242" y="3343"/>
                </a:cubicBezTo>
                <a:cubicBezTo>
                  <a:pt x="262" y="3329"/>
                  <a:pt x="262" y="3329"/>
                  <a:pt x="262" y="3329"/>
                </a:cubicBezTo>
                <a:cubicBezTo>
                  <a:pt x="259" y="3319"/>
                  <a:pt x="259" y="3319"/>
                  <a:pt x="259" y="3319"/>
                </a:cubicBezTo>
                <a:cubicBezTo>
                  <a:pt x="233" y="3291"/>
                  <a:pt x="233" y="3291"/>
                  <a:pt x="233" y="3291"/>
                </a:cubicBezTo>
                <a:cubicBezTo>
                  <a:pt x="246" y="3272"/>
                  <a:pt x="246" y="3272"/>
                  <a:pt x="246" y="3272"/>
                </a:cubicBezTo>
                <a:cubicBezTo>
                  <a:pt x="243" y="3262"/>
                  <a:pt x="243" y="3262"/>
                  <a:pt x="243" y="3262"/>
                </a:cubicBezTo>
                <a:cubicBezTo>
                  <a:pt x="251" y="3247"/>
                  <a:pt x="251" y="3247"/>
                  <a:pt x="251" y="3247"/>
                </a:cubicBezTo>
                <a:cubicBezTo>
                  <a:pt x="230" y="3232"/>
                  <a:pt x="230" y="3232"/>
                  <a:pt x="230" y="3232"/>
                </a:cubicBezTo>
                <a:cubicBezTo>
                  <a:pt x="232" y="3212"/>
                  <a:pt x="232" y="3212"/>
                  <a:pt x="232" y="3212"/>
                </a:cubicBezTo>
                <a:cubicBezTo>
                  <a:pt x="199" y="3201"/>
                  <a:pt x="199" y="3201"/>
                  <a:pt x="199" y="3201"/>
                </a:cubicBezTo>
                <a:cubicBezTo>
                  <a:pt x="175" y="3207"/>
                  <a:pt x="175" y="3207"/>
                  <a:pt x="175" y="3207"/>
                </a:cubicBezTo>
                <a:cubicBezTo>
                  <a:pt x="162" y="3186"/>
                  <a:pt x="162" y="3186"/>
                  <a:pt x="162" y="3186"/>
                </a:cubicBezTo>
                <a:cubicBezTo>
                  <a:pt x="161" y="3177"/>
                  <a:pt x="161" y="3177"/>
                  <a:pt x="161" y="3177"/>
                </a:cubicBezTo>
                <a:cubicBezTo>
                  <a:pt x="152" y="3177"/>
                  <a:pt x="152" y="3177"/>
                  <a:pt x="152" y="3177"/>
                </a:cubicBezTo>
                <a:cubicBezTo>
                  <a:pt x="152" y="3162"/>
                  <a:pt x="152" y="3162"/>
                  <a:pt x="152" y="3162"/>
                </a:cubicBezTo>
                <a:cubicBezTo>
                  <a:pt x="178" y="3139"/>
                  <a:pt x="178" y="3139"/>
                  <a:pt x="178" y="3139"/>
                </a:cubicBezTo>
                <a:cubicBezTo>
                  <a:pt x="189" y="3137"/>
                  <a:pt x="189" y="3137"/>
                  <a:pt x="189" y="3137"/>
                </a:cubicBezTo>
                <a:cubicBezTo>
                  <a:pt x="199" y="3110"/>
                  <a:pt x="199" y="3110"/>
                  <a:pt x="199" y="3110"/>
                </a:cubicBezTo>
                <a:cubicBezTo>
                  <a:pt x="181" y="3113"/>
                  <a:pt x="181" y="3113"/>
                  <a:pt x="181" y="3113"/>
                </a:cubicBezTo>
                <a:cubicBezTo>
                  <a:pt x="170" y="3109"/>
                  <a:pt x="170" y="3109"/>
                  <a:pt x="170" y="3109"/>
                </a:cubicBezTo>
                <a:cubicBezTo>
                  <a:pt x="158" y="3111"/>
                  <a:pt x="158" y="3111"/>
                  <a:pt x="158" y="3111"/>
                </a:cubicBezTo>
                <a:cubicBezTo>
                  <a:pt x="150" y="3103"/>
                  <a:pt x="150" y="3103"/>
                  <a:pt x="150" y="3103"/>
                </a:cubicBezTo>
                <a:cubicBezTo>
                  <a:pt x="157" y="3095"/>
                  <a:pt x="157" y="3095"/>
                  <a:pt x="157" y="3095"/>
                </a:cubicBezTo>
                <a:cubicBezTo>
                  <a:pt x="121" y="3045"/>
                  <a:pt x="121" y="3045"/>
                  <a:pt x="121" y="3045"/>
                </a:cubicBezTo>
                <a:cubicBezTo>
                  <a:pt x="85" y="3045"/>
                  <a:pt x="85" y="3045"/>
                  <a:pt x="85" y="3045"/>
                </a:cubicBezTo>
                <a:cubicBezTo>
                  <a:pt x="87" y="3032"/>
                  <a:pt x="87" y="3032"/>
                  <a:pt x="87" y="3032"/>
                </a:cubicBezTo>
                <a:cubicBezTo>
                  <a:pt x="78" y="3021"/>
                  <a:pt x="78" y="3021"/>
                  <a:pt x="78" y="3021"/>
                </a:cubicBezTo>
                <a:cubicBezTo>
                  <a:pt x="81" y="3007"/>
                  <a:pt x="81" y="3007"/>
                  <a:pt x="81" y="3007"/>
                </a:cubicBezTo>
                <a:cubicBezTo>
                  <a:pt x="55" y="2982"/>
                  <a:pt x="55" y="2982"/>
                  <a:pt x="55" y="2982"/>
                </a:cubicBezTo>
                <a:cubicBezTo>
                  <a:pt x="67" y="2982"/>
                  <a:pt x="67" y="2982"/>
                  <a:pt x="67" y="2982"/>
                </a:cubicBezTo>
                <a:cubicBezTo>
                  <a:pt x="76" y="2972"/>
                  <a:pt x="76" y="2972"/>
                  <a:pt x="76" y="2972"/>
                </a:cubicBezTo>
                <a:cubicBezTo>
                  <a:pt x="77" y="2949"/>
                  <a:pt x="77" y="2949"/>
                  <a:pt x="77" y="2949"/>
                </a:cubicBezTo>
                <a:cubicBezTo>
                  <a:pt x="99" y="2947"/>
                  <a:pt x="99" y="2947"/>
                  <a:pt x="99" y="2947"/>
                </a:cubicBezTo>
                <a:cubicBezTo>
                  <a:pt x="113" y="2932"/>
                  <a:pt x="113" y="2932"/>
                  <a:pt x="113" y="2932"/>
                </a:cubicBezTo>
                <a:cubicBezTo>
                  <a:pt x="102" y="2917"/>
                  <a:pt x="102" y="2917"/>
                  <a:pt x="102" y="2917"/>
                </a:cubicBezTo>
                <a:cubicBezTo>
                  <a:pt x="106" y="2897"/>
                  <a:pt x="106" y="2897"/>
                  <a:pt x="106" y="2897"/>
                </a:cubicBezTo>
                <a:cubicBezTo>
                  <a:pt x="79" y="2890"/>
                  <a:pt x="79" y="2890"/>
                  <a:pt x="79" y="2890"/>
                </a:cubicBezTo>
                <a:cubicBezTo>
                  <a:pt x="72" y="2873"/>
                  <a:pt x="72" y="2873"/>
                  <a:pt x="72" y="2873"/>
                </a:cubicBezTo>
                <a:cubicBezTo>
                  <a:pt x="84" y="2862"/>
                  <a:pt x="84" y="2862"/>
                  <a:pt x="84" y="2862"/>
                </a:cubicBezTo>
                <a:cubicBezTo>
                  <a:pt x="81" y="2854"/>
                  <a:pt x="81" y="2854"/>
                  <a:pt x="81" y="2854"/>
                </a:cubicBezTo>
                <a:cubicBezTo>
                  <a:pt x="53" y="2858"/>
                  <a:pt x="53" y="2858"/>
                  <a:pt x="53" y="2858"/>
                </a:cubicBezTo>
                <a:cubicBezTo>
                  <a:pt x="42" y="2849"/>
                  <a:pt x="42" y="2849"/>
                  <a:pt x="42" y="2849"/>
                </a:cubicBezTo>
                <a:cubicBezTo>
                  <a:pt x="19" y="2862"/>
                  <a:pt x="19" y="2862"/>
                  <a:pt x="19" y="2862"/>
                </a:cubicBezTo>
                <a:cubicBezTo>
                  <a:pt x="13" y="2854"/>
                  <a:pt x="13" y="2854"/>
                  <a:pt x="13" y="2854"/>
                </a:cubicBezTo>
                <a:cubicBezTo>
                  <a:pt x="19" y="2843"/>
                  <a:pt x="19" y="2843"/>
                  <a:pt x="19" y="2843"/>
                </a:cubicBezTo>
                <a:cubicBezTo>
                  <a:pt x="9" y="2826"/>
                  <a:pt x="9" y="2826"/>
                  <a:pt x="9" y="2826"/>
                </a:cubicBezTo>
                <a:cubicBezTo>
                  <a:pt x="0" y="2808"/>
                  <a:pt x="0" y="2808"/>
                  <a:pt x="0" y="2808"/>
                </a:cubicBezTo>
                <a:cubicBezTo>
                  <a:pt x="23" y="2793"/>
                  <a:pt x="23" y="2793"/>
                  <a:pt x="23" y="2793"/>
                </a:cubicBezTo>
                <a:cubicBezTo>
                  <a:pt x="44" y="2813"/>
                  <a:pt x="44" y="2813"/>
                  <a:pt x="44" y="2813"/>
                </a:cubicBezTo>
                <a:cubicBezTo>
                  <a:pt x="54" y="2797"/>
                  <a:pt x="54" y="2797"/>
                  <a:pt x="54" y="2797"/>
                </a:cubicBezTo>
                <a:cubicBezTo>
                  <a:pt x="64" y="2777"/>
                  <a:pt x="64" y="2777"/>
                  <a:pt x="64" y="2777"/>
                </a:cubicBezTo>
                <a:cubicBezTo>
                  <a:pt x="82" y="2772"/>
                  <a:pt x="82" y="2772"/>
                  <a:pt x="82" y="2772"/>
                </a:cubicBezTo>
                <a:cubicBezTo>
                  <a:pt x="96" y="2760"/>
                  <a:pt x="96" y="2760"/>
                  <a:pt x="96" y="2760"/>
                </a:cubicBezTo>
                <a:cubicBezTo>
                  <a:pt x="120" y="2740"/>
                  <a:pt x="120" y="2740"/>
                  <a:pt x="120" y="2740"/>
                </a:cubicBezTo>
                <a:cubicBezTo>
                  <a:pt x="146" y="2727"/>
                  <a:pt x="146" y="2727"/>
                  <a:pt x="146" y="2727"/>
                </a:cubicBezTo>
                <a:cubicBezTo>
                  <a:pt x="138" y="2719"/>
                  <a:pt x="138" y="2719"/>
                  <a:pt x="138" y="2719"/>
                </a:cubicBezTo>
                <a:cubicBezTo>
                  <a:pt x="158" y="2705"/>
                  <a:pt x="158" y="2705"/>
                  <a:pt x="158" y="2705"/>
                </a:cubicBezTo>
                <a:cubicBezTo>
                  <a:pt x="147" y="2694"/>
                  <a:pt x="147" y="2694"/>
                  <a:pt x="147" y="2694"/>
                </a:cubicBezTo>
                <a:cubicBezTo>
                  <a:pt x="112" y="2719"/>
                  <a:pt x="112" y="2719"/>
                  <a:pt x="112" y="2719"/>
                </a:cubicBezTo>
                <a:cubicBezTo>
                  <a:pt x="104" y="2712"/>
                  <a:pt x="104" y="2712"/>
                  <a:pt x="104" y="2712"/>
                </a:cubicBezTo>
                <a:cubicBezTo>
                  <a:pt x="102" y="2687"/>
                  <a:pt x="102" y="2687"/>
                  <a:pt x="102" y="2687"/>
                </a:cubicBezTo>
                <a:cubicBezTo>
                  <a:pt x="107" y="2676"/>
                  <a:pt x="107" y="2676"/>
                  <a:pt x="107" y="2676"/>
                </a:cubicBezTo>
                <a:cubicBezTo>
                  <a:pt x="104" y="2664"/>
                  <a:pt x="104" y="2664"/>
                  <a:pt x="104" y="2664"/>
                </a:cubicBezTo>
                <a:cubicBezTo>
                  <a:pt x="128" y="2642"/>
                  <a:pt x="128" y="2642"/>
                  <a:pt x="128" y="2642"/>
                </a:cubicBezTo>
                <a:cubicBezTo>
                  <a:pt x="152" y="2597"/>
                  <a:pt x="152" y="2597"/>
                  <a:pt x="152" y="2597"/>
                </a:cubicBezTo>
                <a:cubicBezTo>
                  <a:pt x="164" y="2594"/>
                  <a:pt x="164" y="2594"/>
                  <a:pt x="164" y="2594"/>
                </a:cubicBezTo>
                <a:cubicBezTo>
                  <a:pt x="179" y="2574"/>
                  <a:pt x="179" y="2574"/>
                  <a:pt x="179" y="2574"/>
                </a:cubicBezTo>
                <a:cubicBezTo>
                  <a:pt x="173" y="2559"/>
                  <a:pt x="173" y="2559"/>
                  <a:pt x="173" y="2559"/>
                </a:cubicBezTo>
                <a:cubicBezTo>
                  <a:pt x="179" y="2548"/>
                  <a:pt x="179" y="2548"/>
                  <a:pt x="179" y="2548"/>
                </a:cubicBezTo>
                <a:cubicBezTo>
                  <a:pt x="167" y="2545"/>
                  <a:pt x="167" y="2545"/>
                  <a:pt x="167" y="2545"/>
                </a:cubicBezTo>
                <a:cubicBezTo>
                  <a:pt x="176" y="2508"/>
                  <a:pt x="176" y="2508"/>
                  <a:pt x="176" y="2508"/>
                </a:cubicBezTo>
                <a:cubicBezTo>
                  <a:pt x="172" y="2472"/>
                  <a:pt x="172" y="2472"/>
                  <a:pt x="172" y="2472"/>
                </a:cubicBezTo>
                <a:cubicBezTo>
                  <a:pt x="147" y="2441"/>
                  <a:pt x="147" y="2441"/>
                  <a:pt x="147" y="2441"/>
                </a:cubicBezTo>
                <a:cubicBezTo>
                  <a:pt x="112" y="2397"/>
                  <a:pt x="112" y="2397"/>
                  <a:pt x="112" y="2397"/>
                </a:cubicBezTo>
                <a:cubicBezTo>
                  <a:pt x="124" y="2366"/>
                  <a:pt x="124" y="2366"/>
                  <a:pt x="124" y="2366"/>
                </a:cubicBezTo>
                <a:cubicBezTo>
                  <a:pt x="81" y="2354"/>
                  <a:pt x="81" y="2354"/>
                  <a:pt x="81" y="2354"/>
                </a:cubicBezTo>
                <a:cubicBezTo>
                  <a:pt x="80" y="2333"/>
                  <a:pt x="80" y="2333"/>
                  <a:pt x="80" y="2333"/>
                </a:cubicBezTo>
                <a:cubicBezTo>
                  <a:pt x="85" y="2327"/>
                  <a:pt x="85" y="2327"/>
                  <a:pt x="85" y="2327"/>
                </a:cubicBezTo>
                <a:cubicBezTo>
                  <a:pt x="87" y="2320"/>
                  <a:pt x="87" y="2320"/>
                  <a:pt x="87" y="2320"/>
                </a:cubicBezTo>
                <a:cubicBezTo>
                  <a:pt x="66" y="2310"/>
                  <a:pt x="66" y="2310"/>
                  <a:pt x="66" y="2310"/>
                </a:cubicBezTo>
                <a:cubicBezTo>
                  <a:pt x="48" y="2310"/>
                  <a:pt x="48" y="2310"/>
                  <a:pt x="48" y="2310"/>
                </a:cubicBezTo>
                <a:cubicBezTo>
                  <a:pt x="44" y="2302"/>
                  <a:pt x="44" y="2302"/>
                  <a:pt x="44" y="2302"/>
                </a:cubicBezTo>
                <a:cubicBezTo>
                  <a:pt x="60" y="2278"/>
                  <a:pt x="60" y="2278"/>
                  <a:pt x="60" y="2278"/>
                </a:cubicBezTo>
                <a:cubicBezTo>
                  <a:pt x="37" y="2246"/>
                  <a:pt x="37" y="2246"/>
                  <a:pt x="37" y="2246"/>
                </a:cubicBezTo>
                <a:cubicBezTo>
                  <a:pt x="37" y="2238"/>
                  <a:pt x="37" y="2238"/>
                  <a:pt x="37" y="2238"/>
                </a:cubicBezTo>
                <a:cubicBezTo>
                  <a:pt x="68" y="2244"/>
                  <a:pt x="68" y="2244"/>
                  <a:pt x="68" y="2244"/>
                </a:cubicBezTo>
                <a:cubicBezTo>
                  <a:pt x="97" y="2216"/>
                  <a:pt x="97" y="2216"/>
                  <a:pt x="97" y="2216"/>
                </a:cubicBezTo>
                <a:cubicBezTo>
                  <a:pt x="113" y="2228"/>
                  <a:pt x="113" y="2228"/>
                  <a:pt x="113" y="2228"/>
                </a:cubicBezTo>
                <a:cubicBezTo>
                  <a:pt x="147" y="2230"/>
                  <a:pt x="147" y="2230"/>
                  <a:pt x="147" y="2230"/>
                </a:cubicBezTo>
                <a:cubicBezTo>
                  <a:pt x="135" y="2206"/>
                  <a:pt x="135" y="2206"/>
                  <a:pt x="135" y="2206"/>
                </a:cubicBezTo>
                <a:cubicBezTo>
                  <a:pt x="117" y="2199"/>
                  <a:pt x="117" y="2199"/>
                  <a:pt x="117" y="2199"/>
                </a:cubicBezTo>
                <a:cubicBezTo>
                  <a:pt x="122" y="2189"/>
                  <a:pt x="122" y="2189"/>
                  <a:pt x="122" y="2189"/>
                </a:cubicBezTo>
                <a:cubicBezTo>
                  <a:pt x="150" y="2190"/>
                  <a:pt x="150" y="2190"/>
                  <a:pt x="150" y="2190"/>
                </a:cubicBezTo>
                <a:cubicBezTo>
                  <a:pt x="169" y="2213"/>
                  <a:pt x="169" y="2213"/>
                  <a:pt x="169" y="2213"/>
                </a:cubicBezTo>
                <a:cubicBezTo>
                  <a:pt x="189" y="2216"/>
                  <a:pt x="189" y="2216"/>
                  <a:pt x="189" y="2216"/>
                </a:cubicBezTo>
                <a:cubicBezTo>
                  <a:pt x="205" y="2207"/>
                  <a:pt x="205" y="2207"/>
                  <a:pt x="205" y="2207"/>
                </a:cubicBezTo>
                <a:cubicBezTo>
                  <a:pt x="218" y="2228"/>
                  <a:pt x="218" y="2228"/>
                  <a:pt x="218" y="2228"/>
                </a:cubicBezTo>
                <a:cubicBezTo>
                  <a:pt x="232" y="2224"/>
                  <a:pt x="232" y="2224"/>
                  <a:pt x="232" y="2224"/>
                </a:cubicBezTo>
                <a:cubicBezTo>
                  <a:pt x="244" y="2237"/>
                  <a:pt x="244" y="2237"/>
                  <a:pt x="244" y="2237"/>
                </a:cubicBezTo>
                <a:cubicBezTo>
                  <a:pt x="262" y="2244"/>
                  <a:pt x="262" y="2244"/>
                  <a:pt x="262" y="2244"/>
                </a:cubicBezTo>
                <a:cubicBezTo>
                  <a:pt x="263" y="2228"/>
                  <a:pt x="263" y="2228"/>
                  <a:pt x="263" y="2228"/>
                </a:cubicBezTo>
                <a:cubicBezTo>
                  <a:pt x="253" y="2215"/>
                  <a:pt x="253" y="2215"/>
                  <a:pt x="253" y="2215"/>
                </a:cubicBezTo>
                <a:cubicBezTo>
                  <a:pt x="260" y="2207"/>
                  <a:pt x="260" y="2207"/>
                  <a:pt x="260" y="2207"/>
                </a:cubicBezTo>
                <a:cubicBezTo>
                  <a:pt x="276" y="2219"/>
                  <a:pt x="276" y="2219"/>
                  <a:pt x="276" y="2219"/>
                </a:cubicBezTo>
                <a:cubicBezTo>
                  <a:pt x="284" y="2214"/>
                  <a:pt x="284" y="2214"/>
                  <a:pt x="284" y="2214"/>
                </a:cubicBezTo>
                <a:cubicBezTo>
                  <a:pt x="297" y="2224"/>
                  <a:pt x="297" y="2224"/>
                  <a:pt x="297" y="2224"/>
                </a:cubicBezTo>
                <a:cubicBezTo>
                  <a:pt x="327" y="2204"/>
                  <a:pt x="327" y="2204"/>
                  <a:pt x="327" y="2204"/>
                </a:cubicBezTo>
                <a:cubicBezTo>
                  <a:pt x="393" y="2179"/>
                  <a:pt x="393" y="2179"/>
                  <a:pt x="393" y="2179"/>
                </a:cubicBezTo>
                <a:cubicBezTo>
                  <a:pt x="415" y="2193"/>
                  <a:pt x="415" y="2193"/>
                  <a:pt x="415" y="2193"/>
                </a:cubicBezTo>
                <a:cubicBezTo>
                  <a:pt x="445" y="2171"/>
                  <a:pt x="445" y="2171"/>
                  <a:pt x="445" y="2171"/>
                </a:cubicBezTo>
                <a:cubicBezTo>
                  <a:pt x="451" y="2150"/>
                  <a:pt x="451" y="2150"/>
                  <a:pt x="451" y="2150"/>
                </a:cubicBezTo>
                <a:cubicBezTo>
                  <a:pt x="468" y="2142"/>
                  <a:pt x="468" y="2142"/>
                  <a:pt x="468" y="2142"/>
                </a:cubicBezTo>
                <a:cubicBezTo>
                  <a:pt x="469" y="2128"/>
                  <a:pt x="469" y="2128"/>
                  <a:pt x="469" y="2128"/>
                </a:cubicBezTo>
                <a:cubicBezTo>
                  <a:pt x="436" y="2099"/>
                  <a:pt x="436" y="2099"/>
                  <a:pt x="436" y="2099"/>
                </a:cubicBezTo>
                <a:cubicBezTo>
                  <a:pt x="410" y="2088"/>
                  <a:pt x="410" y="2088"/>
                  <a:pt x="410" y="2088"/>
                </a:cubicBezTo>
                <a:cubicBezTo>
                  <a:pt x="400" y="2080"/>
                  <a:pt x="400" y="2080"/>
                  <a:pt x="400" y="2080"/>
                </a:cubicBezTo>
                <a:cubicBezTo>
                  <a:pt x="407" y="2063"/>
                  <a:pt x="407" y="2063"/>
                  <a:pt x="407" y="2063"/>
                </a:cubicBezTo>
                <a:cubicBezTo>
                  <a:pt x="425" y="2059"/>
                  <a:pt x="425" y="2059"/>
                  <a:pt x="425" y="2059"/>
                </a:cubicBezTo>
                <a:cubicBezTo>
                  <a:pt x="434" y="2031"/>
                  <a:pt x="434" y="2031"/>
                  <a:pt x="434" y="2031"/>
                </a:cubicBezTo>
                <a:cubicBezTo>
                  <a:pt x="479" y="2028"/>
                  <a:pt x="479" y="2028"/>
                  <a:pt x="479" y="2028"/>
                </a:cubicBezTo>
                <a:cubicBezTo>
                  <a:pt x="492" y="2009"/>
                  <a:pt x="492" y="2009"/>
                  <a:pt x="492" y="2009"/>
                </a:cubicBezTo>
                <a:cubicBezTo>
                  <a:pt x="509" y="1988"/>
                  <a:pt x="509" y="1988"/>
                  <a:pt x="509" y="1988"/>
                </a:cubicBezTo>
                <a:cubicBezTo>
                  <a:pt x="522" y="1992"/>
                  <a:pt x="522" y="1992"/>
                  <a:pt x="522" y="1992"/>
                </a:cubicBezTo>
                <a:cubicBezTo>
                  <a:pt x="544" y="1955"/>
                  <a:pt x="544" y="1955"/>
                  <a:pt x="544" y="1955"/>
                </a:cubicBezTo>
                <a:cubicBezTo>
                  <a:pt x="571" y="1955"/>
                  <a:pt x="571" y="1955"/>
                  <a:pt x="571" y="1955"/>
                </a:cubicBezTo>
                <a:cubicBezTo>
                  <a:pt x="579" y="1943"/>
                  <a:pt x="579" y="1943"/>
                  <a:pt x="579" y="1943"/>
                </a:cubicBezTo>
                <a:cubicBezTo>
                  <a:pt x="565" y="1922"/>
                  <a:pt x="565" y="1922"/>
                  <a:pt x="565" y="1922"/>
                </a:cubicBezTo>
                <a:cubicBezTo>
                  <a:pt x="567" y="1895"/>
                  <a:pt x="567" y="1895"/>
                  <a:pt x="567" y="1895"/>
                </a:cubicBezTo>
                <a:cubicBezTo>
                  <a:pt x="587" y="1858"/>
                  <a:pt x="587" y="1858"/>
                  <a:pt x="587" y="1858"/>
                </a:cubicBezTo>
                <a:cubicBezTo>
                  <a:pt x="584" y="1827"/>
                  <a:pt x="584" y="1827"/>
                  <a:pt x="584" y="1827"/>
                </a:cubicBezTo>
                <a:cubicBezTo>
                  <a:pt x="571" y="1824"/>
                  <a:pt x="571" y="1824"/>
                  <a:pt x="571" y="1824"/>
                </a:cubicBezTo>
                <a:cubicBezTo>
                  <a:pt x="555" y="1801"/>
                  <a:pt x="555" y="1801"/>
                  <a:pt x="555" y="1801"/>
                </a:cubicBezTo>
                <a:cubicBezTo>
                  <a:pt x="556" y="1789"/>
                  <a:pt x="556" y="1789"/>
                  <a:pt x="556" y="1789"/>
                </a:cubicBezTo>
                <a:cubicBezTo>
                  <a:pt x="542" y="1776"/>
                  <a:pt x="542" y="1776"/>
                  <a:pt x="542" y="1776"/>
                </a:cubicBezTo>
                <a:cubicBezTo>
                  <a:pt x="522" y="1801"/>
                  <a:pt x="522" y="1801"/>
                  <a:pt x="522" y="1801"/>
                </a:cubicBezTo>
                <a:cubicBezTo>
                  <a:pt x="481" y="1788"/>
                  <a:pt x="481" y="1788"/>
                  <a:pt x="481" y="1788"/>
                </a:cubicBezTo>
                <a:cubicBezTo>
                  <a:pt x="433" y="1786"/>
                  <a:pt x="433" y="1786"/>
                  <a:pt x="433" y="1786"/>
                </a:cubicBezTo>
                <a:cubicBezTo>
                  <a:pt x="406" y="1765"/>
                  <a:pt x="406" y="1765"/>
                  <a:pt x="406" y="1765"/>
                </a:cubicBezTo>
                <a:cubicBezTo>
                  <a:pt x="407" y="1735"/>
                  <a:pt x="407" y="1735"/>
                  <a:pt x="407" y="1735"/>
                </a:cubicBezTo>
                <a:cubicBezTo>
                  <a:pt x="396" y="1719"/>
                  <a:pt x="396" y="1719"/>
                  <a:pt x="396" y="1719"/>
                </a:cubicBezTo>
                <a:cubicBezTo>
                  <a:pt x="414" y="1724"/>
                  <a:pt x="414" y="1724"/>
                  <a:pt x="414" y="1724"/>
                </a:cubicBezTo>
                <a:cubicBezTo>
                  <a:pt x="416" y="1713"/>
                  <a:pt x="416" y="1713"/>
                  <a:pt x="416" y="1713"/>
                </a:cubicBezTo>
                <a:cubicBezTo>
                  <a:pt x="436" y="1711"/>
                  <a:pt x="436" y="1711"/>
                  <a:pt x="436" y="1711"/>
                </a:cubicBezTo>
                <a:cubicBezTo>
                  <a:pt x="417" y="1692"/>
                  <a:pt x="417" y="1692"/>
                  <a:pt x="417" y="1692"/>
                </a:cubicBezTo>
                <a:cubicBezTo>
                  <a:pt x="413" y="1668"/>
                  <a:pt x="413" y="1668"/>
                  <a:pt x="413" y="1668"/>
                </a:cubicBezTo>
                <a:cubicBezTo>
                  <a:pt x="414" y="1656"/>
                  <a:pt x="414" y="1656"/>
                  <a:pt x="414" y="1656"/>
                </a:cubicBezTo>
                <a:cubicBezTo>
                  <a:pt x="445" y="1646"/>
                  <a:pt x="445" y="1646"/>
                  <a:pt x="445" y="1646"/>
                </a:cubicBezTo>
                <a:cubicBezTo>
                  <a:pt x="462" y="1652"/>
                  <a:pt x="462" y="1652"/>
                  <a:pt x="462" y="1652"/>
                </a:cubicBezTo>
                <a:cubicBezTo>
                  <a:pt x="471" y="1646"/>
                  <a:pt x="471" y="1646"/>
                  <a:pt x="471" y="1646"/>
                </a:cubicBezTo>
                <a:cubicBezTo>
                  <a:pt x="480" y="1650"/>
                  <a:pt x="480" y="1650"/>
                  <a:pt x="480" y="1650"/>
                </a:cubicBezTo>
                <a:cubicBezTo>
                  <a:pt x="496" y="1646"/>
                  <a:pt x="496" y="1646"/>
                  <a:pt x="496" y="1646"/>
                </a:cubicBezTo>
                <a:cubicBezTo>
                  <a:pt x="522" y="1661"/>
                  <a:pt x="522" y="1661"/>
                  <a:pt x="522" y="1661"/>
                </a:cubicBezTo>
                <a:cubicBezTo>
                  <a:pt x="545" y="1653"/>
                  <a:pt x="545" y="1653"/>
                  <a:pt x="545" y="1653"/>
                </a:cubicBezTo>
                <a:cubicBezTo>
                  <a:pt x="563" y="1661"/>
                  <a:pt x="563" y="1661"/>
                  <a:pt x="563" y="1661"/>
                </a:cubicBezTo>
                <a:cubicBezTo>
                  <a:pt x="576" y="1650"/>
                  <a:pt x="576" y="1650"/>
                  <a:pt x="576" y="1650"/>
                </a:cubicBezTo>
                <a:cubicBezTo>
                  <a:pt x="588" y="1528"/>
                  <a:pt x="588" y="1528"/>
                  <a:pt x="588" y="1528"/>
                </a:cubicBezTo>
                <a:cubicBezTo>
                  <a:pt x="589" y="1513"/>
                  <a:pt x="589" y="1513"/>
                  <a:pt x="589" y="1513"/>
                </a:cubicBezTo>
                <a:cubicBezTo>
                  <a:pt x="589" y="1497"/>
                  <a:pt x="589" y="1497"/>
                  <a:pt x="589" y="1497"/>
                </a:cubicBezTo>
                <a:cubicBezTo>
                  <a:pt x="635" y="1436"/>
                  <a:pt x="635" y="1436"/>
                  <a:pt x="635" y="1436"/>
                </a:cubicBezTo>
                <a:cubicBezTo>
                  <a:pt x="654" y="1395"/>
                  <a:pt x="654" y="1395"/>
                  <a:pt x="654" y="1395"/>
                </a:cubicBezTo>
                <a:cubicBezTo>
                  <a:pt x="649" y="1314"/>
                  <a:pt x="649" y="1314"/>
                  <a:pt x="649" y="1314"/>
                </a:cubicBezTo>
                <a:cubicBezTo>
                  <a:pt x="638" y="1301"/>
                  <a:pt x="638" y="1301"/>
                  <a:pt x="638" y="1301"/>
                </a:cubicBezTo>
                <a:cubicBezTo>
                  <a:pt x="642" y="1277"/>
                  <a:pt x="642" y="1277"/>
                  <a:pt x="642" y="1277"/>
                </a:cubicBezTo>
                <a:cubicBezTo>
                  <a:pt x="656" y="1259"/>
                  <a:pt x="656" y="1259"/>
                  <a:pt x="656" y="1259"/>
                </a:cubicBezTo>
                <a:cubicBezTo>
                  <a:pt x="650" y="1222"/>
                  <a:pt x="650" y="1222"/>
                  <a:pt x="650" y="1222"/>
                </a:cubicBezTo>
                <a:cubicBezTo>
                  <a:pt x="651" y="1222"/>
                  <a:pt x="651" y="1222"/>
                  <a:pt x="651" y="1222"/>
                </a:cubicBezTo>
                <a:cubicBezTo>
                  <a:pt x="660" y="1219"/>
                  <a:pt x="662" y="1206"/>
                  <a:pt x="663" y="1204"/>
                </a:cubicBezTo>
                <a:cubicBezTo>
                  <a:pt x="665" y="1192"/>
                  <a:pt x="660" y="1190"/>
                  <a:pt x="663" y="1181"/>
                </a:cubicBezTo>
                <a:cubicBezTo>
                  <a:pt x="666" y="1170"/>
                  <a:pt x="676" y="1168"/>
                  <a:pt x="675" y="1161"/>
                </a:cubicBezTo>
                <a:cubicBezTo>
                  <a:pt x="674" y="1157"/>
                  <a:pt x="670" y="1153"/>
                  <a:pt x="666" y="1152"/>
                </a:cubicBezTo>
                <a:cubicBezTo>
                  <a:pt x="659" y="1149"/>
                  <a:pt x="652" y="1154"/>
                  <a:pt x="649" y="1151"/>
                </a:cubicBezTo>
                <a:cubicBezTo>
                  <a:pt x="649" y="1149"/>
                  <a:pt x="649" y="1149"/>
                  <a:pt x="649" y="1143"/>
                </a:cubicBezTo>
                <a:cubicBezTo>
                  <a:pt x="649" y="1139"/>
                  <a:pt x="649" y="1133"/>
                  <a:pt x="647" y="1133"/>
                </a:cubicBezTo>
                <a:cubicBezTo>
                  <a:pt x="645" y="1132"/>
                  <a:pt x="643" y="1139"/>
                  <a:pt x="636" y="1144"/>
                </a:cubicBezTo>
                <a:cubicBezTo>
                  <a:pt x="630" y="1148"/>
                  <a:pt x="625" y="1149"/>
                  <a:pt x="623" y="1149"/>
                </a:cubicBezTo>
                <a:cubicBezTo>
                  <a:pt x="616" y="1151"/>
                  <a:pt x="615" y="1149"/>
                  <a:pt x="606" y="1148"/>
                </a:cubicBezTo>
                <a:cubicBezTo>
                  <a:pt x="593" y="1148"/>
                  <a:pt x="588" y="1153"/>
                  <a:pt x="582" y="1150"/>
                </a:cubicBezTo>
                <a:cubicBezTo>
                  <a:pt x="579" y="1148"/>
                  <a:pt x="578" y="1145"/>
                  <a:pt x="575" y="1145"/>
                </a:cubicBezTo>
                <a:cubicBezTo>
                  <a:pt x="571" y="1145"/>
                  <a:pt x="570" y="1148"/>
                  <a:pt x="566" y="1149"/>
                </a:cubicBezTo>
                <a:cubicBezTo>
                  <a:pt x="561" y="1149"/>
                  <a:pt x="556" y="1145"/>
                  <a:pt x="554" y="1143"/>
                </a:cubicBezTo>
                <a:cubicBezTo>
                  <a:pt x="552" y="1141"/>
                  <a:pt x="548" y="1137"/>
                  <a:pt x="549" y="1132"/>
                </a:cubicBezTo>
                <a:cubicBezTo>
                  <a:pt x="549" y="1127"/>
                  <a:pt x="554" y="1126"/>
                  <a:pt x="556" y="1119"/>
                </a:cubicBezTo>
                <a:cubicBezTo>
                  <a:pt x="558" y="1114"/>
                  <a:pt x="555" y="1110"/>
                  <a:pt x="554" y="1104"/>
                </a:cubicBezTo>
                <a:cubicBezTo>
                  <a:pt x="551" y="1096"/>
                  <a:pt x="554" y="1093"/>
                  <a:pt x="560" y="1066"/>
                </a:cubicBezTo>
                <a:cubicBezTo>
                  <a:pt x="564" y="1047"/>
                  <a:pt x="564" y="1042"/>
                  <a:pt x="569" y="1033"/>
                </a:cubicBezTo>
                <a:cubicBezTo>
                  <a:pt x="571" y="1029"/>
                  <a:pt x="577" y="1015"/>
                  <a:pt x="584" y="1016"/>
                </a:cubicBezTo>
                <a:cubicBezTo>
                  <a:pt x="590" y="1017"/>
                  <a:pt x="591" y="1029"/>
                  <a:pt x="598" y="1029"/>
                </a:cubicBezTo>
                <a:cubicBezTo>
                  <a:pt x="602" y="1030"/>
                  <a:pt x="606" y="1026"/>
                  <a:pt x="607" y="1023"/>
                </a:cubicBezTo>
                <a:cubicBezTo>
                  <a:pt x="607" y="1018"/>
                  <a:pt x="600" y="1015"/>
                  <a:pt x="601" y="1013"/>
                </a:cubicBezTo>
                <a:cubicBezTo>
                  <a:pt x="601" y="1011"/>
                  <a:pt x="605" y="1012"/>
                  <a:pt x="610" y="1012"/>
                </a:cubicBezTo>
                <a:cubicBezTo>
                  <a:pt x="622" y="1011"/>
                  <a:pt x="631" y="999"/>
                  <a:pt x="630" y="997"/>
                </a:cubicBezTo>
                <a:cubicBezTo>
                  <a:pt x="629" y="995"/>
                  <a:pt x="620" y="1001"/>
                  <a:pt x="613" y="997"/>
                </a:cubicBezTo>
                <a:cubicBezTo>
                  <a:pt x="610" y="994"/>
                  <a:pt x="611" y="991"/>
                  <a:pt x="607" y="987"/>
                </a:cubicBezTo>
                <a:cubicBezTo>
                  <a:pt x="602" y="983"/>
                  <a:pt x="597" y="985"/>
                  <a:pt x="594" y="982"/>
                </a:cubicBezTo>
                <a:cubicBezTo>
                  <a:pt x="592" y="978"/>
                  <a:pt x="592" y="972"/>
                  <a:pt x="594" y="968"/>
                </a:cubicBezTo>
                <a:cubicBezTo>
                  <a:pt x="598" y="962"/>
                  <a:pt x="604" y="962"/>
                  <a:pt x="610" y="959"/>
                </a:cubicBezTo>
                <a:cubicBezTo>
                  <a:pt x="622" y="953"/>
                  <a:pt x="623" y="945"/>
                  <a:pt x="634" y="933"/>
                </a:cubicBezTo>
                <a:cubicBezTo>
                  <a:pt x="646" y="920"/>
                  <a:pt x="658" y="915"/>
                  <a:pt x="668" y="909"/>
                </a:cubicBezTo>
                <a:cubicBezTo>
                  <a:pt x="679" y="904"/>
                  <a:pt x="693" y="897"/>
                  <a:pt x="712" y="897"/>
                </a:cubicBezTo>
                <a:cubicBezTo>
                  <a:pt x="725" y="897"/>
                  <a:pt x="723" y="900"/>
                  <a:pt x="737" y="900"/>
                </a:cubicBezTo>
                <a:cubicBezTo>
                  <a:pt x="759" y="900"/>
                  <a:pt x="767" y="892"/>
                  <a:pt x="779" y="898"/>
                </a:cubicBezTo>
                <a:cubicBezTo>
                  <a:pt x="787" y="902"/>
                  <a:pt x="787" y="906"/>
                  <a:pt x="795" y="908"/>
                </a:cubicBezTo>
                <a:cubicBezTo>
                  <a:pt x="803" y="910"/>
                  <a:pt x="808" y="908"/>
                  <a:pt x="820" y="903"/>
                </a:cubicBezTo>
                <a:cubicBezTo>
                  <a:pt x="840" y="896"/>
                  <a:pt x="850" y="892"/>
                  <a:pt x="863" y="890"/>
                </a:cubicBezTo>
                <a:cubicBezTo>
                  <a:pt x="874" y="888"/>
                  <a:pt x="882" y="886"/>
                  <a:pt x="893" y="887"/>
                </a:cubicBezTo>
                <a:cubicBezTo>
                  <a:pt x="897" y="888"/>
                  <a:pt x="901" y="889"/>
                  <a:pt x="907" y="888"/>
                </a:cubicBezTo>
                <a:cubicBezTo>
                  <a:pt x="916" y="887"/>
                  <a:pt x="923" y="884"/>
                  <a:pt x="926" y="883"/>
                </a:cubicBezTo>
                <a:cubicBezTo>
                  <a:pt x="933" y="879"/>
                  <a:pt x="944" y="878"/>
                  <a:pt x="965" y="876"/>
                </a:cubicBezTo>
                <a:cubicBezTo>
                  <a:pt x="1004" y="872"/>
                  <a:pt x="1022" y="875"/>
                  <a:pt x="1027" y="876"/>
                </a:cubicBezTo>
                <a:cubicBezTo>
                  <a:pt x="1029" y="876"/>
                  <a:pt x="1048" y="880"/>
                  <a:pt x="1048" y="885"/>
                </a:cubicBezTo>
                <a:cubicBezTo>
                  <a:pt x="1048" y="888"/>
                  <a:pt x="1044" y="888"/>
                  <a:pt x="1042" y="892"/>
                </a:cubicBezTo>
                <a:cubicBezTo>
                  <a:pt x="1039" y="898"/>
                  <a:pt x="1042" y="904"/>
                  <a:pt x="1048" y="915"/>
                </a:cubicBezTo>
                <a:cubicBezTo>
                  <a:pt x="1051" y="923"/>
                  <a:pt x="1053" y="926"/>
                  <a:pt x="1056" y="927"/>
                </a:cubicBezTo>
                <a:cubicBezTo>
                  <a:pt x="1061" y="928"/>
                  <a:pt x="1064" y="922"/>
                  <a:pt x="1069" y="922"/>
                </a:cubicBezTo>
                <a:cubicBezTo>
                  <a:pt x="1074" y="923"/>
                  <a:pt x="1076" y="929"/>
                  <a:pt x="1079" y="936"/>
                </a:cubicBezTo>
                <a:cubicBezTo>
                  <a:pt x="1079" y="936"/>
                  <a:pt x="1084" y="948"/>
                  <a:pt x="1094" y="965"/>
                </a:cubicBezTo>
                <a:cubicBezTo>
                  <a:pt x="1104" y="982"/>
                  <a:pt x="1109" y="983"/>
                  <a:pt x="1110" y="991"/>
                </a:cubicBezTo>
                <a:cubicBezTo>
                  <a:pt x="1110" y="1002"/>
                  <a:pt x="1103" y="1013"/>
                  <a:pt x="1098" y="1013"/>
                </a:cubicBezTo>
                <a:cubicBezTo>
                  <a:pt x="1095" y="1013"/>
                  <a:pt x="1094" y="1010"/>
                  <a:pt x="1091" y="1011"/>
                </a:cubicBezTo>
                <a:cubicBezTo>
                  <a:pt x="1088" y="1012"/>
                  <a:pt x="1085" y="1016"/>
                  <a:pt x="1086" y="1019"/>
                </a:cubicBezTo>
                <a:cubicBezTo>
                  <a:pt x="1087" y="1022"/>
                  <a:pt x="1091" y="1022"/>
                  <a:pt x="1091" y="1024"/>
                </a:cubicBezTo>
                <a:cubicBezTo>
                  <a:pt x="1091" y="1026"/>
                  <a:pt x="1084" y="1029"/>
                  <a:pt x="1076" y="1029"/>
                </a:cubicBezTo>
                <a:cubicBezTo>
                  <a:pt x="1068" y="1028"/>
                  <a:pt x="1065" y="1023"/>
                  <a:pt x="1062" y="1025"/>
                </a:cubicBezTo>
                <a:cubicBezTo>
                  <a:pt x="1058" y="1027"/>
                  <a:pt x="1061" y="1039"/>
                  <a:pt x="1062" y="1042"/>
                </a:cubicBezTo>
                <a:cubicBezTo>
                  <a:pt x="1063" y="1045"/>
                  <a:pt x="1069" y="1071"/>
                  <a:pt x="1079" y="1071"/>
                </a:cubicBezTo>
                <a:cubicBezTo>
                  <a:pt x="1085" y="1071"/>
                  <a:pt x="1087" y="1063"/>
                  <a:pt x="1094" y="1063"/>
                </a:cubicBezTo>
                <a:cubicBezTo>
                  <a:pt x="1096" y="1063"/>
                  <a:pt x="1100" y="1064"/>
                  <a:pt x="1110" y="1076"/>
                </a:cubicBezTo>
                <a:cubicBezTo>
                  <a:pt x="1122" y="1089"/>
                  <a:pt x="1121" y="1092"/>
                  <a:pt x="1128" y="1098"/>
                </a:cubicBezTo>
                <a:cubicBezTo>
                  <a:pt x="1131" y="1101"/>
                  <a:pt x="1140" y="1108"/>
                  <a:pt x="1152" y="1106"/>
                </a:cubicBezTo>
                <a:cubicBezTo>
                  <a:pt x="1163" y="1104"/>
                  <a:pt x="1173" y="1093"/>
                  <a:pt x="1174" y="1083"/>
                </a:cubicBezTo>
                <a:cubicBezTo>
                  <a:pt x="1174" y="1079"/>
                  <a:pt x="1173" y="1075"/>
                  <a:pt x="1176" y="1070"/>
                </a:cubicBezTo>
                <a:cubicBezTo>
                  <a:pt x="1178" y="1066"/>
                  <a:pt x="1181" y="1066"/>
                  <a:pt x="1184" y="1063"/>
                </a:cubicBezTo>
                <a:cubicBezTo>
                  <a:pt x="1190" y="1056"/>
                  <a:pt x="1189" y="1044"/>
                  <a:pt x="1186" y="1028"/>
                </a:cubicBezTo>
                <a:cubicBezTo>
                  <a:pt x="1185" y="1016"/>
                  <a:pt x="1182" y="1014"/>
                  <a:pt x="1181" y="1014"/>
                </a:cubicBezTo>
                <a:cubicBezTo>
                  <a:pt x="1177" y="1011"/>
                  <a:pt x="1173" y="1016"/>
                  <a:pt x="1162" y="1016"/>
                </a:cubicBezTo>
                <a:cubicBezTo>
                  <a:pt x="1157" y="1016"/>
                  <a:pt x="1146" y="1017"/>
                  <a:pt x="1142" y="1011"/>
                </a:cubicBezTo>
                <a:cubicBezTo>
                  <a:pt x="1140" y="1008"/>
                  <a:pt x="1140" y="1005"/>
                  <a:pt x="1143" y="992"/>
                </a:cubicBezTo>
                <a:cubicBezTo>
                  <a:pt x="1148" y="973"/>
                  <a:pt x="1150" y="964"/>
                  <a:pt x="1154" y="960"/>
                </a:cubicBezTo>
                <a:cubicBezTo>
                  <a:pt x="1155" y="958"/>
                  <a:pt x="1165" y="946"/>
                  <a:pt x="1180" y="947"/>
                </a:cubicBezTo>
                <a:cubicBezTo>
                  <a:pt x="1191" y="947"/>
                  <a:pt x="1199" y="954"/>
                  <a:pt x="1212" y="964"/>
                </a:cubicBezTo>
                <a:cubicBezTo>
                  <a:pt x="1221" y="972"/>
                  <a:pt x="1222" y="975"/>
                  <a:pt x="1230" y="980"/>
                </a:cubicBezTo>
                <a:cubicBezTo>
                  <a:pt x="1234" y="983"/>
                  <a:pt x="1241" y="987"/>
                  <a:pt x="1251" y="989"/>
                </a:cubicBezTo>
                <a:cubicBezTo>
                  <a:pt x="1264" y="993"/>
                  <a:pt x="1268" y="989"/>
                  <a:pt x="1282" y="994"/>
                </a:cubicBezTo>
                <a:cubicBezTo>
                  <a:pt x="1288" y="996"/>
                  <a:pt x="1292" y="998"/>
                  <a:pt x="1294" y="1002"/>
                </a:cubicBezTo>
                <a:cubicBezTo>
                  <a:pt x="1295" y="1003"/>
                  <a:pt x="1297" y="1007"/>
                  <a:pt x="1295" y="1011"/>
                </a:cubicBezTo>
                <a:cubicBezTo>
                  <a:pt x="1294" y="1016"/>
                  <a:pt x="1287" y="1016"/>
                  <a:pt x="1281" y="1019"/>
                </a:cubicBezTo>
                <a:cubicBezTo>
                  <a:pt x="1271" y="1025"/>
                  <a:pt x="1267" y="1038"/>
                  <a:pt x="1265" y="1045"/>
                </a:cubicBezTo>
                <a:cubicBezTo>
                  <a:pt x="1263" y="1051"/>
                  <a:pt x="1263" y="1057"/>
                  <a:pt x="1264" y="1071"/>
                </a:cubicBezTo>
                <a:cubicBezTo>
                  <a:pt x="1265" y="1109"/>
                  <a:pt x="1271" y="1115"/>
                  <a:pt x="1267" y="1126"/>
                </a:cubicBezTo>
                <a:cubicBezTo>
                  <a:pt x="1267" y="1128"/>
                  <a:pt x="1265" y="1132"/>
                  <a:pt x="1267" y="1134"/>
                </a:cubicBezTo>
                <a:cubicBezTo>
                  <a:pt x="1269" y="1136"/>
                  <a:pt x="1275" y="1136"/>
                  <a:pt x="1278" y="1133"/>
                </a:cubicBezTo>
                <a:cubicBezTo>
                  <a:pt x="1281" y="1130"/>
                  <a:pt x="1280" y="1125"/>
                  <a:pt x="1279" y="1119"/>
                </a:cubicBezTo>
                <a:cubicBezTo>
                  <a:pt x="1277" y="1100"/>
                  <a:pt x="1281" y="1103"/>
                  <a:pt x="1279" y="1082"/>
                </a:cubicBezTo>
                <a:cubicBezTo>
                  <a:pt x="1278" y="1068"/>
                  <a:pt x="1276" y="1066"/>
                  <a:pt x="1277" y="1057"/>
                </a:cubicBezTo>
                <a:cubicBezTo>
                  <a:pt x="1277" y="1050"/>
                  <a:pt x="1278" y="1043"/>
                  <a:pt x="1283" y="1038"/>
                </a:cubicBezTo>
                <a:cubicBezTo>
                  <a:pt x="1288" y="1032"/>
                  <a:pt x="1292" y="1034"/>
                  <a:pt x="1300" y="1028"/>
                </a:cubicBezTo>
                <a:cubicBezTo>
                  <a:pt x="1302" y="1026"/>
                  <a:pt x="1308" y="1020"/>
                  <a:pt x="1310" y="1012"/>
                </a:cubicBezTo>
                <a:cubicBezTo>
                  <a:pt x="1311" y="1005"/>
                  <a:pt x="1309" y="999"/>
                  <a:pt x="1304" y="987"/>
                </a:cubicBezTo>
                <a:cubicBezTo>
                  <a:pt x="1302" y="982"/>
                  <a:pt x="1301" y="981"/>
                  <a:pt x="1296" y="972"/>
                </a:cubicBezTo>
                <a:cubicBezTo>
                  <a:pt x="1290" y="961"/>
                  <a:pt x="1291" y="963"/>
                  <a:pt x="1280" y="943"/>
                </a:cubicBezTo>
                <a:cubicBezTo>
                  <a:pt x="1268" y="919"/>
                  <a:pt x="1269" y="921"/>
                  <a:pt x="1268" y="919"/>
                </a:cubicBezTo>
                <a:cubicBezTo>
                  <a:pt x="1267" y="915"/>
                  <a:pt x="1264" y="905"/>
                  <a:pt x="1274" y="875"/>
                </a:cubicBezTo>
                <a:cubicBezTo>
                  <a:pt x="1282" y="849"/>
                  <a:pt x="1285" y="852"/>
                  <a:pt x="1294" y="825"/>
                </a:cubicBezTo>
                <a:cubicBezTo>
                  <a:pt x="1302" y="802"/>
                  <a:pt x="1300" y="797"/>
                  <a:pt x="1308" y="786"/>
                </a:cubicBezTo>
                <a:cubicBezTo>
                  <a:pt x="1312" y="779"/>
                  <a:pt x="1317" y="774"/>
                  <a:pt x="1323" y="762"/>
                </a:cubicBezTo>
                <a:cubicBezTo>
                  <a:pt x="1325" y="757"/>
                  <a:pt x="1325" y="755"/>
                  <a:pt x="1328" y="752"/>
                </a:cubicBezTo>
                <a:cubicBezTo>
                  <a:pt x="1335" y="745"/>
                  <a:pt x="1347" y="744"/>
                  <a:pt x="1357" y="748"/>
                </a:cubicBezTo>
                <a:cubicBezTo>
                  <a:pt x="1366" y="752"/>
                  <a:pt x="1366" y="759"/>
                  <a:pt x="1376" y="769"/>
                </a:cubicBezTo>
                <a:cubicBezTo>
                  <a:pt x="1386" y="780"/>
                  <a:pt x="1398" y="785"/>
                  <a:pt x="1409" y="788"/>
                </a:cubicBezTo>
                <a:cubicBezTo>
                  <a:pt x="1415" y="791"/>
                  <a:pt x="1435" y="797"/>
                  <a:pt x="1461" y="793"/>
                </a:cubicBezTo>
                <a:cubicBezTo>
                  <a:pt x="1482" y="790"/>
                  <a:pt x="1493" y="781"/>
                  <a:pt x="1505" y="785"/>
                </a:cubicBezTo>
                <a:cubicBezTo>
                  <a:pt x="1516" y="789"/>
                  <a:pt x="1521" y="791"/>
                  <a:pt x="1525" y="796"/>
                </a:cubicBezTo>
                <a:cubicBezTo>
                  <a:pt x="1526" y="797"/>
                  <a:pt x="1528" y="801"/>
                  <a:pt x="1530" y="800"/>
                </a:cubicBezTo>
                <a:cubicBezTo>
                  <a:pt x="1532" y="800"/>
                  <a:pt x="1533" y="796"/>
                  <a:pt x="1533" y="796"/>
                </a:cubicBezTo>
                <a:cubicBezTo>
                  <a:pt x="1534" y="791"/>
                  <a:pt x="1531" y="788"/>
                  <a:pt x="1531" y="785"/>
                </a:cubicBezTo>
                <a:cubicBezTo>
                  <a:pt x="1532" y="779"/>
                  <a:pt x="1544" y="776"/>
                  <a:pt x="1547" y="776"/>
                </a:cubicBezTo>
                <a:cubicBezTo>
                  <a:pt x="1570" y="771"/>
                  <a:pt x="1589" y="771"/>
                  <a:pt x="1591" y="771"/>
                </a:cubicBezTo>
                <a:cubicBezTo>
                  <a:pt x="1621" y="771"/>
                  <a:pt x="1636" y="771"/>
                  <a:pt x="1641" y="773"/>
                </a:cubicBezTo>
                <a:cubicBezTo>
                  <a:pt x="1657" y="779"/>
                  <a:pt x="1667" y="791"/>
                  <a:pt x="1673" y="798"/>
                </a:cubicBezTo>
                <a:cubicBezTo>
                  <a:pt x="1685" y="813"/>
                  <a:pt x="1682" y="817"/>
                  <a:pt x="1697" y="844"/>
                </a:cubicBezTo>
                <a:cubicBezTo>
                  <a:pt x="1708" y="861"/>
                  <a:pt x="1713" y="869"/>
                  <a:pt x="1723" y="879"/>
                </a:cubicBezTo>
                <a:cubicBezTo>
                  <a:pt x="1736" y="891"/>
                  <a:pt x="1741" y="890"/>
                  <a:pt x="1749" y="901"/>
                </a:cubicBezTo>
                <a:cubicBezTo>
                  <a:pt x="1758" y="913"/>
                  <a:pt x="1754" y="917"/>
                  <a:pt x="1763" y="933"/>
                </a:cubicBezTo>
                <a:cubicBezTo>
                  <a:pt x="1766" y="940"/>
                  <a:pt x="1775" y="954"/>
                  <a:pt x="1790" y="964"/>
                </a:cubicBezTo>
                <a:cubicBezTo>
                  <a:pt x="1803" y="972"/>
                  <a:pt x="1805" y="969"/>
                  <a:pt x="1816" y="978"/>
                </a:cubicBezTo>
                <a:cubicBezTo>
                  <a:pt x="1826" y="986"/>
                  <a:pt x="1828" y="991"/>
                  <a:pt x="1838" y="995"/>
                </a:cubicBezTo>
                <a:cubicBezTo>
                  <a:pt x="1840" y="996"/>
                  <a:pt x="1842" y="996"/>
                  <a:pt x="1856" y="998"/>
                </a:cubicBezTo>
                <a:cubicBezTo>
                  <a:pt x="1883" y="1001"/>
                  <a:pt x="1884" y="1000"/>
                  <a:pt x="1890" y="1002"/>
                </a:cubicBezTo>
                <a:cubicBezTo>
                  <a:pt x="1902" y="1005"/>
                  <a:pt x="1901" y="1009"/>
                  <a:pt x="1913" y="1012"/>
                </a:cubicBezTo>
                <a:cubicBezTo>
                  <a:pt x="1925" y="1015"/>
                  <a:pt x="1940" y="1015"/>
                  <a:pt x="1941" y="1012"/>
                </a:cubicBezTo>
                <a:cubicBezTo>
                  <a:pt x="1942" y="1007"/>
                  <a:pt x="1924" y="997"/>
                  <a:pt x="1905" y="991"/>
                </a:cubicBezTo>
                <a:cubicBezTo>
                  <a:pt x="1877" y="982"/>
                  <a:pt x="1870" y="991"/>
                  <a:pt x="1850" y="980"/>
                </a:cubicBezTo>
                <a:cubicBezTo>
                  <a:pt x="1836" y="973"/>
                  <a:pt x="1837" y="967"/>
                  <a:pt x="1821" y="960"/>
                </a:cubicBezTo>
                <a:cubicBezTo>
                  <a:pt x="1806" y="953"/>
                  <a:pt x="1800" y="956"/>
                  <a:pt x="1792" y="949"/>
                </a:cubicBezTo>
                <a:cubicBezTo>
                  <a:pt x="1790" y="946"/>
                  <a:pt x="1787" y="943"/>
                  <a:pt x="1781" y="919"/>
                </a:cubicBezTo>
                <a:cubicBezTo>
                  <a:pt x="1774" y="891"/>
                  <a:pt x="1776" y="889"/>
                  <a:pt x="1772" y="884"/>
                </a:cubicBezTo>
                <a:cubicBezTo>
                  <a:pt x="1763" y="874"/>
                  <a:pt x="1755" y="879"/>
                  <a:pt x="1737" y="865"/>
                </a:cubicBezTo>
                <a:cubicBezTo>
                  <a:pt x="1731" y="861"/>
                  <a:pt x="1726" y="856"/>
                  <a:pt x="1721" y="849"/>
                </a:cubicBezTo>
                <a:cubicBezTo>
                  <a:pt x="1713" y="835"/>
                  <a:pt x="1719" y="829"/>
                  <a:pt x="1713" y="814"/>
                </a:cubicBezTo>
                <a:cubicBezTo>
                  <a:pt x="1711" y="807"/>
                  <a:pt x="1703" y="800"/>
                  <a:pt x="1687" y="785"/>
                </a:cubicBezTo>
                <a:cubicBezTo>
                  <a:pt x="1675" y="774"/>
                  <a:pt x="1669" y="768"/>
                  <a:pt x="1661" y="763"/>
                </a:cubicBezTo>
                <a:cubicBezTo>
                  <a:pt x="1650" y="757"/>
                  <a:pt x="1642" y="752"/>
                  <a:pt x="1631" y="751"/>
                </a:cubicBezTo>
                <a:cubicBezTo>
                  <a:pt x="1614" y="749"/>
                  <a:pt x="1597" y="756"/>
                  <a:pt x="1592" y="748"/>
                </a:cubicBezTo>
                <a:cubicBezTo>
                  <a:pt x="1591" y="747"/>
                  <a:pt x="1589" y="744"/>
                  <a:pt x="1587" y="744"/>
                </a:cubicBezTo>
                <a:cubicBezTo>
                  <a:pt x="1584" y="743"/>
                  <a:pt x="1583" y="746"/>
                  <a:pt x="1581" y="747"/>
                </a:cubicBezTo>
                <a:cubicBezTo>
                  <a:pt x="1575" y="752"/>
                  <a:pt x="1567" y="748"/>
                  <a:pt x="1548" y="745"/>
                </a:cubicBezTo>
                <a:cubicBezTo>
                  <a:pt x="1540" y="744"/>
                  <a:pt x="1536" y="744"/>
                  <a:pt x="1531" y="744"/>
                </a:cubicBezTo>
                <a:cubicBezTo>
                  <a:pt x="1518" y="746"/>
                  <a:pt x="1515" y="752"/>
                  <a:pt x="1507" y="751"/>
                </a:cubicBezTo>
                <a:cubicBezTo>
                  <a:pt x="1500" y="750"/>
                  <a:pt x="1495" y="744"/>
                  <a:pt x="1486" y="732"/>
                </a:cubicBezTo>
                <a:cubicBezTo>
                  <a:pt x="1474" y="716"/>
                  <a:pt x="1477" y="712"/>
                  <a:pt x="1467" y="702"/>
                </a:cubicBezTo>
                <a:cubicBezTo>
                  <a:pt x="1464" y="700"/>
                  <a:pt x="1461" y="697"/>
                  <a:pt x="1460" y="692"/>
                </a:cubicBezTo>
                <a:cubicBezTo>
                  <a:pt x="1459" y="686"/>
                  <a:pt x="1462" y="684"/>
                  <a:pt x="1461" y="679"/>
                </a:cubicBezTo>
                <a:cubicBezTo>
                  <a:pt x="1459" y="675"/>
                  <a:pt x="1454" y="675"/>
                  <a:pt x="1449" y="670"/>
                </a:cubicBezTo>
                <a:cubicBezTo>
                  <a:pt x="1443" y="664"/>
                  <a:pt x="1438" y="654"/>
                  <a:pt x="1441" y="647"/>
                </a:cubicBezTo>
                <a:cubicBezTo>
                  <a:pt x="1444" y="640"/>
                  <a:pt x="1454" y="638"/>
                  <a:pt x="1461" y="638"/>
                </a:cubicBezTo>
                <a:cubicBezTo>
                  <a:pt x="1473" y="639"/>
                  <a:pt x="1475" y="648"/>
                  <a:pt x="1487" y="649"/>
                </a:cubicBezTo>
                <a:cubicBezTo>
                  <a:pt x="1490" y="650"/>
                  <a:pt x="1500" y="651"/>
                  <a:pt x="1506" y="644"/>
                </a:cubicBezTo>
                <a:cubicBezTo>
                  <a:pt x="1512" y="637"/>
                  <a:pt x="1509" y="627"/>
                  <a:pt x="1509" y="625"/>
                </a:cubicBezTo>
                <a:cubicBezTo>
                  <a:pt x="1506" y="613"/>
                  <a:pt x="1498" y="614"/>
                  <a:pt x="1492" y="602"/>
                </a:cubicBezTo>
                <a:cubicBezTo>
                  <a:pt x="1485" y="588"/>
                  <a:pt x="1491" y="578"/>
                  <a:pt x="1484" y="573"/>
                </a:cubicBezTo>
                <a:cubicBezTo>
                  <a:pt x="1478" y="569"/>
                  <a:pt x="1466" y="573"/>
                  <a:pt x="1462" y="575"/>
                </a:cubicBezTo>
                <a:cubicBezTo>
                  <a:pt x="1455" y="578"/>
                  <a:pt x="1454" y="580"/>
                  <a:pt x="1450" y="580"/>
                </a:cubicBezTo>
                <a:cubicBezTo>
                  <a:pt x="1442" y="581"/>
                  <a:pt x="1432" y="573"/>
                  <a:pt x="1431" y="564"/>
                </a:cubicBezTo>
                <a:cubicBezTo>
                  <a:pt x="1430" y="558"/>
                  <a:pt x="1433" y="555"/>
                  <a:pt x="1430" y="550"/>
                </a:cubicBezTo>
                <a:cubicBezTo>
                  <a:pt x="1428" y="545"/>
                  <a:pt x="1423" y="546"/>
                  <a:pt x="1422" y="542"/>
                </a:cubicBezTo>
                <a:cubicBezTo>
                  <a:pt x="1421" y="538"/>
                  <a:pt x="1424" y="535"/>
                  <a:pt x="1434" y="518"/>
                </a:cubicBezTo>
                <a:cubicBezTo>
                  <a:pt x="1440" y="509"/>
                  <a:pt x="1440" y="508"/>
                  <a:pt x="1440" y="505"/>
                </a:cubicBezTo>
                <a:cubicBezTo>
                  <a:pt x="1440" y="498"/>
                  <a:pt x="1434" y="494"/>
                  <a:pt x="1435" y="489"/>
                </a:cubicBezTo>
                <a:cubicBezTo>
                  <a:pt x="1437" y="486"/>
                  <a:pt x="1441" y="484"/>
                  <a:pt x="1445" y="483"/>
                </a:cubicBezTo>
                <a:cubicBezTo>
                  <a:pt x="1457" y="480"/>
                  <a:pt x="1461" y="484"/>
                  <a:pt x="1470" y="483"/>
                </a:cubicBezTo>
                <a:cubicBezTo>
                  <a:pt x="1486" y="480"/>
                  <a:pt x="1494" y="460"/>
                  <a:pt x="1494" y="460"/>
                </a:cubicBezTo>
                <a:cubicBezTo>
                  <a:pt x="1497" y="452"/>
                  <a:pt x="1499" y="441"/>
                  <a:pt x="1496" y="439"/>
                </a:cubicBezTo>
                <a:cubicBezTo>
                  <a:pt x="1489" y="436"/>
                  <a:pt x="1454" y="470"/>
                  <a:pt x="1453" y="471"/>
                </a:cubicBezTo>
                <a:cubicBezTo>
                  <a:pt x="1453" y="471"/>
                  <a:pt x="1451" y="473"/>
                  <a:pt x="1448" y="473"/>
                </a:cubicBezTo>
                <a:cubicBezTo>
                  <a:pt x="1446" y="473"/>
                  <a:pt x="1444" y="471"/>
                  <a:pt x="1441" y="467"/>
                </a:cubicBezTo>
                <a:cubicBezTo>
                  <a:pt x="1436" y="460"/>
                  <a:pt x="1434" y="457"/>
                  <a:pt x="1432" y="456"/>
                </a:cubicBezTo>
                <a:cubicBezTo>
                  <a:pt x="1426" y="455"/>
                  <a:pt x="1423" y="466"/>
                  <a:pt x="1415" y="466"/>
                </a:cubicBezTo>
                <a:cubicBezTo>
                  <a:pt x="1408" y="466"/>
                  <a:pt x="1407" y="459"/>
                  <a:pt x="1398" y="455"/>
                </a:cubicBezTo>
                <a:cubicBezTo>
                  <a:pt x="1386" y="451"/>
                  <a:pt x="1369" y="457"/>
                  <a:pt x="1365" y="466"/>
                </a:cubicBezTo>
                <a:cubicBezTo>
                  <a:pt x="1363" y="471"/>
                  <a:pt x="1367" y="475"/>
                  <a:pt x="1364" y="477"/>
                </a:cubicBezTo>
                <a:cubicBezTo>
                  <a:pt x="1360" y="481"/>
                  <a:pt x="1347" y="476"/>
                  <a:pt x="1338" y="467"/>
                </a:cubicBezTo>
                <a:cubicBezTo>
                  <a:pt x="1331" y="459"/>
                  <a:pt x="1334" y="455"/>
                  <a:pt x="1326" y="447"/>
                </a:cubicBezTo>
                <a:cubicBezTo>
                  <a:pt x="1318" y="438"/>
                  <a:pt x="1313" y="439"/>
                  <a:pt x="1311" y="433"/>
                </a:cubicBezTo>
                <a:cubicBezTo>
                  <a:pt x="1309" y="426"/>
                  <a:pt x="1316" y="415"/>
                  <a:pt x="1322" y="414"/>
                </a:cubicBezTo>
                <a:cubicBezTo>
                  <a:pt x="1328" y="414"/>
                  <a:pt x="1329" y="421"/>
                  <a:pt x="1336" y="422"/>
                </a:cubicBezTo>
                <a:cubicBezTo>
                  <a:pt x="1340" y="422"/>
                  <a:pt x="1341" y="419"/>
                  <a:pt x="1348" y="416"/>
                </a:cubicBezTo>
                <a:cubicBezTo>
                  <a:pt x="1357" y="413"/>
                  <a:pt x="1359" y="416"/>
                  <a:pt x="1364" y="413"/>
                </a:cubicBezTo>
                <a:cubicBezTo>
                  <a:pt x="1370" y="409"/>
                  <a:pt x="1373" y="402"/>
                  <a:pt x="1371" y="400"/>
                </a:cubicBezTo>
                <a:cubicBezTo>
                  <a:pt x="1369" y="399"/>
                  <a:pt x="1364" y="404"/>
                  <a:pt x="1359" y="401"/>
                </a:cubicBezTo>
                <a:cubicBezTo>
                  <a:pt x="1354" y="399"/>
                  <a:pt x="1354" y="395"/>
                  <a:pt x="1352" y="395"/>
                </a:cubicBezTo>
                <a:cubicBezTo>
                  <a:pt x="1350" y="396"/>
                  <a:pt x="1350" y="400"/>
                  <a:pt x="1348" y="403"/>
                </a:cubicBezTo>
                <a:cubicBezTo>
                  <a:pt x="1343" y="408"/>
                  <a:pt x="1330" y="408"/>
                  <a:pt x="1327" y="402"/>
                </a:cubicBezTo>
                <a:cubicBezTo>
                  <a:pt x="1325" y="398"/>
                  <a:pt x="1330" y="392"/>
                  <a:pt x="1334" y="388"/>
                </a:cubicBezTo>
                <a:cubicBezTo>
                  <a:pt x="1339" y="384"/>
                  <a:pt x="1345" y="383"/>
                  <a:pt x="1349" y="382"/>
                </a:cubicBezTo>
                <a:cubicBezTo>
                  <a:pt x="1367" y="379"/>
                  <a:pt x="1362" y="376"/>
                  <a:pt x="1384" y="372"/>
                </a:cubicBezTo>
                <a:cubicBezTo>
                  <a:pt x="1407" y="368"/>
                  <a:pt x="1418" y="366"/>
                  <a:pt x="1432" y="370"/>
                </a:cubicBezTo>
                <a:cubicBezTo>
                  <a:pt x="1440" y="373"/>
                  <a:pt x="1441" y="376"/>
                  <a:pt x="1448" y="376"/>
                </a:cubicBezTo>
                <a:cubicBezTo>
                  <a:pt x="1464" y="376"/>
                  <a:pt x="1478" y="359"/>
                  <a:pt x="1479" y="358"/>
                </a:cubicBezTo>
                <a:cubicBezTo>
                  <a:pt x="1485" y="349"/>
                  <a:pt x="1484" y="344"/>
                  <a:pt x="1491" y="340"/>
                </a:cubicBezTo>
                <a:cubicBezTo>
                  <a:pt x="1496" y="337"/>
                  <a:pt x="1499" y="339"/>
                  <a:pt x="1509" y="336"/>
                </a:cubicBezTo>
                <a:cubicBezTo>
                  <a:pt x="1515" y="334"/>
                  <a:pt x="1520" y="332"/>
                  <a:pt x="1523" y="327"/>
                </a:cubicBezTo>
                <a:cubicBezTo>
                  <a:pt x="1525" y="322"/>
                  <a:pt x="1524" y="318"/>
                  <a:pt x="1523" y="312"/>
                </a:cubicBezTo>
                <a:cubicBezTo>
                  <a:pt x="1523" y="309"/>
                  <a:pt x="1519" y="291"/>
                  <a:pt x="1511" y="290"/>
                </a:cubicBezTo>
                <a:cubicBezTo>
                  <a:pt x="1507" y="290"/>
                  <a:pt x="1502" y="294"/>
                  <a:pt x="1500" y="298"/>
                </a:cubicBezTo>
                <a:cubicBezTo>
                  <a:pt x="1497" y="305"/>
                  <a:pt x="1500" y="312"/>
                  <a:pt x="1497" y="314"/>
                </a:cubicBezTo>
                <a:cubicBezTo>
                  <a:pt x="1495" y="315"/>
                  <a:pt x="1492" y="311"/>
                  <a:pt x="1490" y="312"/>
                </a:cubicBezTo>
                <a:cubicBezTo>
                  <a:pt x="1486" y="314"/>
                  <a:pt x="1488" y="320"/>
                  <a:pt x="1485" y="326"/>
                </a:cubicBezTo>
                <a:cubicBezTo>
                  <a:pt x="1481" y="332"/>
                  <a:pt x="1472" y="334"/>
                  <a:pt x="1463" y="335"/>
                </a:cubicBezTo>
                <a:cubicBezTo>
                  <a:pt x="1448" y="338"/>
                  <a:pt x="1428" y="336"/>
                  <a:pt x="1426" y="329"/>
                </a:cubicBezTo>
                <a:cubicBezTo>
                  <a:pt x="1425" y="326"/>
                  <a:pt x="1431" y="323"/>
                  <a:pt x="1430" y="318"/>
                </a:cubicBezTo>
                <a:cubicBezTo>
                  <a:pt x="1429" y="313"/>
                  <a:pt x="1422" y="312"/>
                  <a:pt x="1422" y="308"/>
                </a:cubicBezTo>
                <a:cubicBezTo>
                  <a:pt x="1422" y="304"/>
                  <a:pt x="1431" y="303"/>
                  <a:pt x="1441" y="297"/>
                </a:cubicBezTo>
                <a:cubicBezTo>
                  <a:pt x="1444" y="294"/>
                  <a:pt x="1457" y="286"/>
                  <a:pt x="1457" y="276"/>
                </a:cubicBezTo>
                <a:cubicBezTo>
                  <a:pt x="1457" y="270"/>
                  <a:pt x="1453" y="269"/>
                  <a:pt x="1453" y="263"/>
                </a:cubicBezTo>
                <a:cubicBezTo>
                  <a:pt x="1454" y="254"/>
                  <a:pt x="1465" y="252"/>
                  <a:pt x="1465" y="244"/>
                </a:cubicBezTo>
                <a:cubicBezTo>
                  <a:pt x="1465" y="239"/>
                  <a:pt x="1459" y="234"/>
                  <a:pt x="1455" y="232"/>
                </a:cubicBezTo>
                <a:cubicBezTo>
                  <a:pt x="1449" y="231"/>
                  <a:pt x="1446" y="236"/>
                  <a:pt x="1436" y="235"/>
                </a:cubicBezTo>
                <a:cubicBezTo>
                  <a:pt x="1434" y="234"/>
                  <a:pt x="1429" y="233"/>
                  <a:pt x="1429" y="232"/>
                </a:cubicBezTo>
                <a:cubicBezTo>
                  <a:pt x="1429" y="229"/>
                  <a:pt x="1443" y="227"/>
                  <a:pt x="1444" y="223"/>
                </a:cubicBezTo>
                <a:cubicBezTo>
                  <a:pt x="1444" y="219"/>
                  <a:pt x="1437" y="219"/>
                  <a:pt x="1434" y="212"/>
                </a:cubicBezTo>
                <a:cubicBezTo>
                  <a:pt x="1431" y="206"/>
                  <a:pt x="1435" y="203"/>
                  <a:pt x="1433" y="198"/>
                </a:cubicBezTo>
                <a:cubicBezTo>
                  <a:pt x="1430" y="192"/>
                  <a:pt x="1422" y="194"/>
                  <a:pt x="1412" y="186"/>
                </a:cubicBezTo>
                <a:cubicBezTo>
                  <a:pt x="1402" y="179"/>
                  <a:pt x="1398" y="167"/>
                  <a:pt x="1396" y="163"/>
                </a:cubicBezTo>
                <a:cubicBezTo>
                  <a:pt x="1394" y="157"/>
                  <a:pt x="1395" y="157"/>
                  <a:pt x="1393" y="154"/>
                </a:cubicBezTo>
                <a:cubicBezTo>
                  <a:pt x="1386" y="143"/>
                  <a:pt x="1367" y="145"/>
                  <a:pt x="1366" y="141"/>
                </a:cubicBezTo>
                <a:cubicBezTo>
                  <a:pt x="1366" y="139"/>
                  <a:pt x="1376" y="138"/>
                  <a:pt x="1377" y="133"/>
                </a:cubicBezTo>
                <a:cubicBezTo>
                  <a:pt x="1378" y="129"/>
                  <a:pt x="1372" y="127"/>
                  <a:pt x="1369" y="120"/>
                </a:cubicBezTo>
                <a:cubicBezTo>
                  <a:pt x="1366" y="113"/>
                  <a:pt x="1369" y="110"/>
                  <a:pt x="1366" y="104"/>
                </a:cubicBezTo>
                <a:cubicBezTo>
                  <a:pt x="1363" y="98"/>
                  <a:pt x="1359" y="99"/>
                  <a:pt x="1352" y="92"/>
                </a:cubicBezTo>
                <a:cubicBezTo>
                  <a:pt x="1346" y="85"/>
                  <a:pt x="1349" y="82"/>
                  <a:pt x="1342" y="74"/>
                </a:cubicBezTo>
                <a:cubicBezTo>
                  <a:pt x="1335" y="64"/>
                  <a:pt x="1329" y="66"/>
                  <a:pt x="1326" y="59"/>
                </a:cubicBezTo>
                <a:cubicBezTo>
                  <a:pt x="1324" y="51"/>
                  <a:pt x="1331" y="47"/>
                  <a:pt x="1328" y="38"/>
                </a:cubicBezTo>
                <a:cubicBezTo>
                  <a:pt x="1326" y="30"/>
                  <a:pt x="1318" y="27"/>
                  <a:pt x="1319" y="25"/>
                </a:cubicBezTo>
                <a:cubicBezTo>
                  <a:pt x="1321" y="23"/>
                  <a:pt x="1330" y="29"/>
                  <a:pt x="1337" y="25"/>
                </a:cubicBezTo>
                <a:cubicBezTo>
                  <a:pt x="1338" y="24"/>
                  <a:pt x="1340" y="23"/>
                  <a:pt x="1344" y="13"/>
                </a:cubicBezTo>
                <a:cubicBezTo>
                  <a:pt x="1345" y="11"/>
                  <a:pt x="1345" y="9"/>
                  <a:pt x="1346" y="7"/>
                </a:cubicBezTo>
                <a:cubicBezTo>
                  <a:pt x="1345" y="8"/>
                  <a:pt x="1345" y="8"/>
                  <a:pt x="1345" y="8"/>
                </a:cubicBezTo>
                <a:cubicBezTo>
                  <a:pt x="1368" y="17"/>
                  <a:pt x="1368" y="17"/>
                  <a:pt x="1368" y="17"/>
                </a:cubicBezTo>
                <a:cubicBezTo>
                  <a:pt x="1400" y="0"/>
                  <a:pt x="1400" y="0"/>
                  <a:pt x="1400" y="0"/>
                </a:cubicBezTo>
                <a:cubicBezTo>
                  <a:pt x="1425" y="5"/>
                  <a:pt x="1425" y="5"/>
                  <a:pt x="1425" y="5"/>
                </a:cubicBezTo>
                <a:cubicBezTo>
                  <a:pt x="1457" y="0"/>
                  <a:pt x="1457" y="0"/>
                  <a:pt x="1457" y="0"/>
                </a:cubicBezTo>
                <a:cubicBezTo>
                  <a:pt x="1481" y="19"/>
                  <a:pt x="1481" y="19"/>
                  <a:pt x="1481" y="19"/>
                </a:cubicBezTo>
                <a:cubicBezTo>
                  <a:pt x="1514" y="37"/>
                  <a:pt x="1514" y="37"/>
                  <a:pt x="1514" y="37"/>
                </a:cubicBezTo>
                <a:cubicBezTo>
                  <a:pt x="1554" y="33"/>
                  <a:pt x="1554" y="33"/>
                  <a:pt x="1554" y="33"/>
                </a:cubicBezTo>
                <a:cubicBezTo>
                  <a:pt x="1601" y="54"/>
                  <a:pt x="1601" y="54"/>
                  <a:pt x="1601" y="54"/>
                </a:cubicBezTo>
                <a:cubicBezTo>
                  <a:pt x="1609" y="94"/>
                  <a:pt x="1609" y="94"/>
                  <a:pt x="1609" y="94"/>
                </a:cubicBezTo>
                <a:cubicBezTo>
                  <a:pt x="1618" y="96"/>
                  <a:pt x="1618" y="96"/>
                  <a:pt x="1618" y="96"/>
                </a:cubicBezTo>
                <a:cubicBezTo>
                  <a:pt x="1633" y="85"/>
                  <a:pt x="1633" y="85"/>
                  <a:pt x="1633" y="85"/>
                </a:cubicBezTo>
                <a:cubicBezTo>
                  <a:pt x="1655" y="96"/>
                  <a:pt x="1655" y="96"/>
                  <a:pt x="1655" y="96"/>
                </a:cubicBezTo>
                <a:cubicBezTo>
                  <a:pt x="1666" y="82"/>
                  <a:pt x="1666" y="82"/>
                  <a:pt x="1666" y="82"/>
                </a:cubicBezTo>
                <a:cubicBezTo>
                  <a:pt x="1677" y="70"/>
                  <a:pt x="1677" y="70"/>
                  <a:pt x="1677" y="70"/>
                </a:cubicBezTo>
                <a:cubicBezTo>
                  <a:pt x="1696" y="75"/>
                  <a:pt x="1696" y="75"/>
                  <a:pt x="1696" y="75"/>
                </a:cubicBezTo>
                <a:cubicBezTo>
                  <a:pt x="1702" y="85"/>
                  <a:pt x="1702" y="85"/>
                  <a:pt x="1702" y="85"/>
                </a:cubicBezTo>
                <a:cubicBezTo>
                  <a:pt x="1716" y="84"/>
                  <a:pt x="1716" y="84"/>
                  <a:pt x="1716" y="84"/>
                </a:cubicBezTo>
                <a:cubicBezTo>
                  <a:pt x="1716" y="84"/>
                  <a:pt x="1716" y="84"/>
                  <a:pt x="1716" y="84"/>
                </a:cubicBezTo>
                <a:cubicBezTo>
                  <a:pt x="1716" y="87"/>
                  <a:pt x="1717" y="90"/>
                  <a:pt x="1719" y="91"/>
                </a:cubicBezTo>
                <a:cubicBezTo>
                  <a:pt x="1721" y="93"/>
                  <a:pt x="1726" y="89"/>
                  <a:pt x="1729" y="87"/>
                </a:cubicBezTo>
                <a:cubicBezTo>
                  <a:pt x="1737" y="81"/>
                  <a:pt x="1736" y="76"/>
                  <a:pt x="1742" y="73"/>
                </a:cubicBezTo>
                <a:cubicBezTo>
                  <a:pt x="1746" y="72"/>
                  <a:pt x="1747" y="74"/>
                  <a:pt x="1752" y="72"/>
                </a:cubicBezTo>
                <a:cubicBezTo>
                  <a:pt x="1757" y="71"/>
                  <a:pt x="1758" y="68"/>
                  <a:pt x="1766" y="63"/>
                </a:cubicBezTo>
                <a:cubicBezTo>
                  <a:pt x="1766" y="62"/>
                  <a:pt x="1772" y="59"/>
                  <a:pt x="1782" y="52"/>
                </a:cubicBezTo>
                <a:cubicBezTo>
                  <a:pt x="1793" y="44"/>
                  <a:pt x="1793" y="45"/>
                  <a:pt x="1794" y="44"/>
                </a:cubicBezTo>
                <a:cubicBezTo>
                  <a:pt x="1799" y="40"/>
                  <a:pt x="1802" y="37"/>
                  <a:pt x="1803" y="38"/>
                </a:cubicBezTo>
                <a:cubicBezTo>
                  <a:pt x="1804" y="38"/>
                  <a:pt x="1804" y="40"/>
                  <a:pt x="1803" y="46"/>
                </a:cubicBezTo>
                <a:cubicBezTo>
                  <a:pt x="1802" y="58"/>
                  <a:pt x="1801" y="60"/>
                  <a:pt x="1802" y="62"/>
                </a:cubicBezTo>
                <a:cubicBezTo>
                  <a:pt x="1804" y="65"/>
                  <a:pt x="1808" y="65"/>
                  <a:pt x="1814" y="67"/>
                </a:cubicBezTo>
                <a:cubicBezTo>
                  <a:pt x="1825" y="70"/>
                  <a:pt x="1821" y="70"/>
                  <a:pt x="1837" y="75"/>
                </a:cubicBezTo>
                <a:cubicBezTo>
                  <a:pt x="1842" y="77"/>
                  <a:pt x="1853" y="80"/>
                  <a:pt x="1867" y="82"/>
                </a:cubicBezTo>
                <a:cubicBezTo>
                  <a:pt x="1887" y="86"/>
                  <a:pt x="1894" y="85"/>
                  <a:pt x="1898" y="91"/>
                </a:cubicBezTo>
                <a:cubicBezTo>
                  <a:pt x="1902" y="95"/>
                  <a:pt x="1899" y="98"/>
                  <a:pt x="1902" y="105"/>
                </a:cubicBezTo>
                <a:cubicBezTo>
                  <a:pt x="1907" y="118"/>
                  <a:pt x="1925" y="127"/>
                  <a:pt x="1933" y="122"/>
                </a:cubicBezTo>
                <a:cubicBezTo>
                  <a:pt x="1938" y="120"/>
                  <a:pt x="1939" y="112"/>
                  <a:pt x="1943" y="111"/>
                </a:cubicBezTo>
                <a:cubicBezTo>
                  <a:pt x="1947" y="111"/>
                  <a:pt x="1949" y="117"/>
                  <a:pt x="1950" y="117"/>
                </a:cubicBezTo>
                <a:cubicBezTo>
                  <a:pt x="1953" y="116"/>
                  <a:pt x="1945" y="94"/>
                  <a:pt x="1951" y="91"/>
                </a:cubicBezTo>
                <a:cubicBezTo>
                  <a:pt x="1957" y="87"/>
                  <a:pt x="1973" y="102"/>
                  <a:pt x="1975" y="104"/>
                </a:cubicBezTo>
                <a:cubicBezTo>
                  <a:pt x="1980" y="109"/>
                  <a:pt x="1984" y="113"/>
                  <a:pt x="1986" y="119"/>
                </a:cubicBezTo>
                <a:cubicBezTo>
                  <a:pt x="1990" y="128"/>
                  <a:pt x="1986" y="131"/>
                  <a:pt x="1990" y="140"/>
                </a:cubicBezTo>
                <a:cubicBezTo>
                  <a:pt x="1992" y="147"/>
                  <a:pt x="1997" y="152"/>
                  <a:pt x="2003" y="158"/>
                </a:cubicBezTo>
                <a:cubicBezTo>
                  <a:pt x="2010" y="164"/>
                  <a:pt x="2013" y="166"/>
                  <a:pt x="2013" y="168"/>
                </a:cubicBezTo>
                <a:cubicBezTo>
                  <a:pt x="2012" y="172"/>
                  <a:pt x="2003" y="175"/>
                  <a:pt x="1997" y="172"/>
                </a:cubicBezTo>
                <a:cubicBezTo>
                  <a:pt x="1992" y="169"/>
                  <a:pt x="1991" y="162"/>
                  <a:pt x="1989" y="162"/>
                </a:cubicBezTo>
                <a:cubicBezTo>
                  <a:pt x="1986" y="163"/>
                  <a:pt x="1988" y="170"/>
                  <a:pt x="1983" y="173"/>
                </a:cubicBezTo>
                <a:cubicBezTo>
                  <a:pt x="1978" y="177"/>
                  <a:pt x="1973" y="172"/>
                  <a:pt x="1968" y="175"/>
                </a:cubicBezTo>
                <a:cubicBezTo>
                  <a:pt x="1964" y="178"/>
                  <a:pt x="1966" y="182"/>
                  <a:pt x="1963" y="196"/>
                </a:cubicBezTo>
                <a:cubicBezTo>
                  <a:pt x="1961" y="202"/>
                  <a:pt x="1960" y="206"/>
                  <a:pt x="1958" y="209"/>
                </a:cubicBezTo>
                <a:cubicBezTo>
                  <a:pt x="1954" y="215"/>
                  <a:pt x="1949" y="216"/>
                  <a:pt x="1941" y="219"/>
                </a:cubicBezTo>
                <a:cubicBezTo>
                  <a:pt x="1924" y="227"/>
                  <a:pt x="1927" y="231"/>
                  <a:pt x="1909" y="240"/>
                </a:cubicBezTo>
                <a:cubicBezTo>
                  <a:pt x="1899" y="244"/>
                  <a:pt x="1896" y="243"/>
                  <a:pt x="1891" y="248"/>
                </a:cubicBezTo>
                <a:cubicBezTo>
                  <a:pt x="1885" y="254"/>
                  <a:pt x="1886" y="257"/>
                  <a:pt x="1880" y="266"/>
                </a:cubicBezTo>
                <a:cubicBezTo>
                  <a:pt x="1878" y="269"/>
                  <a:pt x="1870" y="279"/>
                  <a:pt x="1856" y="285"/>
                </a:cubicBezTo>
                <a:cubicBezTo>
                  <a:pt x="1850" y="288"/>
                  <a:pt x="1842" y="291"/>
                  <a:pt x="1833" y="288"/>
                </a:cubicBezTo>
                <a:cubicBezTo>
                  <a:pt x="1827" y="286"/>
                  <a:pt x="1826" y="282"/>
                  <a:pt x="1821" y="282"/>
                </a:cubicBezTo>
                <a:cubicBezTo>
                  <a:pt x="1814" y="281"/>
                  <a:pt x="1812" y="287"/>
                  <a:pt x="1802" y="292"/>
                </a:cubicBezTo>
                <a:cubicBezTo>
                  <a:pt x="1790" y="298"/>
                  <a:pt x="1780" y="295"/>
                  <a:pt x="1779" y="299"/>
                </a:cubicBezTo>
                <a:cubicBezTo>
                  <a:pt x="1778" y="302"/>
                  <a:pt x="1783" y="303"/>
                  <a:pt x="1787" y="309"/>
                </a:cubicBezTo>
                <a:cubicBezTo>
                  <a:pt x="1792" y="318"/>
                  <a:pt x="1789" y="328"/>
                  <a:pt x="1791" y="329"/>
                </a:cubicBezTo>
                <a:cubicBezTo>
                  <a:pt x="1793" y="329"/>
                  <a:pt x="1794" y="321"/>
                  <a:pt x="1800" y="313"/>
                </a:cubicBezTo>
                <a:cubicBezTo>
                  <a:pt x="1802" y="311"/>
                  <a:pt x="1807" y="306"/>
                  <a:pt x="1814" y="304"/>
                </a:cubicBezTo>
                <a:cubicBezTo>
                  <a:pt x="1816" y="304"/>
                  <a:pt x="1820" y="303"/>
                  <a:pt x="1834" y="309"/>
                </a:cubicBezTo>
                <a:cubicBezTo>
                  <a:pt x="1848" y="315"/>
                  <a:pt x="1852" y="318"/>
                  <a:pt x="1856" y="316"/>
                </a:cubicBezTo>
                <a:cubicBezTo>
                  <a:pt x="1860" y="313"/>
                  <a:pt x="1861" y="306"/>
                  <a:pt x="1862" y="306"/>
                </a:cubicBezTo>
                <a:cubicBezTo>
                  <a:pt x="1862" y="301"/>
                  <a:pt x="1861" y="300"/>
                  <a:pt x="1862" y="297"/>
                </a:cubicBezTo>
                <a:cubicBezTo>
                  <a:pt x="1863" y="292"/>
                  <a:pt x="1870" y="292"/>
                  <a:pt x="1878" y="288"/>
                </a:cubicBezTo>
                <a:cubicBezTo>
                  <a:pt x="1885" y="284"/>
                  <a:pt x="1885" y="280"/>
                  <a:pt x="1894" y="271"/>
                </a:cubicBezTo>
                <a:cubicBezTo>
                  <a:pt x="1899" y="266"/>
                  <a:pt x="1899" y="267"/>
                  <a:pt x="1915" y="255"/>
                </a:cubicBezTo>
                <a:cubicBezTo>
                  <a:pt x="1938" y="238"/>
                  <a:pt x="1936" y="237"/>
                  <a:pt x="1943" y="234"/>
                </a:cubicBezTo>
                <a:cubicBezTo>
                  <a:pt x="1953" y="230"/>
                  <a:pt x="1958" y="231"/>
                  <a:pt x="1965" y="224"/>
                </a:cubicBezTo>
                <a:cubicBezTo>
                  <a:pt x="1967" y="223"/>
                  <a:pt x="1971" y="219"/>
                  <a:pt x="1972" y="212"/>
                </a:cubicBezTo>
                <a:cubicBezTo>
                  <a:pt x="1974" y="205"/>
                  <a:pt x="1971" y="202"/>
                  <a:pt x="1974" y="195"/>
                </a:cubicBezTo>
                <a:cubicBezTo>
                  <a:pt x="1975" y="191"/>
                  <a:pt x="1976" y="186"/>
                  <a:pt x="1980" y="185"/>
                </a:cubicBezTo>
                <a:cubicBezTo>
                  <a:pt x="1985" y="183"/>
                  <a:pt x="1988" y="189"/>
                  <a:pt x="2000" y="192"/>
                </a:cubicBezTo>
                <a:cubicBezTo>
                  <a:pt x="2006" y="194"/>
                  <a:pt x="2008" y="193"/>
                  <a:pt x="2011" y="195"/>
                </a:cubicBezTo>
                <a:cubicBezTo>
                  <a:pt x="2016" y="199"/>
                  <a:pt x="2014" y="209"/>
                  <a:pt x="2013" y="216"/>
                </a:cubicBezTo>
                <a:cubicBezTo>
                  <a:pt x="2007" y="255"/>
                  <a:pt x="2014" y="255"/>
                  <a:pt x="2007" y="270"/>
                </a:cubicBezTo>
                <a:cubicBezTo>
                  <a:pt x="2001" y="281"/>
                  <a:pt x="1993" y="288"/>
                  <a:pt x="1984" y="296"/>
                </a:cubicBezTo>
                <a:cubicBezTo>
                  <a:pt x="1969" y="310"/>
                  <a:pt x="1959" y="319"/>
                  <a:pt x="1945" y="319"/>
                </a:cubicBezTo>
                <a:cubicBezTo>
                  <a:pt x="1945" y="319"/>
                  <a:pt x="1936" y="319"/>
                  <a:pt x="1925" y="323"/>
                </a:cubicBezTo>
                <a:cubicBezTo>
                  <a:pt x="1921" y="324"/>
                  <a:pt x="1919" y="326"/>
                  <a:pt x="1918" y="328"/>
                </a:cubicBezTo>
                <a:cubicBezTo>
                  <a:pt x="1916" y="332"/>
                  <a:pt x="1920" y="340"/>
                  <a:pt x="1926" y="343"/>
                </a:cubicBezTo>
                <a:cubicBezTo>
                  <a:pt x="1933" y="348"/>
                  <a:pt x="1942" y="345"/>
                  <a:pt x="1953" y="342"/>
                </a:cubicBezTo>
                <a:cubicBezTo>
                  <a:pt x="1963" y="339"/>
                  <a:pt x="1968" y="336"/>
                  <a:pt x="1974" y="333"/>
                </a:cubicBezTo>
                <a:cubicBezTo>
                  <a:pt x="1983" y="329"/>
                  <a:pt x="1986" y="330"/>
                  <a:pt x="2029" y="323"/>
                </a:cubicBezTo>
                <a:cubicBezTo>
                  <a:pt x="2053" y="320"/>
                  <a:pt x="2058" y="319"/>
                  <a:pt x="2067" y="321"/>
                </a:cubicBezTo>
                <a:cubicBezTo>
                  <a:pt x="2078" y="325"/>
                  <a:pt x="2091" y="333"/>
                  <a:pt x="2091" y="341"/>
                </a:cubicBezTo>
                <a:cubicBezTo>
                  <a:pt x="2090" y="348"/>
                  <a:pt x="2080" y="349"/>
                  <a:pt x="2079" y="357"/>
                </a:cubicBezTo>
                <a:cubicBezTo>
                  <a:pt x="2079" y="365"/>
                  <a:pt x="2089" y="367"/>
                  <a:pt x="2088" y="375"/>
                </a:cubicBezTo>
                <a:cubicBezTo>
                  <a:pt x="2088" y="382"/>
                  <a:pt x="2082" y="387"/>
                  <a:pt x="2082" y="387"/>
                </a:cubicBezTo>
                <a:cubicBezTo>
                  <a:pt x="2078" y="391"/>
                  <a:pt x="2074" y="391"/>
                  <a:pt x="2072" y="394"/>
                </a:cubicBezTo>
                <a:cubicBezTo>
                  <a:pt x="2071" y="398"/>
                  <a:pt x="2072" y="400"/>
                  <a:pt x="2070" y="402"/>
                </a:cubicBezTo>
                <a:cubicBezTo>
                  <a:pt x="2067" y="405"/>
                  <a:pt x="2062" y="402"/>
                  <a:pt x="2061" y="405"/>
                </a:cubicBezTo>
                <a:cubicBezTo>
                  <a:pt x="2059" y="407"/>
                  <a:pt x="2066" y="412"/>
                  <a:pt x="2067" y="419"/>
                </a:cubicBezTo>
                <a:cubicBezTo>
                  <a:pt x="2067" y="423"/>
                  <a:pt x="2065" y="424"/>
                  <a:pt x="2059" y="435"/>
                </a:cubicBezTo>
                <a:cubicBezTo>
                  <a:pt x="2053" y="447"/>
                  <a:pt x="2053" y="448"/>
                  <a:pt x="2053" y="448"/>
                </a:cubicBezTo>
                <a:cubicBezTo>
                  <a:pt x="2055" y="450"/>
                  <a:pt x="2065" y="442"/>
                  <a:pt x="2071" y="438"/>
                </a:cubicBezTo>
                <a:cubicBezTo>
                  <a:pt x="2077" y="432"/>
                  <a:pt x="2080" y="430"/>
                  <a:pt x="2082" y="425"/>
                </a:cubicBezTo>
                <a:cubicBezTo>
                  <a:pt x="2084" y="419"/>
                  <a:pt x="2082" y="415"/>
                  <a:pt x="2086" y="410"/>
                </a:cubicBezTo>
                <a:cubicBezTo>
                  <a:pt x="2089" y="407"/>
                  <a:pt x="2091" y="407"/>
                  <a:pt x="2093" y="403"/>
                </a:cubicBezTo>
                <a:cubicBezTo>
                  <a:pt x="2096" y="399"/>
                  <a:pt x="2094" y="398"/>
                  <a:pt x="2096" y="393"/>
                </a:cubicBezTo>
                <a:cubicBezTo>
                  <a:pt x="2098" y="386"/>
                  <a:pt x="2102" y="386"/>
                  <a:pt x="2105" y="380"/>
                </a:cubicBezTo>
                <a:cubicBezTo>
                  <a:pt x="2108" y="373"/>
                  <a:pt x="2106" y="371"/>
                  <a:pt x="2108" y="368"/>
                </a:cubicBezTo>
                <a:cubicBezTo>
                  <a:pt x="2114" y="361"/>
                  <a:pt x="2132" y="372"/>
                  <a:pt x="2138" y="365"/>
                </a:cubicBezTo>
                <a:cubicBezTo>
                  <a:pt x="2141" y="362"/>
                  <a:pt x="2139" y="359"/>
                  <a:pt x="2142" y="356"/>
                </a:cubicBezTo>
                <a:cubicBezTo>
                  <a:pt x="2146" y="351"/>
                  <a:pt x="2157" y="353"/>
                  <a:pt x="2164" y="356"/>
                </a:cubicBezTo>
                <a:cubicBezTo>
                  <a:pt x="2184" y="362"/>
                  <a:pt x="2192" y="368"/>
                  <a:pt x="2209" y="377"/>
                </a:cubicBezTo>
                <a:cubicBezTo>
                  <a:pt x="2219" y="382"/>
                  <a:pt x="2233" y="389"/>
                  <a:pt x="2251" y="394"/>
                </a:cubicBezTo>
                <a:cubicBezTo>
                  <a:pt x="2269" y="399"/>
                  <a:pt x="2275" y="397"/>
                  <a:pt x="2286" y="404"/>
                </a:cubicBezTo>
                <a:cubicBezTo>
                  <a:pt x="2296" y="410"/>
                  <a:pt x="2294" y="413"/>
                  <a:pt x="2308" y="423"/>
                </a:cubicBezTo>
                <a:cubicBezTo>
                  <a:pt x="2315" y="428"/>
                  <a:pt x="2322" y="431"/>
                  <a:pt x="2325" y="439"/>
                </a:cubicBezTo>
                <a:cubicBezTo>
                  <a:pt x="2326" y="443"/>
                  <a:pt x="2325" y="445"/>
                  <a:pt x="2328" y="447"/>
                </a:cubicBezTo>
                <a:cubicBezTo>
                  <a:pt x="2332" y="451"/>
                  <a:pt x="2338" y="446"/>
                  <a:pt x="2350" y="446"/>
                </a:cubicBezTo>
                <a:cubicBezTo>
                  <a:pt x="2360" y="447"/>
                  <a:pt x="2360" y="450"/>
                  <a:pt x="2368" y="450"/>
                </a:cubicBezTo>
                <a:cubicBezTo>
                  <a:pt x="2378" y="450"/>
                  <a:pt x="2386" y="443"/>
                  <a:pt x="2393" y="438"/>
                </a:cubicBezTo>
                <a:cubicBezTo>
                  <a:pt x="2407" y="426"/>
                  <a:pt x="2405" y="420"/>
                  <a:pt x="2417" y="414"/>
                </a:cubicBezTo>
                <a:cubicBezTo>
                  <a:pt x="2424" y="410"/>
                  <a:pt x="2427" y="412"/>
                  <a:pt x="2434" y="407"/>
                </a:cubicBezTo>
                <a:cubicBezTo>
                  <a:pt x="2442" y="401"/>
                  <a:pt x="2441" y="396"/>
                  <a:pt x="2447" y="393"/>
                </a:cubicBezTo>
                <a:cubicBezTo>
                  <a:pt x="2452" y="392"/>
                  <a:pt x="2454" y="394"/>
                  <a:pt x="2470" y="399"/>
                </a:cubicBezTo>
                <a:cubicBezTo>
                  <a:pt x="2482" y="402"/>
                  <a:pt x="2488" y="404"/>
                  <a:pt x="2494" y="404"/>
                </a:cubicBezTo>
                <a:cubicBezTo>
                  <a:pt x="2497" y="403"/>
                  <a:pt x="2505" y="403"/>
                  <a:pt x="2512" y="398"/>
                </a:cubicBezTo>
                <a:cubicBezTo>
                  <a:pt x="2520" y="393"/>
                  <a:pt x="2521" y="387"/>
                  <a:pt x="2528" y="386"/>
                </a:cubicBezTo>
                <a:cubicBezTo>
                  <a:pt x="2529" y="386"/>
                  <a:pt x="2536" y="385"/>
                  <a:pt x="2539" y="388"/>
                </a:cubicBezTo>
                <a:cubicBezTo>
                  <a:pt x="2541" y="391"/>
                  <a:pt x="2540" y="395"/>
                  <a:pt x="2540" y="397"/>
                </a:cubicBezTo>
                <a:cubicBezTo>
                  <a:pt x="2538" y="405"/>
                  <a:pt x="2529" y="414"/>
                  <a:pt x="2522" y="413"/>
                </a:cubicBezTo>
                <a:cubicBezTo>
                  <a:pt x="2518" y="412"/>
                  <a:pt x="2516" y="410"/>
                  <a:pt x="2514" y="411"/>
                </a:cubicBezTo>
                <a:cubicBezTo>
                  <a:pt x="2511" y="412"/>
                  <a:pt x="2509" y="417"/>
                  <a:pt x="2511" y="421"/>
                </a:cubicBezTo>
                <a:cubicBezTo>
                  <a:pt x="2513" y="424"/>
                  <a:pt x="2516" y="424"/>
                  <a:pt x="2518" y="427"/>
                </a:cubicBezTo>
                <a:cubicBezTo>
                  <a:pt x="2521" y="431"/>
                  <a:pt x="2517" y="437"/>
                  <a:pt x="2516" y="443"/>
                </a:cubicBezTo>
                <a:cubicBezTo>
                  <a:pt x="2514" y="451"/>
                  <a:pt x="2517" y="453"/>
                  <a:pt x="2522" y="468"/>
                </a:cubicBezTo>
                <a:cubicBezTo>
                  <a:pt x="2525" y="480"/>
                  <a:pt x="2529" y="497"/>
                  <a:pt x="2527" y="514"/>
                </a:cubicBezTo>
                <a:cubicBezTo>
                  <a:pt x="2526" y="518"/>
                  <a:pt x="2525" y="524"/>
                  <a:pt x="2522" y="528"/>
                </a:cubicBezTo>
                <a:cubicBezTo>
                  <a:pt x="2518" y="533"/>
                  <a:pt x="2514" y="534"/>
                  <a:pt x="2510" y="536"/>
                </a:cubicBezTo>
                <a:cubicBezTo>
                  <a:pt x="2500" y="541"/>
                  <a:pt x="2502" y="542"/>
                  <a:pt x="2482" y="556"/>
                </a:cubicBezTo>
                <a:cubicBezTo>
                  <a:pt x="2466" y="567"/>
                  <a:pt x="2468" y="564"/>
                  <a:pt x="2461" y="570"/>
                </a:cubicBezTo>
                <a:cubicBezTo>
                  <a:pt x="2452" y="578"/>
                  <a:pt x="2442" y="585"/>
                  <a:pt x="2434" y="598"/>
                </a:cubicBezTo>
                <a:cubicBezTo>
                  <a:pt x="2430" y="602"/>
                  <a:pt x="2427" y="608"/>
                  <a:pt x="2421" y="609"/>
                </a:cubicBezTo>
                <a:cubicBezTo>
                  <a:pt x="2418" y="609"/>
                  <a:pt x="2416" y="607"/>
                  <a:pt x="2410" y="608"/>
                </a:cubicBezTo>
                <a:cubicBezTo>
                  <a:pt x="2404" y="608"/>
                  <a:pt x="2403" y="610"/>
                  <a:pt x="2399" y="609"/>
                </a:cubicBezTo>
                <a:cubicBezTo>
                  <a:pt x="2393" y="608"/>
                  <a:pt x="2391" y="599"/>
                  <a:pt x="2388" y="600"/>
                </a:cubicBezTo>
                <a:cubicBezTo>
                  <a:pt x="2387" y="600"/>
                  <a:pt x="2386" y="602"/>
                  <a:pt x="2385" y="606"/>
                </a:cubicBezTo>
                <a:cubicBezTo>
                  <a:pt x="2383" y="612"/>
                  <a:pt x="2381" y="617"/>
                  <a:pt x="2381" y="618"/>
                </a:cubicBezTo>
                <a:cubicBezTo>
                  <a:pt x="2377" y="627"/>
                  <a:pt x="2367" y="625"/>
                  <a:pt x="2362" y="633"/>
                </a:cubicBezTo>
                <a:cubicBezTo>
                  <a:pt x="2358" y="641"/>
                  <a:pt x="2363" y="651"/>
                  <a:pt x="2365" y="655"/>
                </a:cubicBezTo>
                <a:cubicBezTo>
                  <a:pt x="2366" y="658"/>
                  <a:pt x="2372" y="669"/>
                  <a:pt x="2383" y="672"/>
                </a:cubicBezTo>
                <a:cubicBezTo>
                  <a:pt x="2390" y="675"/>
                  <a:pt x="2392" y="671"/>
                  <a:pt x="2404" y="672"/>
                </a:cubicBezTo>
                <a:cubicBezTo>
                  <a:pt x="2412" y="673"/>
                  <a:pt x="2422" y="674"/>
                  <a:pt x="2425" y="681"/>
                </a:cubicBezTo>
                <a:cubicBezTo>
                  <a:pt x="2428" y="686"/>
                  <a:pt x="2425" y="695"/>
                  <a:pt x="2420" y="700"/>
                </a:cubicBezTo>
                <a:cubicBezTo>
                  <a:pt x="2416" y="704"/>
                  <a:pt x="2413" y="703"/>
                  <a:pt x="2411" y="707"/>
                </a:cubicBezTo>
                <a:cubicBezTo>
                  <a:pt x="2408" y="712"/>
                  <a:pt x="2414" y="716"/>
                  <a:pt x="2413" y="723"/>
                </a:cubicBezTo>
                <a:cubicBezTo>
                  <a:pt x="2412" y="732"/>
                  <a:pt x="2402" y="739"/>
                  <a:pt x="2395" y="741"/>
                </a:cubicBezTo>
                <a:cubicBezTo>
                  <a:pt x="2382" y="746"/>
                  <a:pt x="2372" y="739"/>
                  <a:pt x="2368" y="745"/>
                </a:cubicBezTo>
                <a:cubicBezTo>
                  <a:pt x="2367" y="747"/>
                  <a:pt x="2367" y="749"/>
                  <a:pt x="2368" y="751"/>
                </a:cubicBezTo>
                <a:cubicBezTo>
                  <a:pt x="2372" y="759"/>
                  <a:pt x="2394" y="753"/>
                  <a:pt x="2396" y="753"/>
                </a:cubicBezTo>
                <a:cubicBezTo>
                  <a:pt x="2403" y="751"/>
                  <a:pt x="2412" y="748"/>
                  <a:pt x="2418" y="740"/>
                </a:cubicBezTo>
                <a:cubicBezTo>
                  <a:pt x="2422" y="735"/>
                  <a:pt x="2424" y="730"/>
                  <a:pt x="2426" y="730"/>
                </a:cubicBezTo>
                <a:cubicBezTo>
                  <a:pt x="2428" y="730"/>
                  <a:pt x="2428" y="735"/>
                  <a:pt x="2432" y="740"/>
                </a:cubicBezTo>
                <a:cubicBezTo>
                  <a:pt x="2438" y="747"/>
                  <a:pt x="2448" y="747"/>
                  <a:pt x="2449" y="747"/>
                </a:cubicBezTo>
                <a:cubicBezTo>
                  <a:pt x="2458" y="747"/>
                  <a:pt x="2467" y="743"/>
                  <a:pt x="2467" y="739"/>
                </a:cubicBezTo>
                <a:cubicBezTo>
                  <a:pt x="2467" y="736"/>
                  <a:pt x="2462" y="736"/>
                  <a:pt x="2449" y="729"/>
                </a:cubicBezTo>
                <a:cubicBezTo>
                  <a:pt x="2436" y="723"/>
                  <a:pt x="2434" y="720"/>
                  <a:pt x="2434" y="718"/>
                </a:cubicBezTo>
                <a:cubicBezTo>
                  <a:pt x="2434" y="714"/>
                  <a:pt x="2441" y="712"/>
                  <a:pt x="2441" y="708"/>
                </a:cubicBezTo>
                <a:cubicBezTo>
                  <a:pt x="2440" y="706"/>
                  <a:pt x="2437" y="705"/>
                  <a:pt x="2437" y="703"/>
                </a:cubicBezTo>
                <a:cubicBezTo>
                  <a:pt x="2437" y="699"/>
                  <a:pt x="2444" y="697"/>
                  <a:pt x="2448" y="695"/>
                </a:cubicBezTo>
                <a:cubicBezTo>
                  <a:pt x="2460" y="691"/>
                  <a:pt x="2460" y="688"/>
                  <a:pt x="2474" y="679"/>
                </a:cubicBezTo>
                <a:cubicBezTo>
                  <a:pt x="2486" y="673"/>
                  <a:pt x="2497" y="666"/>
                  <a:pt x="2511" y="665"/>
                </a:cubicBezTo>
                <a:cubicBezTo>
                  <a:pt x="2529" y="663"/>
                  <a:pt x="2533" y="670"/>
                  <a:pt x="2548" y="665"/>
                </a:cubicBezTo>
                <a:cubicBezTo>
                  <a:pt x="2557" y="661"/>
                  <a:pt x="2562" y="656"/>
                  <a:pt x="2567" y="659"/>
                </a:cubicBezTo>
                <a:cubicBezTo>
                  <a:pt x="2571" y="661"/>
                  <a:pt x="2569" y="667"/>
                  <a:pt x="2575" y="675"/>
                </a:cubicBezTo>
                <a:cubicBezTo>
                  <a:pt x="2576" y="676"/>
                  <a:pt x="2583" y="686"/>
                  <a:pt x="2590" y="685"/>
                </a:cubicBezTo>
                <a:cubicBezTo>
                  <a:pt x="2596" y="684"/>
                  <a:pt x="2598" y="678"/>
                  <a:pt x="2601" y="679"/>
                </a:cubicBezTo>
                <a:cubicBezTo>
                  <a:pt x="2604" y="680"/>
                  <a:pt x="2604" y="686"/>
                  <a:pt x="2603" y="692"/>
                </a:cubicBezTo>
                <a:cubicBezTo>
                  <a:pt x="2602" y="701"/>
                  <a:pt x="2597" y="702"/>
                  <a:pt x="2597" y="708"/>
                </a:cubicBezTo>
                <a:cubicBezTo>
                  <a:pt x="2597" y="714"/>
                  <a:pt x="2603" y="722"/>
                  <a:pt x="2611" y="723"/>
                </a:cubicBezTo>
                <a:cubicBezTo>
                  <a:pt x="2621" y="726"/>
                  <a:pt x="2630" y="718"/>
                  <a:pt x="2634" y="711"/>
                </a:cubicBezTo>
                <a:cubicBezTo>
                  <a:pt x="2637" y="706"/>
                  <a:pt x="2637" y="701"/>
                  <a:pt x="2639" y="701"/>
                </a:cubicBezTo>
                <a:cubicBezTo>
                  <a:pt x="2642" y="700"/>
                  <a:pt x="2643" y="712"/>
                  <a:pt x="2650" y="715"/>
                </a:cubicBezTo>
                <a:cubicBezTo>
                  <a:pt x="2658" y="718"/>
                  <a:pt x="2664" y="711"/>
                  <a:pt x="2669" y="714"/>
                </a:cubicBezTo>
                <a:cubicBezTo>
                  <a:pt x="2674" y="717"/>
                  <a:pt x="2670" y="724"/>
                  <a:pt x="2675" y="729"/>
                </a:cubicBezTo>
                <a:cubicBezTo>
                  <a:pt x="2681" y="734"/>
                  <a:pt x="2688" y="730"/>
                  <a:pt x="2691" y="735"/>
                </a:cubicBezTo>
                <a:cubicBezTo>
                  <a:pt x="2693" y="739"/>
                  <a:pt x="2691" y="743"/>
                  <a:pt x="2693" y="745"/>
                </a:cubicBezTo>
                <a:cubicBezTo>
                  <a:pt x="2695" y="746"/>
                  <a:pt x="2699" y="746"/>
                  <a:pt x="2700" y="744"/>
                </a:cubicBezTo>
                <a:cubicBezTo>
                  <a:pt x="2702" y="741"/>
                  <a:pt x="2696" y="737"/>
                  <a:pt x="2697" y="732"/>
                </a:cubicBezTo>
                <a:cubicBezTo>
                  <a:pt x="2699" y="729"/>
                  <a:pt x="2703" y="730"/>
                  <a:pt x="2708" y="725"/>
                </a:cubicBezTo>
                <a:cubicBezTo>
                  <a:pt x="2712" y="721"/>
                  <a:pt x="2713" y="714"/>
                  <a:pt x="2713" y="710"/>
                </a:cubicBezTo>
                <a:cubicBezTo>
                  <a:pt x="2714" y="700"/>
                  <a:pt x="2711" y="698"/>
                  <a:pt x="2714" y="694"/>
                </a:cubicBezTo>
                <a:cubicBezTo>
                  <a:pt x="2716" y="689"/>
                  <a:pt x="2722" y="689"/>
                  <a:pt x="2723" y="684"/>
                </a:cubicBezTo>
                <a:cubicBezTo>
                  <a:pt x="2724" y="681"/>
                  <a:pt x="2721" y="680"/>
                  <a:pt x="2722" y="676"/>
                </a:cubicBezTo>
                <a:cubicBezTo>
                  <a:pt x="2722" y="672"/>
                  <a:pt x="2725" y="670"/>
                  <a:pt x="2730" y="666"/>
                </a:cubicBezTo>
                <a:cubicBezTo>
                  <a:pt x="2734" y="662"/>
                  <a:pt x="2735" y="662"/>
                  <a:pt x="2736" y="660"/>
                </a:cubicBezTo>
                <a:cubicBezTo>
                  <a:pt x="2738" y="655"/>
                  <a:pt x="2734" y="650"/>
                  <a:pt x="2736" y="649"/>
                </a:cubicBezTo>
                <a:cubicBezTo>
                  <a:pt x="2738" y="647"/>
                  <a:pt x="2742" y="652"/>
                  <a:pt x="2748" y="651"/>
                </a:cubicBezTo>
                <a:cubicBezTo>
                  <a:pt x="2754" y="651"/>
                  <a:pt x="2759" y="646"/>
                  <a:pt x="2761" y="641"/>
                </a:cubicBezTo>
                <a:cubicBezTo>
                  <a:pt x="2762" y="635"/>
                  <a:pt x="2758" y="632"/>
                  <a:pt x="2760" y="628"/>
                </a:cubicBezTo>
                <a:cubicBezTo>
                  <a:pt x="2762" y="623"/>
                  <a:pt x="2767" y="625"/>
                  <a:pt x="2774" y="620"/>
                </a:cubicBezTo>
                <a:cubicBezTo>
                  <a:pt x="2775" y="619"/>
                  <a:pt x="2785" y="612"/>
                  <a:pt x="2783" y="606"/>
                </a:cubicBezTo>
                <a:cubicBezTo>
                  <a:pt x="2782" y="601"/>
                  <a:pt x="2777" y="600"/>
                  <a:pt x="2776" y="596"/>
                </a:cubicBezTo>
                <a:cubicBezTo>
                  <a:pt x="2775" y="591"/>
                  <a:pt x="2780" y="587"/>
                  <a:pt x="2784" y="583"/>
                </a:cubicBezTo>
                <a:cubicBezTo>
                  <a:pt x="2798" y="570"/>
                  <a:pt x="2805" y="563"/>
                  <a:pt x="2812" y="561"/>
                </a:cubicBezTo>
                <a:cubicBezTo>
                  <a:pt x="2826" y="555"/>
                  <a:pt x="2839" y="558"/>
                  <a:pt x="2858" y="561"/>
                </a:cubicBezTo>
                <a:cubicBezTo>
                  <a:pt x="2876" y="565"/>
                  <a:pt x="2874" y="568"/>
                  <a:pt x="2885" y="568"/>
                </a:cubicBezTo>
                <a:cubicBezTo>
                  <a:pt x="2894" y="568"/>
                  <a:pt x="2898" y="566"/>
                  <a:pt x="2930" y="554"/>
                </a:cubicBezTo>
                <a:cubicBezTo>
                  <a:pt x="2958" y="544"/>
                  <a:pt x="2961" y="544"/>
                  <a:pt x="2964" y="544"/>
                </a:cubicBezTo>
                <a:cubicBezTo>
                  <a:pt x="2975" y="544"/>
                  <a:pt x="2981" y="548"/>
                  <a:pt x="2992" y="544"/>
                </a:cubicBezTo>
                <a:cubicBezTo>
                  <a:pt x="2997" y="542"/>
                  <a:pt x="3001" y="539"/>
                  <a:pt x="3003" y="541"/>
                </a:cubicBezTo>
                <a:cubicBezTo>
                  <a:pt x="3007" y="543"/>
                  <a:pt x="3006" y="551"/>
                  <a:pt x="3005" y="556"/>
                </a:cubicBezTo>
                <a:cubicBezTo>
                  <a:pt x="3004" y="564"/>
                  <a:pt x="3002" y="566"/>
                  <a:pt x="3000" y="572"/>
                </a:cubicBezTo>
                <a:cubicBezTo>
                  <a:pt x="3000" y="575"/>
                  <a:pt x="2998" y="585"/>
                  <a:pt x="3004" y="595"/>
                </a:cubicBezTo>
                <a:cubicBezTo>
                  <a:pt x="3009" y="603"/>
                  <a:pt x="3019" y="607"/>
                  <a:pt x="3027" y="607"/>
                </a:cubicBezTo>
                <a:cubicBezTo>
                  <a:pt x="3031" y="607"/>
                  <a:pt x="3036" y="606"/>
                  <a:pt x="3036" y="605"/>
                </a:cubicBezTo>
                <a:cubicBezTo>
                  <a:pt x="3036" y="603"/>
                  <a:pt x="3027" y="603"/>
                  <a:pt x="3020" y="597"/>
                </a:cubicBezTo>
                <a:cubicBezTo>
                  <a:pt x="3014" y="591"/>
                  <a:pt x="3013" y="584"/>
                  <a:pt x="3013" y="582"/>
                </a:cubicBezTo>
                <a:cubicBezTo>
                  <a:pt x="3012" y="579"/>
                  <a:pt x="3011" y="571"/>
                  <a:pt x="3016" y="565"/>
                </a:cubicBezTo>
                <a:cubicBezTo>
                  <a:pt x="3020" y="560"/>
                  <a:pt x="3026" y="561"/>
                  <a:pt x="3028" y="556"/>
                </a:cubicBezTo>
                <a:cubicBezTo>
                  <a:pt x="3030" y="553"/>
                  <a:pt x="3031" y="549"/>
                  <a:pt x="3029" y="547"/>
                </a:cubicBezTo>
                <a:cubicBezTo>
                  <a:pt x="3026" y="543"/>
                  <a:pt x="3020" y="545"/>
                  <a:pt x="3019" y="543"/>
                </a:cubicBezTo>
                <a:cubicBezTo>
                  <a:pt x="3018" y="540"/>
                  <a:pt x="3025" y="536"/>
                  <a:pt x="3031" y="531"/>
                </a:cubicBezTo>
                <a:cubicBezTo>
                  <a:pt x="3040" y="521"/>
                  <a:pt x="3039" y="516"/>
                  <a:pt x="3046" y="507"/>
                </a:cubicBezTo>
                <a:cubicBezTo>
                  <a:pt x="3052" y="499"/>
                  <a:pt x="3058" y="495"/>
                  <a:pt x="3070" y="487"/>
                </a:cubicBezTo>
                <a:cubicBezTo>
                  <a:pt x="3091" y="475"/>
                  <a:pt x="3095" y="479"/>
                  <a:pt x="3109" y="468"/>
                </a:cubicBezTo>
                <a:cubicBezTo>
                  <a:pt x="3114" y="465"/>
                  <a:pt x="3125" y="457"/>
                  <a:pt x="3133" y="443"/>
                </a:cubicBezTo>
                <a:cubicBezTo>
                  <a:pt x="3140" y="432"/>
                  <a:pt x="3138" y="429"/>
                  <a:pt x="3146" y="417"/>
                </a:cubicBezTo>
                <a:cubicBezTo>
                  <a:pt x="3148" y="413"/>
                  <a:pt x="3149" y="411"/>
                  <a:pt x="3164" y="393"/>
                </a:cubicBezTo>
                <a:cubicBezTo>
                  <a:pt x="3184" y="369"/>
                  <a:pt x="3183" y="370"/>
                  <a:pt x="3185" y="368"/>
                </a:cubicBezTo>
                <a:cubicBezTo>
                  <a:pt x="3192" y="355"/>
                  <a:pt x="3190" y="349"/>
                  <a:pt x="3200" y="333"/>
                </a:cubicBezTo>
                <a:cubicBezTo>
                  <a:pt x="3205" y="324"/>
                  <a:pt x="3209" y="320"/>
                  <a:pt x="3213" y="320"/>
                </a:cubicBezTo>
                <a:cubicBezTo>
                  <a:pt x="3217" y="320"/>
                  <a:pt x="3221" y="322"/>
                  <a:pt x="3221" y="324"/>
                </a:cubicBezTo>
                <a:cubicBezTo>
                  <a:pt x="3221" y="327"/>
                  <a:pt x="3216" y="327"/>
                  <a:pt x="3216" y="330"/>
                </a:cubicBezTo>
                <a:cubicBezTo>
                  <a:pt x="3215" y="334"/>
                  <a:pt x="3225" y="339"/>
                  <a:pt x="3225" y="339"/>
                </a:cubicBezTo>
                <a:cubicBezTo>
                  <a:pt x="3244" y="349"/>
                  <a:pt x="3271" y="347"/>
                  <a:pt x="3291" y="347"/>
                </a:cubicBezTo>
                <a:cubicBezTo>
                  <a:pt x="3307" y="347"/>
                  <a:pt x="3321" y="350"/>
                  <a:pt x="3343" y="349"/>
                </a:cubicBezTo>
                <a:cubicBezTo>
                  <a:pt x="3355" y="348"/>
                  <a:pt x="3376" y="348"/>
                  <a:pt x="3401" y="347"/>
                </a:cubicBezTo>
                <a:cubicBezTo>
                  <a:pt x="3402" y="347"/>
                  <a:pt x="3403" y="349"/>
                  <a:pt x="3405" y="350"/>
                </a:cubicBezTo>
                <a:cubicBezTo>
                  <a:pt x="3408" y="351"/>
                  <a:pt x="3411" y="348"/>
                  <a:pt x="3416" y="348"/>
                </a:cubicBezTo>
                <a:cubicBezTo>
                  <a:pt x="3420" y="347"/>
                  <a:pt x="3424" y="348"/>
                  <a:pt x="3425" y="350"/>
                </a:cubicBezTo>
                <a:cubicBezTo>
                  <a:pt x="3425" y="351"/>
                  <a:pt x="3418" y="353"/>
                  <a:pt x="3409" y="359"/>
                </a:cubicBezTo>
                <a:cubicBezTo>
                  <a:pt x="3404" y="364"/>
                  <a:pt x="3403" y="366"/>
                  <a:pt x="3398" y="367"/>
                </a:cubicBezTo>
                <a:cubicBezTo>
                  <a:pt x="3393" y="369"/>
                  <a:pt x="3388" y="368"/>
                  <a:pt x="3387" y="368"/>
                </a:cubicBezTo>
                <a:cubicBezTo>
                  <a:pt x="3380" y="367"/>
                  <a:pt x="3380" y="365"/>
                  <a:pt x="3373" y="364"/>
                </a:cubicBezTo>
                <a:cubicBezTo>
                  <a:pt x="3372" y="364"/>
                  <a:pt x="3368" y="364"/>
                  <a:pt x="3364" y="365"/>
                </a:cubicBezTo>
                <a:cubicBezTo>
                  <a:pt x="3357" y="368"/>
                  <a:pt x="3357" y="373"/>
                  <a:pt x="3352" y="373"/>
                </a:cubicBezTo>
                <a:cubicBezTo>
                  <a:pt x="3347" y="374"/>
                  <a:pt x="3346" y="368"/>
                  <a:pt x="3339" y="368"/>
                </a:cubicBezTo>
                <a:cubicBezTo>
                  <a:pt x="3333" y="368"/>
                  <a:pt x="3333" y="372"/>
                  <a:pt x="3327" y="372"/>
                </a:cubicBezTo>
                <a:cubicBezTo>
                  <a:pt x="3323" y="372"/>
                  <a:pt x="3323" y="369"/>
                  <a:pt x="3314" y="365"/>
                </a:cubicBezTo>
                <a:cubicBezTo>
                  <a:pt x="3310" y="363"/>
                  <a:pt x="3308" y="362"/>
                  <a:pt x="3305" y="361"/>
                </a:cubicBezTo>
                <a:cubicBezTo>
                  <a:pt x="3302" y="360"/>
                  <a:pt x="3292" y="358"/>
                  <a:pt x="3287" y="363"/>
                </a:cubicBezTo>
                <a:cubicBezTo>
                  <a:pt x="3283" y="366"/>
                  <a:pt x="3284" y="373"/>
                  <a:pt x="3281" y="373"/>
                </a:cubicBezTo>
                <a:cubicBezTo>
                  <a:pt x="3279" y="374"/>
                  <a:pt x="3278" y="367"/>
                  <a:pt x="3273" y="365"/>
                </a:cubicBezTo>
                <a:cubicBezTo>
                  <a:pt x="3272" y="365"/>
                  <a:pt x="3270" y="365"/>
                  <a:pt x="3264" y="367"/>
                </a:cubicBezTo>
                <a:cubicBezTo>
                  <a:pt x="3256" y="369"/>
                  <a:pt x="3248" y="372"/>
                  <a:pt x="3247" y="377"/>
                </a:cubicBezTo>
                <a:cubicBezTo>
                  <a:pt x="3247" y="379"/>
                  <a:pt x="3249" y="380"/>
                  <a:pt x="3248" y="383"/>
                </a:cubicBezTo>
                <a:cubicBezTo>
                  <a:pt x="3247" y="387"/>
                  <a:pt x="3239" y="387"/>
                  <a:pt x="3236" y="387"/>
                </a:cubicBezTo>
                <a:cubicBezTo>
                  <a:pt x="3229" y="388"/>
                  <a:pt x="3229" y="385"/>
                  <a:pt x="3225" y="387"/>
                </a:cubicBezTo>
                <a:cubicBezTo>
                  <a:pt x="3218" y="389"/>
                  <a:pt x="3218" y="400"/>
                  <a:pt x="3214" y="400"/>
                </a:cubicBezTo>
                <a:cubicBezTo>
                  <a:pt x="3211" y="400"/>
                  <a:pt x="3211" y="395"/>
                  <a:pt x="3206" y="393"/>
                </a:cubicBezTo>
                <a:cubicBezTo>
                  <a:pt x="3203" y="391"/>
                  <a:pt x="3199" y="392"/>
                  <a:pt x="3191" y="394"/>
                </a:cubicBezTo>
                <a:cubicBezTo>
                  <a:pt x="3184" y="395"/>
                  <a:pt x="3180" y="396"/>
                  <a:pt x="3178" y="398"/>
                </a:cubicBezTo>
                <a:cubicBezTo>
                  <a:pt x="3176" y="398"/>
                  <a:pt x="3170" y="402"/>
                  <a:pt x="3167" y="410"/>
                </a:cubicBezTo>
                <a:cubicBezTo>
                  <a:pt x="3165" y="417"/>
                  <a:pt x="3168" y="421"/>
                  <a:pt x="3165" y="423"/>
                </a:cubicBezTo>
                <a:cubicBezTo>
                  <a:pt x="3162" y="426"/>
                  <a:pt x="3158" y="422"/>
                  <a:pt x="3155" y="424"/>
                </a:cubicBezTo>
                <a:cubicBezTo>
                  <a:pt x="3152" y="427"/>
                  <a:pt x="3156" y="431"/>
                  <a:pt x="3153" y="436"/>
                </a:cubicBezTo>
                <a:cubicBezTo>
                  <a:pt x="3151" y="441"/>
                  <a:pt x="3147" y="439"/>
                  <a:pt x="3143" y="445"/>
                </a:cubicBezTo>
                <a:cubicBezTo>
                  <a:pt x="3142" y="445"/>
                  <a:pt x="3137" y="453"/>
                  <a:pt x="3139" y="458"/>
                </a:cubicBezTo>
                <a:cubicBezTo>
                  <a:pt x="3141" y="462"/>
                  <a:pt x="3146" y="462"/>
                  <a:pt x="3147" y="465"/>
                </a:cubicBezTo>
                <a:cubicBezTo>
                  <a:pt x="3147" y="468"/>
                  <a:pt x="3139" y="470"/>
                  <a:pt x="3138" y="474"/>
                </a:cubicBezTo>
                <a:cubicBezTo>
                  <a:pt x="3138" y="478"/>
                  <a:pt x="3145" y="482"/>
                  <a:pt x="3149" y="485"/>
                </a:cubicBezTo>
                <a:cubicBezTo>
                  <a:pt x="3159" y="490"/>
                  <a:pt x="3167" y="491"/>
                  <a:pt x="3175" y="492"/>
                </a:cubicBezTo>
                <a:cubicBezTo>
                  <a:pt x="3177" y="493"/>
                  <a:pt x="3189" y="494"/>
                  <a:pt x="3189" y="492"/>
                </a:cubicBezTo>
                <a:cubicBezTo>
                  <a:pt x="3190" y="491"/>
                  <a:pt x="3179" y="486"/>
                  <a:pt x="3173" y="483"/>
                </a:cubicBezTo>
                <a:cubicBezTo>
                  <a:pt x="3168" y="481"/>
                  <a:pt x="3165" y="481"/>
                  <a:pt x="3164" y="478"/>
                </a:cubicBezTo>
                <a:cubicBezTo>
                  <a:pt x="3161" y="474"/>
                  <a:pt x="3162" y="468"/>
                  <a:pt x="3165" y="463"/>
                </a:cubicBezTo>
                <a:cubicBezTo>
                  <a:pt x="3168" y="460"/>
                  <a:pt x="3170" y="460"/>
                  <a:pt x="3183" y="453"/>
                </a:cubicBezTo>
                <a:cubicBezTo>
                  <a:pt x="3190" y="449"/>
                  <a:pt x="3191" y="448"/>
                  <a:pt x="3192" y="446"/>
                </a:cubicBezTo>
                <a:cubicBezTo>
                  <a:pt x="3194" y="441"/>
                  <a:pt x="3188" y="437"/>
                  <a:pt x="3190" y="433"/>
                </a:cubicBezTo>
                <a:cubicBezTo>
                  <a:pt x="3191" y="431"/>
                  <a:pt x="3194" y="431"/>
                  <a:pt x="3204" y="430"/>
                </a:cubicBezTo>
                <a:cubicBezTo>
                  <a:pt x="3218" y="429"/>
                  <a:pt x="3221" y="429"/>
                  <a:pt x="3222" y="427"/>
                </a:cubicBezTo>
                <a:cubicBezTo>
                  <a:pt x="3224" y="423"/>
                  <a:pt x="3220" y="420"/>
                  <a:pt x="3223" y="416"/>
                </a:cubicBezTo>
                <a:cubicBezTo>
                  <a:pt x="3225" y="413"/>
                  <a:pt x="3229" y="413"/>
                  <a:pt x="3230" y="411"/>
                </a:cubicBezTo>
                <a:cubicBezTo>
                  <a:pt x="3230" y="409"/>
                  <a:pt x="3227" y="408"/>
                  <a:pt x="3227" y="405"/>
                </a:cubicBezTo>
                <a:cubicBezTo>
                  <a:pt x="3227" y="403"/>
                  <a:pt x="3232" y="400"/>
                  <a:pt x="3235" y="401"/>
                </a:cubicBezTo>
                <a:cubicBezTo>
                  <a:pt x="3237" y="402"/>
                  <a:pt x="3236" y="406"/>
                  <a:pt x="3239" y="409"/>
                </a:cubicBezTo>
                <a:cubicBezTo>
                  <a:pt x="3242" y="411"/>
                  <a:pt x="3245" y="411"/>
                  <a:pt x="3246" y="411"/>
                </a:cubicBezTo>
                <a:cubicBezTo>
                  <a:pt x="3250" y="411"/>
                  <a:pt x="3252" y="407"/>
                  <a:pt x="3258" y="402"/>
                </a:cubicBezTo>
                <a:cubicBezTo>
                  <a:pt x="3265" y="397"/>
                  <a:pt x="3266" y="399"/>
                  <a:pt x="3275" y="392"/>
                </a:cubicBezTo>
                <a:cubicBezTo>
                  <a:pt x="3281" y="387"/>
                  <a:pt x="3283" y="385"/>
                  <a:pt x="3283" y="385"/>
                </a:cubicBezTo>
                <a:cubicBezTo>
                  <a:pt x="3288" y="381"/>
                  <a:pt x="3289" y="379"/>
                  <a:pt x="3291" y="380"/>
                </a:cubicBezTo>
                <a:cubicBezTo>
                  <a:pt x="3293" y="380"/>
                  <a:pt x="3291" y="387"/>
                  <a:pt x="3294" y="391"/>
                </a:cubicBezTo>
                <a:cubicBezTo>
                  <a:pt x="3296" y="393"/>
                  <a:pt x="3299" y="395"/>
                  <a:pt x="3301" y="394"/>
                </a:cubicBezTo>
                <a:cubicBezTo>
                  <a:pt x="3303" y="393"/>
                  <a:pt x="3303" y="388"/>
                  <a:pt x="3305" y="388"/>
                </a:cubicBezTo>
                <a:cubicBezTo>
                  <a:pt x="3306" y="388"/>
                  <a:pt x="3307" y="394"/>
                  <a:pt x="3312" y="398"/>
                </a:cubicBezTo>
                <a:cubicBezTo>
                  <a:pt x="3314" y="400"/>
                  <a:pt x="3318" y="401"/>
                  <a:pt x="3321" y="400"/>
                </a:cubicBezTo>
                <a:cubicBezTo>
                  <a:pt x="3323" y="398"/>
                  <a:pt x="3322" y="395"/>
                  <a:pt x="3324" y="395"/>
                </a:cubicBezTo>
                <a:cubicBezTo>
                  <a:pt x="3327" y="394"/>
                  <a:pt x="3330" y="401"/>
                  <a:pt x="3333" y="400"/>
                </a:cubicBezTo>
                <a:cubicBezTo>
                  <a:pt x="3336" y="400"/>
                  <a:pt x="3336" y="391"/>
                  <a:pt x="3339" y="391"/>
                </a:cubicBezTo>
                <a:cubicBezTo>
                  <a:pt x="3343" y="390"/>
                  <a:pt x="3348" y="396"/>
                  <a:pt x="3350" y="402"/>
                </a:cubicBezTo>
                <a:cubicBezTo>
                  <a:pt x="3353" y="410"/>
                  <a:pt x="3349" y="415"/>
                  <a:pt x="3352" y="418"/>
                </a:cubicBezTo>
                <a:cubicBezTo>
                  <a:pt x="3356" y="421"/>
                  <a:pt x="3363" y="419"/>
                  <a:pt x="3368" y="417"/>
                </a:cubicBezTo>
                <a:cubicBezTo>
                  <a:pt x="3373" y="415"/>
                  <a:pt x="3377" y="412"/>
                  <a:pt x="3381" y="409"/>
                </a:cubicBezTo>
                <a:cubicBezTo>
                  <a:pt x="3386" y="405"/>
                  <a:pt x="3389" y="403"/>
                  <a:pt x="3391" y="400"/>
                </a:cubicBezTo>
                <a:cubicBezTo>
                  <a:pt x="3393" y="396"/>
                  <a:pt x="3391" y="394"/>
                  <a:pt x="3393" y="389"/>
                </a:cubicBezTo>
                <a:cubicBezTo>
                  <a:pt x="3395" y="384"/>
                  <a:pt x="3399" y="382"/>
                  <a:pt x="3405" y="377"/>
                </a:cubicBezTo>
                <a:cubicBezTo>
                  <a:pt x="3408" y="376"/>
                  <a:pt x="3415" y="372"/>
                  <a:pt x="3424" y="369"/>
                </a:cubicBezTo>
                <a:cubicBezTo>
                  <a:pt x="3431" y="367"/>
                  <a:pt x="3433" y="369"/>
                  <a:pt x="3437" y="366"/>
                </a:cubicBezTo>
                <a:cubicBezTo>
                  <a:pt x="3441" y="364"/>
                  <a:pt x="3441" y="362"/>
                  <a:pt x="3448" y="358"/>
                </a:cubicBezTo>
                <a:cubicBezTo>
                  <a:pt x="3453" y="354"/>
                  <a:pt x="3455" y="353"/>
                  <a:pt x="3456" y="354"/>
                </a:cubicBezTo>
                <a:cubicBezTo>
                  <a:pt x="3459" y="354"/>
                  <a:pt x="3461" y="357"/>
                  <a:pt x="3461" y="360"/>
                </a:cubicBezTo>
                <a:cubicBezTo>
                  <a:pt x="3461" y="365"/>
                  <a:pt x="3454" y="365"/>
                  <a:pt x="3453" y="370"/>
                </a:cubicBezTo>
                <a:cubicBezTo>
                  <a:pt x="3451" y="375"/>
                  <a:pt x="3456" y="380"/>
                  <a:pt x="3459" y="384"/>
                </a:cubicBezTo>
                <a:cubicBezTo>
                  <a:pt x="3460" y="386"/>
                  <a:pt x="3467" y="394"/>
                  <a:pt x="3475" y="394"/>
                </a:cubicBezTo>
                <a:cubicBezTo>
                  <a:pt x="3479" y="394"/>
                  <a:pt x="3479" y="392"/>
                  <a:pt x="3482" y="393"/>
                </a:cubicBezTo>
                <a:cubicBezTo>
                  <a:pt x="3487" y="394"/>
                  <a:pt x="3492" y="400"/>
                  <a:pt x="3491" y="404"/>
                </a:cubicBezTo>
                <a:cubicBezTo>
                  <a:pt x="3490" y="409"/>
                  <a:pt x="3486" y="409"/>
                  <a:pt x="3483" y="415"/>
                </a:cubicBezTo>
                <a:cubicBezTo>
                  <a:pt x="3480" y="421"/>
                  <a:pt x="3482" y="427"/>
                  <a:pt x="3482" y="428"/>
                </a:cubicBezTo>
                <a:cubicBezTo>
                  <a:pt x="3483" y="434"/>
                  <a:pt x="3488" y="440"/>
                  <a:pt x="3494" y="441"/>
                </a:cubicBezTo>
                <a:cubicBezTo>
                  <a:pt x="3498" y="443"/>
                  <a:pt x="3502" y="442"/>
                  <a:pt x="3503" y="445"/>
                </a:cubicBezTo>
                <a:cubicBezTo>
                  <a:pt x="3504" y="446"/>
                  <a:pt x="3505" y="448"/>
                  <a:pt x="3504" y="449"/>
                </a:cubicBezTo>
                <a:cubicBezTo>
                  <a:pt x="3503" y="452"/>
                  <a:pt x="3499" y="451"/>
                  <a:pt x="3497" y="454"/>
                </a:cubicBezTo>
                <a:cubicBezTo>
                  <a:pt x="3494" y="457"/>
                  <a:pt x="3496" y="463"/>
                  <a:pt x="3497" y="465"/>
                </a:cubicBezTo>
                <a:cubicBezTo>
                  <a:pt x="3498" y="467"/>
                  <a:pt x="3500" y="472"/>
                  <a:pt x="3505" y="474"/>
                </a:cubicBezTo>
                <a:cubicBezTo>
                  <a:pt x="3508" y="476"/>
                  <a:pt x="3509" y="474"/>
                  <a:pt x="3515" y="476"/>
                </a:cubicBezTo>
                <a:cubicBezTo>
                  <a:pt x="3518" y="476"/>
                  <a:pt x="3521" y="477"/>
                  <a:pt x="3521" y="479"/>
                </a:cubicBezTo>
                <a:cubicBezTo>
                  <a:pt x="3522" y="481"/>
                  <a:pt x="3513" y="483"/>
                  <a:pt x="3513" y="486"/>
                </a:cubicBezTo>
                <a:cubicBezTo>
                  <a:pt x="3513" y="489"/>
                  <a:pt x="3516" y="492"/>
                  <a:pt x="3520" y="492"/>
                </a:cubicBezTo>
                <a:cubicBezTo>
                  <a:pt x="3526" y="492"/>
                  <a:pt x="3528" y="480"/>
                  <a:pt x="3534" y="480"/>
                </a:cubicBezTo>
                <a:cubicBezTo>
                  <a:pt x="3536" y="479"/>
                  <a:pt x="3540" y="480"/>
                  <a:pt x="3544" y="487"/>
                </a:cubicBezTo>
                <a:cubicBezTo>
                  <a:pt x="3547" y="492"/>
                  <a:pt x="3545" y="502"/>
                  <a:pt x="3558" y="499"/>
                </a:cubicBezTo>
                <a:cubicBezTo>
                  <a:pt x="3561" y="499"/>
                  <a:pt x="3565" y="497"/>
                  <a:pt x="3571" y="497"/>
                </a:cubicBezTo>
                <a:cubicBezTo>
                  <a:pt x="3573" y="498"/>
                  <a:pt x="3579" y="498"/>
                  <a:pt x="3584" y="502"/>
                </a:cubicBezTo>
                <a:cubicBezTo>
                  <a:pt x="3591" y="507"/>
                  <a:pt x="3586" y="512"/>
                  <a:pt x="3593" y="522"/>
                </a:cubicBezTo>
                <a:cubicBezTo>
                  <a:pt x="3597" y="529"/>
                  <a:pt x="3602" y="530"/>
                  <a:pt x="3607" y="539"/>
                </a:cubicBezTo>
                <a:cubicBezTo>
                  <a:pt x="3608" y="543"/>
                  <a:pt x="3609" y="545"/>
                  <a:pt x="3608" y="546"/>
                </a:cubicBezTo>
                <a:cubicBezTo>
                  <a:pt x="3606" y="551"/>
                  <a:pt x="3596" y="551"/>
                  <a:pt x="3596" y="554"/>
                </a:cubicBezTo>
                <a:cubicBezTo>
                  <a:pt x="3595" y="556"/>
                  <a:pt x="3598" y="558"/>
                  <a:pt x="3599" y="559"/>
                </a:cubicBezTo>
                <a:cubicBezTo>
                  <a:pt x="3605" y="562"/>
                  <a:pt x="3614" y="556"/>
                  <a:pt x="3617" y="555"/>
                </a:cubicBezTo>
                <a:cubicBezTo>
                  <a:pt x="3625" y="549"/>
                  <a:pt x="3626" y="544"/>
                  <a:pt x="3631" y="544"/>
                </a:cubicBezTo>
                <a:cubicBezTo>
                  <a:pt x="3634" y="544"/>
                  <a:pt x="3638" y="547"/>
                  <a:pt x="3638" y="550"/>
                </a:cubicBezTo>
                <a:cubicBezTo>
                  <a:pt x="3638" y="553"/>
                  <a:pt x="3632" y="554"/>
                  <a:pt x="3629" y="560"/>
                </a:cubicBezTo>
                <a:cubicBezTo>
                  <a:pt x="3628" y="563"/>
                  <a:pt x="3627" y="568"/>
                  <a:pt x="3629" y="569"/>
                </a:cubicBezTo>
                <a:cubicBezTo>
                  <a:pt x="3631" y="571"/>
                  <a:pt x="3637" y="563"/>
                  <a:pt x="3643" y="565"/>
                </a:cubicBezTo>
                <a:cubicBezTo>
                  <a:pt x="3646" y="566"/>
                  <a:pt x="3648" y="569"/>
                  <a:pt x="3650" y="574"/>
                </a:cubicBezTo>
                <a:cubicBezTo>
                  <a:pt x="3658" y="596"/>
                  <a:pt x="3657" y="599"/>
                  <a:pt x="3661" y="604"/>
                </a:cubicBezTo>
                <a:cubicBezTo>
                  <a:pt x="3668" y="612"/>
                  <a:pt x="3681" y="615"/>
                  <a:pt x="3684" y="612"/>
                </a:cubicBezTo>
                <a:cubicBezTo>
                  <a:pt x="3686" y="610"/>
                  <a:pt x="3684" y="606"/>
                  <a:pt x="3681" y="599"/>
                </a:cubicBezTo>
                <a:cubicBezTo>
                  <a:pt x="3677" y="589"/>
                  <a:pt x="3674" y="587"/>
                  <a:pt x="3675" y="584"/>
                </a:cubicBezTo>
                <a:cubicBezTo>
                  <a:pt x="3676" y="581"/>
                  <a:pt x="3683" y="580"/>
                  <a:pt x="3690" y="580"/>
                </a:cubicBezTo>
                <a:cubicBezTo>
                  <a:pt x="3712" y="578"/>
                  <a:pt x="3723" y="578"/>
                  <a:pt x="3731" y="576"/>
                </a:cubicBezTo>
                <a:cubicBezTo>
                  <a:pt x="3736" y="574"/>
                  <a:pt x="3747" y="572"/>
                  <a:pt x="3757" y="563"/>
                </a:cubicBezTo>
                <a:cubicBezTo>
                  <a:pt x="3769" y="554"/>
                  <a:pt x="3772" y="545"/>
                  <a:pt x="3781" y="545"/>
                </a:cubicBezTo>
                <a:cubicBezTo>
                  <a:pt x="3786" y="545"/>
                  <a:pt x="3791" y="548"/>
                  <a:pt x="3792" y="550"/>
                </a:cubicBezTo>
                <a:cubicBezTo>
                  <a:pt x="3792" y="553"/>
                  <a:pt x="3784" y="555"/>
                  <a:pt x="3783" y="560"/>
                </a:cubicBezTo>
                <a:cubicBezTo>
                  <a:pt x="3783" y="563"/>
                  <a:pt x="3787" y="567"/>
                  <a:pt x="3790" y="569"/>
                </a:cubicBezTo>
                <a:cubicBezTo>
                  <a:pt x="3795" y="572"/>
                  <a:pt x="3798" y="569"/>
                  <a:pt x="3803" y="572"/>
                </a:cubicBezTo>
                <a:cubicBezTo>
                  <a:pt x="3807" y="575"/>
                  <a:pt x="3805" y="578"/>
                  <a:pt x="3809" y="582"/>
                </a:cubicBezTo>
                <a:cubicBezTo>
                  <a:pt x="3814" y="587"/>
                  <a:pt x="3817" y="586"/>
                  <a:pt x="3821" y="590"/>
                </a:cubicBezTo>
                <a:cubicBezTo>
                  <a:pt x="3826" y="595"/>
                  <a:pt x="3827" y="601"/>
                  <a:pt x="3827" y="604"/>
                </a:cubicBezTo>
                <a:cubicBezTo>
                  <a:pt x="3829" y="613"/>
                  <a:pt x="3825" y="620"/>
                  <a:pt x="3823" y="624"/>
                </a:cubicBezTo>
                <a:cubicBezTo>
                  <a:pt x="3821" y="628"/>
                  <a:pt x="3818" y="631"/>
                  <a:pt x="3814" y="636"/>
                </a:cubicBezTo>
                <a:cubicBezTo>
                  <a:pt x="3806" y="646"/>
                  <a:pt x="3803" y="646"/>
                  <a:pt x="3803" y="650"/>
                </a:cubicBezTo>
                <a:cubicBezTo>
                  <a:pt x="3803" y="652"/>
                  <a:pt x="3803" y="653"/>
                  <a:pt x="3814" y="665"/>
                </a:cubicBezTo>
                <a:cubicBezTo>
                  <a:pt x="3824" y="676"/>
                  <a:pt x="3827" y="678"/>
                  <a:pt x="3831" y="678"/>
                </a:cubicBezTo>
                <a:cubicBezTo>
                  <a:pt x="3836" y="680"/>
                  <a:pt x="3837" y="677"/>
                  <a:pt x="3841" y="678"/>
                </a:cubicBezTo>
                <a:cubicBezTo>
                  <a:pt x="3850" y="682"/>
                  <a:pt x="3845" y="699"/>
                  <a:pt x="3855" y="705"/>
                </a:cubicBezTo>
                <a:cubicBezTo>
                  <a:pt x="3860" y="707"/>
                  <a:pt x="3862" y="704"/>
                  <a:pt x="3868" y="707"/>
                </a:cubicBezTo>
                <a:cubicBezTo>
                  <a:pt x="3872" y="709"/>
                  <a:pt x="3874" y="713"/>
                  <a:pt x="3879" y="721"/>
                </a:cubicBezTo>
                <a:cubicBezTo>
                  <a:pt x="3883" y="728"/>
                  <a:pt x="3883" y="730"/>
                  <a:pt x="3883" y="731"/>
                </a:cubicBezTo>
                <a:cubicBezTo>
                  <a:pt x="3881" y="733"/>
                  <a:pt x="3878" y="732"/>
                  <a:pt x="3872" y="735"/>
                </a:cubicBezTo>
                <a:cubicBezTo>
                  <a:pt x="3868" y="736"/>
                  <a:pt x="3859" y="739"/>
                  <a:pt x="3856" y="746"/>
                </a:cubicBezTo>
                <a:cubicBezTo>
                  <a:pt x="3853" y="751"/>
                  <a:pt x="3856" y="755"/>
                  <a:pt x="3853" y="757"/>
                </a:cubicBezTo>
                <a:cubicBezTo>
                  <a:pt x="3850" y="760"/>
                  <a:pt x="3847" y="757"/>
                  <a:pt x="3843" y="759"/>
                </a:cubicBezTo>
                <a:cubicBezTo>
                  <a:pt x="3837" y="761"/>
                  <a:pt x="3832" y="768"/>
                  <a:pt x="3833" y="776"/>
                </a:cubicBezTo>
                <a:cubicBezTo>
                  <a:pt x="3834" y="781"/>
                  <a:pt x="3837" y="786"/>
                  <a:pt x="3841" y="788"/>
                </a:cubicBezTo>
                <a:cubicBezTo>
                  <a:pt x="3846" y="792"/>
                  <a:pt x="3849" y="789"/>
                  <a:pt x="3855" y="791"/>
                </a:cubicBezTo>
                <a:cubicBezTo>
                  <a:pt x="3865" y="795"/>
                  <a:pt x="3864" y="808"/>
                  <a:pt x="3876" y="813"/>
                </a:cubicBezTo>
                <a:cubicBezTo>
                  <a:pt x="3881" y="815"/>
                  <a:pt x="3881" y="813"/>
                  <a:pt x="3887" y="815"/>
                </a:cubicBezTo>
                <a:cubicBezTo>
                  <a:pt x="3899" y="819"/>
                  <a:pt x="3898" y="828"/>
                  <a:pt x="3909" y="835"/>
                </a:cubicBezTo>
                <a:cubicBezTo>
                  <a:pt x="3921" y="841"/>
                  <a:pt x="3928" y="835"/>
                  <a:pt x="3936" y="843"/>
                </a:cubicBezTo>
                <a:cubicBezTo>
                  <a:pt x="3942" y="848"/>
                  <a:pt x="3941" y="851"/>
                  <a:pt x="3947" y="855"/>
                </a:cubicBezTo>
                <a:cubicBezTo>
                  <a:pt x="3952" y="858"/>
                  <a:pt x="3955" y="855"/>
                  <a:pt x="3964" y="857"/>
                </a:cubicBezTo>
                <a:cubicBezTo>
                  <a:pt x="3973" y="859"/>
                  <a:pt x="3974" y="861"/>
                  <a:pt x="3982" y="863"/>
                </a:cubicBezTo>
                <a:cubicBezTo>
                  <a:pt x="3983" y="863"/>
                  <a:pt x="3996" y="867"/>
                  <a:pt x="4010" y="862"/>
                </a:cubicBezTo>
                <a:cubicBezTo>
                  <a:pt x="4027" y="856"/>
                  <a:pt x="4029" y="842"/>
                  <a:pt x="4040" y="843"/>
                </a:cubicBezTo>
                <a:cubicBezTo>
                  <a:pt x="4045" y="843"/>
                  <a:pt x="4050" y="847"/>
                  <a:pt x="4052" y="851"/>
                </a:cubicBezTo>
                <a:cubicBezTo>
                  <a:pt x="4053" y="851"/>
                  <a:pt x="4057" y="858"/>
                  <a:pt x="4055" y="864"/>
                </a:cubicBezTo>
                <a:cubicBezTo>
                  <a:pt x="4053" y="872"/>
                  <a:pt x="4044" y="875"/>
                  <a:pt x="4040" y="877"/>
                </a:cubicBezTo>
                <a:cubicBezTo>
                  <a:pt x="4035" y="879"/>
                  <a:pt x="4033" y="879"/>
                  <a:pt x="4030" y="881"/>
                </a:cubicBezTo>
                <a:cubicBezTo>
                  <a:pt x="4028" y="885"/>
                  <a:pt x="4027" y="890"/>
                  <a:pt x="4030" y="893"/>
                </a:cubicBezTo>
                <a:cubicBezTo>
                  <a:pt x="4032" y="897"/>
                  <a:pt x="4039" y="897"/>
                  <a:pt x="4053" y="896"/>
                </a:cubicBezTo>
                <a:cubicBezTo>
                  <a:pt x="4055" y="896"/>
                  <a:pt x="4057" y="896"/>
                  <a:pt x="4059" y="896"/>
                </a:cubicBezTo>
                <a:lnTo>
                  <a:pt x="4061" y="896"/>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de-DE"/>
          </a:p>
        </p:txBody>
      </p:sp>
      <p:sp>
        <p:nvSpPr>
          <p:cNvPr id="7" name="Textfeld 6">
            <a:extLst>
              <a:ext uri="{FF2B5EF4-FFF2-40B4-BE49-F238E27FC236}">
                <a16:creationId xmlns:a16="http://schemas.microsoft.com/office/drawing/2014/main" id="{1C37EC78-BAE9-456E-83B5-4AC65C8E9CFC}"/>
              </a:ext>
            </a:extLst>
          </p:cNvPr>
          <p:cNvSpPr txBox="1"/>
          <p:nvPr/>
        </p:nvSpPr>
        <p:spPr>
          <a:xfrm>
            <a:off x="191344" y="5722576"/>
            <a:ext cx="505267" cy="369332"/>
          </a:xfrm>
          <a:prstGeom prst="rect">
            <a:avLst/>
          </a:prstGeom>
          <a:noFill/>
        </p:spPr>
        <p:txBody>
          <a:bodyPr wrap="none" rtlCol="0">
            <a:spAutoFit/>
          </a:bodyPr>
          <a:lstStyle/>
          <a:p>
            <a:r>
              <a:rPr lang="de-DE" dirty="0"/>
              <a:t>DE</a:t>
            </a:r>
          </a:p>
        </p:txBody>
      </p:sp>
      <p:sp>
        <p:nvSpPr>
          <p:cNvPr id="8" name="Textfeld 7">
            <a:extLst>
              <a:ext uri="{FF2B5EF4-FFF2-40B4-BE49-F238E27FC236}">
                <a16:creationId xmlns:a16="http://schemas.microsoft.com/office/drawing/2014/main" id="{17B0E58B-BBB9-4154-8255-8A3E29A169C0}"/>
              </a:ext>
            </a:extLst>
          </p:cNvPr>
          <p:cNvSpPr txBox="1"/>
          <p:nvPr/>
        </p:nvSpPr>
        <p:spPr>
          <a:xfrm>
            <a:off x="191344" y="4066392"/>
            <a:ext cx="505267" cy="369332"/>
          </a:xfrm>
          <a:prstGeom prst="rect">
            <a:avLst/>
          </a:prstGeom>
          <a:noFill/>
        </p:spPr>
        <p:txBody>
          <a:bodyPr wrap="none" rtlCol="0">
            <a:spAutoFit/>
          </a:bodyPr>
          <a:lstStyle/>
          <a:p>
            <a:r>
              <a:rPr lang="de-DE" dirty="0"/>
              <a:t>EU</a:t>
            </a:r>
          </a:p>
        </p:txBody>
      </p:sp>
    </p:spTree>
    <p:extLst>
      <p:ext uri="{BB962C8B-B14F-4D97-AF65-F5344CB8AC3E}">
        <p14:creationId xmlns:p14="http://schemas.microsoft.com/office/powerpoint/2010/main" val="35396744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900000" y="620688"/>
            <a:ext cx="8557008" cy="774491"/>
          </a:xfrm>
        </p:spPr>
        <p:txBody>
          <a:bodyPr/>
          <a:lstStyle/>
          <a:p>
            <a:r>
              <a:rPr lang="de-DE" dirty="0"/>
              <a:t>IPCEI AST | Nächste Schritte </a:t>
            </a:r>
            <a:br>
              <a:rPr lang="de-DE" dirty="0"/>
            </a:br>
            <a:r>
              <a:rPr lang="de-DE" dirty="0"/>
              <a:t>EU-Ebene</a:t>
            </a:r>
          </a:p>
        </p:txBody>
      </p:sp>
      <p:sp>
        <p:nvSpPr>
          <p:cNvPr id="3" name="Foliennummernplatzhalter 2"/>
          <p:cNvSpPr>
            <a:spLocks noGrp="1"/>
          </p:cNvSpPr>
          <p:nvPr>
            <p:ph type="sldNum" sz="quarter" idx="10"/>
          </p:nvPr>
        </p:nvSpPr>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smtClean="0">
                <a:solidFill>
                  <a:schemeClr val="accent5"/>
                </a:solidFill>
              </a:rPr>
              <a:pPr algn="l" rtl="0"/>
              <a:t>39</a:t>
            </a:fld>
            <a:r>
              <a:rPr lang="en-GB" sz="1000" b="0" i="0" u="none" baseline="0">
                <a:solidFill>
                  <a:schemeClr val="accent5"/>
                </a:solidFill>
              </a:rPr>
              <a:t> </a:t>
            </a:r>
          </a:p>
        </p:txBody>
      </p:sp>
      <p:sp>
        <p:nvSpPr>
          <p:cNvPr id="4" name="Textplatzhalter 3"/>
          <p:cNvSpPr>
            <a:spLocks noGrp="1"/>
          </p:cNvSpPr>
          <p:nvPr>
            <p:ph type="body" sz="quarter" idx="15"/>
          </p:nvPr>
        </p:nvSpPr>
        <p:spPr/>
        <p:txBody>
          <a:bodyPr/>
          <a:lstStyle/>
          <a:p>
            <a:pPr marL="457200" indent="-457200">
              <a:buFont typeface="+mj-lt"/>
              <a:buAutoNum type="arabicPeriod"/>
            </a:pPr>
            <a:r>
              <a:rPr lang="de-DE" u="none" dirty="0">
                <a:solidFill>
                  <a:schemeClr val="tx1"/>
                </a:solidFill>
              </a:rPr>
              <a:t>Finalisieren der Themenfindung (Designphase 1)</a:t>
            </a:r>
          </a:p>
          <a:p>
            <a:pPr marL="720725" lvl="1" indent="-185738"/>
            <a:r>
              <a:rPr lang="de-DE" dirty="0">
                <a:solidFill>
                  <a:schemeClr val="tx1"/>
                </a:solidFill>
              </a:rPr>
              <a:t>Webinar am 03.07.2025 von 13:00 - 14:00 Uhr</a:t>
            </a:r>
          </a:p>
          <a:p>
            <a:pPr marL="720725" lvl="1" indent="-185738"/>
            <a:r>
              <a:rPr lang="de-DE" dirty="0">
                <a:solidFill>
                  <a:schemeClr val="tx1"/>
                </a:solidFill>
              </a:rPr>
              <a:t>Workshop in Den Haag mit ausgewählten Industrievertretern am 17.07.2025</a:t>
            </a:r>
          </a:p>
          <a:p>
            <a:pPr marL="720725" lvl="1" indent="-185738"/>
            <a:r>
              <a:rPr lang="de-DE" dirty="0">
                <a:solidFill>
                  <a:schemeClr val="tx1"/>
                </a:solidFill>
              </a:rPr>
              <a:t>Auswertung der Ergebnisse bis Ende Juli 2025</a:t>
            </a:r>
          </a:p>
          <a:p>
            <a:pPr marL="457200" indent="-457200">
              <a:buFont typeface="+mj-lt"/>
              <a:buAutoNum type="arabicPeriod"/>
            </a:pPr>
            <a:r>
              <a:rPr lang="de-DE" u="none" dirty="0">
                <a:solidFill>
                  <a:schemeClr val="tx1"/>
                </a:solidFill>
              </a:rPr>
              <a:t>Finalisieren der Maßnahme und finale Entscheidung zur Durchführung zwischen Mitgliedstaaten und Europäischer Kommission (Designphase 2)</a:t>
            </a:r>
          </a:p>
          <a:p>
            <a:pPr marL="457200" indent="-457200">
              <a:buFont typeface="+mj-lt"/>
              <a:buAutoNum type="arabicPeriod"/>
            </a:pPr>
            <a:r>
              <a:rPr lang="de-DE" u="none" dirty="0">
                <a:solidFill>
                  <a:schemeClr val="tx1"/>
                </a:solidFill>
              </a:rPr>
              <a:t>Unternehmens-Matchmaking im September 2025</a:t>
            </a:r>
          </a:p>
          <a:p>
            <a:pPr marL="457200" indent="-457200">
              <a:buFont typeface="+mj-lt"/>
              <a:buAutoNum type="arabicPeriod"/>
            </a:pPr>
            <a:r>
              <a:rPr lang="de-DE" u="none" dirty="0">
                <a:solidFill>
                  <a:schemeClr val="tx1"/>
                </a:solidFill>
              </a:rPr>
              <a:t>Weiterqualifizierung nach Projektauswahl auf nationaler Ebene </a:t>
            </a:r>
          </a:p>
          <a:p>
            <a:pPr marL="457200" indent="-457200">
              <a:buFont typeface="+mj-lt"/>
              <a:buAutoNum type="arabicPeriod"/>
            </a:pPr>
            <a:r>
              <a:rPr lang="de-DE" u="none" dirty="0" err="1">
                <a:solidFill>
                  <a:schemeClr val="tx1"/>
                </a:solidFill>
              </a:rPr>
              <a:t>Pränotifizierung</a:t>
            </a:r>
            <a:r>
              <a:rPr lang="de-DE" u="none" dirty="0">
                <a:solidFill>
                  <a:schemeClr val="tx1"/>
                </a:solidFill>
              </a:rPr>
              <a:t> passfähiger Projekte</a:t>
            </a:r>
          </a:p>
          <a:p>
            <a:endParaRPr lang="de-DE" u="none" dirty="0">
              <a:solidFill>
                <a:schemeClr val="tx1"/>
              </a:solidFill>
            </a:endParaRPr>
          </a:p>
        </p:txBody>
      </p:sp>
    </p:spTree>
    <p:extLst>
      <p:ext uri="{BB962C8B-B14F-4D97-AF65-F5344CB8AC3E}">
        <p14:creationId xmlns:p14="http://schemas.microsoft.com/office/powerpoint/2010/main" val="27670501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900000" y="720000"/>
            <a:ext cx="8557008" cy="774491"/>
          </a:xfrm>
        </p:spPr>
        <p:txBody>
          <a:bodyPr/>
          <a:lstStyle/>
          <a:p>
            <a:r>
              <a:rPr lang="de-DE" dirty="0"/>
              <a:t>IPCEI | Hintergründe</a:t>
            </a:r>
          </a:p>
        </p:txBody>
      </p:sp>
      <p:sp>
        <p:nvSpPr>
          <p:cNvPr id="3" name="Foliennummernplatzhalter 2"/>
          <p:cNvSpPr>
            <a:spLocks noGrp="1"/>
          </p:cNvSpPr>
          <p:nvPr>
            <p:ph type="sldNum" sz="quarter" idx="10"/>
          </p:nvPr>
        </p:nvSpPr>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smtClean="0">
                <a:solidFill>
                  <a:schemeClr val="accent5"/>
                </a:solidFill>
              </a:rPr>
              <a:pPr algn="l" rtl="0"/>
              <a:t>4</a:t>
            </a:fld>
            <a:r>
              <a:rPr lang="en-GB" sz="1000" b="0" i="0" u="none" baseline="0">
                <a:solidFill>
                  <a:schemeClr val="accent5"/>
                </a:solidFill>
              </a:rPr>
              <a:t> </a:t>
            </a:r>
          </a:p>
        </p:txBody>
      </p:sp>
      <p:sp>
        <p:nvSpPr>
          <p:cNvPr id="5" name="Textplatzhalter 4"/>
          <p:cNvSpPr>
            <a:spLocks noGrp="1"/>
          </p:cNvSpPr>
          <p:nvPr>
            <p:ph type="body" sz="quarter" idx="15"/>
          </p:nvPr>
        </p:nvSpPr>
        <p:spPr>
          <a:xfrm>
            <a:off x="537894" y="1498797"/>
            <a:ext cx="11233248" cy="2581684"/>
          </a:xfrm>
        </p:spPr>
        <p:txBody>
          <a:bodyPr/>
          <a:lstStyle/>
          <a:p>
            <a:pPr>
              <a:spcBef>
                <a:spcPts val="600"/>
              </a:spcBef>
            </a:pPr>
            <a:r>
              <a:rPr lang="de-DE" sz="1800" u="none" dirty="0">
                <a:solidFill>
                  <a:schemeClr val="tx1"/>
                </a:solidFill>
              </a:rPr>
              <a:t>Vordergründig </a:t>
            </a:r>
            <a:r>
              <a:rPr lang="de-DE" sz="1800" u="none" dirty="0" err="1">
                <a:solidFill>
                  <a:schemeClr val="tx1"/>
                </a:solidFill>
              </a:rPr>
              <a:t>FuEuI</a:t>
            </a:r>
            <a:r>
              <a:rPr lang="de-DE" sz="1800" u="none" dirty="0">
                <a:solidFill>
                  <a:schemeClr val="tx1"/>
                </a:solidFill>
              </a:rPr>
              <a:t>-Förderinstrument für späte Entwicklungsstufen bis zur ersten gewerblichen Nutzung</a:t>
            </a:r>
            <a:r>
              <a:rPr lang="de-DE" sz="1800" u="none" baseline="30000" dirty="0">
                <a:solidFill>
                  <a:schemeClr val="tx1"/>
                </a:solidFill>
              </a:rPr>
              <a:t>1</a:t>
            </a:r>
            <a:endParaRPr lang="de-DE" sz="1800" u="none" dirty="0">
              <a:solidFill>
                <a:schemeClr val="tx1"/>
              </a:solidFill>
            </a:endParaRPr>
          </a:p>
          <a:p>
            <a:pPr>
              <a:spcBef>
                <a:spcPts val="600"/>
              </a:spcBef>
            </a:pPr>
            <a:r>
              <a:rPr lang="de-DE" sz="1800" u="none" dirty="0">
                <a:solidFill>
                  <a:schemeClr val="tx1"/>
                </a:solidFill>
              </a:rPr>
              <a:t>Schließt Lücke zwischen Forschung und Industrialisierung, kein Aufbau von Produktionskapazitäten</a:t>
            </a:r>
          </a:p>
          <a:p>
            <a:pPr>
              <a:spcBef>
                <a:spcPts val="600"/>
              </a:spcBef>
            </a:pPr>
            <a:r>
              <a:rPr lang="de-DE" sz="1800" u="none" dirty="0">
                <a:solidFill>
                  <a:schemeClr val="tx1"/>
                </a:solidFill>
              </a:rPr>
              <a:t>Ausnahme vom Subventionsverbot</a:t>
            </a:r>
            <a:r>
              <a:rPr lang="de-DE" sz="1800" u="none" baseline="30000" dirty="0">
                <a:solidFill>
                  <a:schemeClr val="tx1"/>
                </a:solidFill>
              </a:rPr>
              <a:t>2</a:t>
            </a:r>
            <a:r>
              <a:rPr lang="de-DE" sz="1800" u="none" dirty="0">
                <a:solidFill>
                  <a:schemeClr val="tx1"/>
                </a:solidFill>
              </a:rPr>
              <a:t> innerhalb der EU</a:t>
            </a:r>
          </a:p>
          <a:p>
            <a:pPr>
              <a:spcBef>
                <a:spcPts val="600"/>
              </a:spcBef>
            </a:pPr>
            <a:r>
              <a:rPr lang="de-DE" sz="1800" u="none" dirty="0">
                <a:solidFill>
                  <a:schemeClr val="tx1"/>
                </a:solidFill>
              </a:rPr>
              <a:t>Basis: IPCEI-Mitteilung der Europäischen Kommission (KOM) über die </a:t>
            </a:r>
            <a:r>
              <a:rPr lang="de-DE" sz="1800" i="1" u="none" dirty="0">
                <a:solidFill>
                  <a:schemeClr val="tx1"/>
                </a:solidFill>
              </a:rPr>
              <a:t>„Kriterien für die Würdigung der Vereinbarkeit von staatlichen Beihilfen zur Förderung wichtiger Vorhaben von gemeinsamem europäischem Interesse mit dem Binnenmarkt</a:t>
            </a:r>
            <a:r>
              <a:rPr lang="de-DE" sz="1800" u="none" dirty="0">
                <a:solidFill>
                  <a:schemeClr val="tx1"/>
                </a:solidFill>
              </a:rPr>
              <a:t>“ (</a:t>
            </a:r>
            <a:r>
              <a:rPr lang="de-DE" sz="1800" u="none" dirty="0" err="1">
                <a:solidFill>
                  <a:schemeClr val="tx1"/>
                </a:solidFill>
              </a:rPr>
              <a:t>ABl.</a:t>
            </a:r>
            <a:r>
              <a:rPr lang="de-DE" sz="1800" u="none" dirty="0">
                <a:solidFill>
                  <a:schemeClr val="tx1"/>
                </a:solidFill>
              </a:rPr>
              <a:t> C 528/02 vom 30.12.2021, S. 10)  </a:t>
            </a:r>
          </a:p>
          <a:p>
            <a:pPr>
              <a:spcBef>
                <a:spcPts val="600"/>
              </a:spcBef>
            </a:pPr>
            <a:endParaRPr lang="de-DE" sz="1800" dirty="0"/>
          </a:p>
        </p:txBody>
      </p:sp>
      <p:sp>
        <p:nvSpPr>
          <p:cNvPr id="6" name="Textfeld 5">
            <a:extLst>
              <a:ext uri="{FF2B5EF4-FFF2-40B4-BE49-F238E27FC236}">
                <a16:creationId xmlns:a16="http://schemas.microsoft.com/office/drawing/2014/main" id="{30ADBFD9-F169-492C-94E2-1FB070426694}"/>
              </a:ext>
            </a:extLst>
          </p:cNvPr>
          <p:cNvSpPr txBox="1"/>
          <p:nvPr/>
        </p:nvSpPr>
        <p:spPr>
          <a:xfrm>
            <a:off x="5632646" y="6317812"/>
            <a:ext cx="6022780" cy="400110"/>
          </a:xfrm>
          <a:prstGeom prst="rect">
            <a:avLst/>
          </a:prstGeom>
          <a:noFill/>
        </p:spPr>
        <p:txBody>
          <a:bodyPr wrap="square" rtlCol="0">
            <a:spAutoFit/>
          </a:bodyPr>
          <a:lstStyle/>
          <a:p>
            <a:r>
              <a:rPr lang="de-DE" sz="1000" baseline="30000" dirty="0">
                <a:solidFill>
                  <a:schemeClr val="accent5"/>
                </a:solidFill>
              </a:rPr>
              <a:t>1</a:t>
            </a:r>
            <a:r>
              <a:rPr lang="de-DE" sz="1000" dirty="0">
                <a:solidFill>
                  <a:schemeClr val="accent5"/>
                </a:solidFill>
              </a:rPr>
              <a:t> Hochskalierung von Pilotlinien oder Demonstrationsanlagen einschließlich der Produktions-Testphase.</a:t>
            </a:r>
          </a:p>
          <a:p>
            <a:r>
              <a:rPr lang="de-DE" sz="1000" baseline="30000" dirty="0">
                <a:solidFill>
                  <a:schemeClr val="accent5"/>
                </a:solidFill>
              </a:rPr>
              <a:t>2</a:t>
            </a:r>
            <a:r>
              <a:rPr lang="de-DE" sz="1000" dirty="0">
                <a:solidFill>
                  <a:schemeClr val="accent5"/>
                </a:solidFill>
              </a:rPr>
              <a:t> Artikel 107 des Vertrags über die Arbeitsweise der Europäischen Union.</a:t>
            </a:r>
          </a:p>
        </p:txBody>
      </p:sp>
      <p:grpSp>
        <p:nvGrpSpPr>
          <p:cNvPr id="27" name="Gruppieren 26">
            <a:extLst>
              <a:ext uri="{FF2B5EF4-FFF2-40B4-BE49-F238E27FC236}">
                <a16:creationId xmlns:a16="http://schemas.microsoft.com/office/drawing/2014/main" id="{35D1B526-EFD0-4D1F-81A3-38C65672778B}"/>
              </a:ext>
            </a:extLst>
          </p:cNvPr>
          <p:cNvGrpSpPr/>
          <p:nvPr/>
        </p:nvGrpSpPr>
        <p:grpSpPr>
          <a:xfrm>
            <a:off x="1544546" y="4054774"/>
            <a:ext cx="9231974" cy="1894506"/>
            <a:chOff x="1507110" y="4270798"/>
            <a:chExt cx="9255175" cy="1894506"/>
          </a:xfrm>
        </p:grpSpPr>
        <p:sp>
          <p:nvSpPr>
            <p:cNvPr id="28" name="Richtungspfeil 4">
              <a:extLst>
                <a:ext uri="{FF2B5EF4-FFF2-40B4-BE49-F238E27FC236}">
                  <a16:creationId xmlns:a16="http://schemas.microsoft.com/office/drawing/2014/main" id="{8A8BE67E-F113-4651-9A1C-D803A74A35D9}"/>
                </a:ext>
              </a:extLst>
            </p:cNvPr>
            <p:cNvSpPr/>
            <p:nvPr/>
          </p:nvSpPr>
          <p:spPr>
            <a:xfrm>
              <a:off x="1507110" y="5241974"/>
              <a:ext cx="1152000" cy="576064"/>
            </a:xfrm>
            <a:prstGeom prst="homePlate">
              <a:avLst/>
            </a:prstGeom>
            <a:solidFill>
              <a:schemeClr val="tx2">
                <a:lumMod val="40000"/>
                <a:lumOff val="60000"/>
              </a:schemeClr>
            </a:solidFill>
          </p:spPr>
          <p:style>
            <a:lnRef idx="1">
              <a:schemeClr val="accent6"/>
            </a:lnRef>
            <a:fillRef idx="2">
              <a:schemeClr val="accent6"/>
            </a:fillRef>
            <a:effectRef idx="1">
              <a:schemeClr val="accent6"/>
            </a:effectRef>
            <a:fontRef idx="minor">
              <a:schemeClr val="dk1"/>
            </a:fontRef>
          </p:style>
          <p:txBody>
            <a:bodyPr rtlCol="0" anchor="ctr"/>
            <a:lstStyle/>
            <a:p>
              <a:pPr algn="ctr"/>
              <a:r>
                <a:rPr lang="de-DE" dirty="0"/>
                <a:t>TRL1</a:t>
              </a:r>
              <a:endParaRPr lang="de-DE" sz="2400" dirty="0"/>
            </a:p>
          </p:txBody>
        </p:sp>
        <p:sp>
          <p:nvSpPr>
            <p:cNvPr id="29" name="Chevron 5">
              <a:extLst>
                <a:ext uri="{FF2B5EF4-FFF2-40B4-BE49-F238E27FC236}">
                  <a16:creationId xmlns:a16="http://schemas.microsoft.com/office/drawing/2014/main" id="{69F45846-5B37-4995-98F1-88D5E495C0CD}"/>
                </a:ext>
              </a:extLst>
            </p:cNvPr>
            <p:cNvSpPr/>
            <p:nvPr/>
          </p:nvSpPr>
          <p:spPr>
            <a:xfrm>
              <a:off x="2443214" y="5241974"/>
              <a:ext cx="1152000" cy="576064"/>
            </a:xfrm>
            <a:prstGeom prst="chevron">
              <a:avLst/>
            </a:prstGeom>
            <a:solidFill>
              <a:schemeClr val="tx2">
                <a:lumMod val="40000"/>
                <a:lumOff val="60000"/>
              </a:schemeClr>
            </a:solidFill>
          </p:spPr>
          <p:style>
            <a:lnRef idx="1">
              <a:schemeClr val="accent6"/>
            </a:lnRef>
            <a:fillRef idx="2">
              <a:schemeClr val="accent6"/>
            </a:fillRef>
            <a:effectRef idx="1">
              <a:schemeClr val="accent6"/>
            </a:effectRef>
            <a:fontRef idx="minor">
              <a:schemeClr val="dk1"/>
            </a:fontRef>
          </p:style>
          <p:txBody>
            <a:bodyPr wrap="none" lIns="36000" rIns="36000" rtlCol="0" anchor="ctr" anchorCtr="1">
              <a:normAutofit/>
            </a:bodyPr>
            <a:lstStyle/>
            <a:p>
              <a:pPr algn="ctr"/>
              <a:r>
                <a:rPr lang="de-DE" dirty="0"/>
                <a:t>TRL2</a:t>
              </a:r>
            </a:p>
          </p:txBody>
        </p:sp>
        <p:sp>
          <p:nvSpPr>
            <p:cNvPr id="30" name="Chevron 6">
              <a:extLst>
                <a:ext uri="{FF2B5EF4-FFF2-40B4-BE49-F238E27FC236}">
                  <a16:creationId xmlns:a16="http://schemas.microsoft.com/office/drawing/2014/main" id="{BB48C6CF-CF7D-4825-A622-F5A4075FB058}"/>
                </a:ext>
              </a:extLst>
            </p:cNvPr>
            <p:cNvSpPr/>
            <p:nvPr/>
          </p:nvSpPr>
          <p:spPr>
            <a:xfrm>
              <a:off x="3379318" y="5241974"/>
              <a:ext cx="1152000" cy="576064"/>
            </a:xfrm>
            <a:prstGeom prst="chevron">
              <a:avLst/>
            </a:prstGeom>
            <a:solidFill>
              <a:schemeClr val="tx2">
                <a:lumMod val="40000"/>
                <a:lumOff val="60000"/>
              </a:schemeClr>
            </a:solidFill>
          </p:spPr>
          <p:style>
            <a:lnRef idx="1">
              <a:schemeClr val="accent6"/>
            </a:lnRef>
            <a:fillRef idx="2">
              <a:schemeClr val="accent6"/>
            </a:fillRef>
            <a:effectRef idx="1">
              <a:schemeClr val="accent6"/>
            </a:effectRef>
            <a:fontRef idx="minor">
              <a:schemeClr val="dk1"/>
            </a:fontRef>
          </p:style>
          <p:txBody>
            <a:bodyPr wrap="none" lIns="36000" rIns="36000" rtlCol="0" anchor="ctr" anchorCtr="1">
              <a:normAutofit/>
            </a:bodyPr>
            <a:lstStyle/>
            <a:p>
              <a:pPr algn="ctr"/>
              <a:r>
                <a:rPr lang="de-DE" dirty="0"/>
                <a:t>TRL3</a:t>
              </a:r>
            </a:p>
          </p:txBody>
        </p:sp>
        <p:sp>
          <p:nvSpPr>
            <p:cNvPr id="31" name="Chevron 7">
              <a:extLst>
                <a:ext uri="{FF2B5EF4-FFF2-40B4-BE49-F238E27FC236}">
                  <a16:creationId xmlns:a16="http://schemas.microsoft.com/office/drawing/2014/main" id="{051FAF64-C8EC-45AE-BBF5-4E8FF2D371B4}"/>
                </a:ext>
              </a:extLst>
            </p:cNvPr>
            <p:cNvSpPr/>
            <p:nvPr/>
          </p:nvSpPr>
          <p:spPr>
            <a:xfrm>
              <a:off x="4315422" y="5241974"/>
              <a:ext cx="1152000" cy="576064"/>
            </a:xfrm>
            <a:prstGeom prst="chevron">
              <a:avLst/>
            </a:prstGeom>
            <a:solidFill>
              <a:schemeClr val="tx2">
                <a:lumMod val="40000"/>
                <a:lumOff val="60000"/>
              </a:schemeClr>
            </a:solidFill>
          </p:spPr>
          <p:style>
            <a:lnRef idx="1">
              <a:schemeClr val="accent6"/>
            </a:lnRef>
            <a:fillRef idx="2">
              <a:schemeClr val="accent6"/>
            </a:fillRef>
            <a:effectRef idx="1">
              <a:schemeClr val="accent6"/>
            </a:effectRef>
            <a:fontRef idx="minor">
              <a:schemeClr val="dk1"/>
            </a:fontRef>
          </p:style>
          <p:txBody>
            <a:bodyPr wrap="none" lIns="36000" rIns="36000" rtlCol="0" anchor="ctr" anchorCtr="1">
              <a:normAutofit/>
            </a:bodyPr>
            <a:lstStyle/>
            <a:p>
              <a:pPr algn="ctr"/>
              <a:r>
                <a:rPr lang="de-DE" dirty="0"/>
                <a:t>TRL4</a:t>
              </a:r>
            </a:p>
          </p:txBody>
        </p:sp>
        <p:sp>
          <p:nvSpPr>
            <p:cNvPr id="32" name="Chevron 8">
              <a:extLst>
                <a:ext uri="{FF2B5EF4-FFF2-40B4-BE49-F238E27FC236}">
                  <a16:creationId xmlns:a16="http://schemas.microsoft.com/office/drawing/2014/main" id="{1E85D872-4320-42A0-86B8-41520F336FD8}"/>
                </a:ext>
              </a:extLst>
            </p:cNvPr>
            <p:cNvSpPr/>
            <p:nvPr/>
          </p:nvSpPr>
          <p:spPr>
            <a:xfrm>
              <a:off x="5251526" y="5241974"/>
              <a:ext cx="1152000" cy="576064"/>
            </a:xfrm>
            <a:prstGeom prst="chevron">
              <a:avLst/>
            </a:prstGeom>
            <a:solidFill>
              <a:schemeClr val="tx2">
                <a:lumMod val="40000"/>
                <a:lumOff val="60000"/>
              </a:schemeClr>
            </a:solidFill>
          </p:spPr>
          <p:style>
            <a:lnRef idx="1">
              <a:schemeClr val="accent6"/>
            </a:lnRef>
            <a:fillRef idx="2">
              <a:schemeClr val="accent6"/>
            </a:fillRef>
            <a:effectRef idx="1">
              <a:schemeClr val="accent6"/>
            </a:effectRef>
            <a:fontRef idx="minor">
              <a:schemeClr val="dk1"/>
            </a:fontRef>
          </p:style>
          <p:txBody>
            <a:bodyPr wrap="none" lIns="36000" rIns="36000" rtlCol="0" anchor="ctr" anchorCtr="1">
              <a:normAutofit/>
            </a:bodyPr>
            <a:lstStyle/>
            <a:p>
              <a:pPr algn="ctr"/>
              <a:r>
                <a:rPr lang="de-DE" dirty="0"/>
                <a:t>TRL5</a:t>
              </a:r>
            </a:p>
          </p:txBody>
        </p:sp>
        <p:sp>
          <p:nvSpPr>
            <p:cNvPr id="33" name="Chevron 9">
              <a:extLst>
                <a:ext uri="{FF2B5EF4-FFF2-40B4-BE49-F238E27FC236}">
                  <a16:creationId xmlns:a16="http://schemas.microsoft.com/office/drawing/2014/main" id="{3353A5BD-B990-419B-9943-07319DDA7CD3}"/>
                </a:ext>
              </a:extLst>
            </p:cNvPr>
            <p:cNvSpPr/>
            <p:nvPr/>
          </p:nvSpPr>
          <p:spPr>
            <a:xfrm>
              <a:off x="6187630" y="5241974"/>
              <a:ext cx="1152000" cy="576064"/>
            </a:xfrm>
            <a:prstGeom prst="chevron">
              <a:avLst/>
            </a:prstGeom>
            <a:solidFill>
              <a:schemeClr val="tx2">
                <a:lumMod val="40000"/>
                <a:lumOff val="60000"/>
              </a:schemeClr>
            </a:solidFill>
          </p:spPr>
          <p:style>
            <a:lnRef idx="1">
              <a:schemeClr val="accent6"/>
            </a:lnRef>
            <a:fillRef idx="2">
              <a:schemeClr val="accent6"/>
            </a:fillRef>
            <a:effectRef idx="1">
              <a:schemeClr val="accent6"/>
            </a:effectRef>
            <a:fontRef idx="minor">
              <a:schemeClr val="dk1"/>
            </a:fontRef>
          </p:style>
          <p:txBody>
            <a:bodyPr wrap="none" lIns="36000" rIns="36000" rtlCol="0" anchor="ctr" anchorCtr="1">
              <a:normAutofit/>
            </a:bodyPr>
            <a:lstStyle/>
            <a:p>
              <a:pPr algn="ctr"/>
              <a:r>
                <a:rPr lang="de-DE" dirty="0"/>
                <a:t>TRL6</a:t>
              </a:r>
            </a:p>
          </p:txBody>
        </p:sp>
        <p:sp>
          <p:nvSpPr>
            <p:cNvPr id="34" name="Chevron 10">
              <a:extLst>
                <a:ext uri="{FF2B5EF4-FFF2-40B4-BE49-F238E27FC236}">
                  <a16:creationId xmlns:a16="http://schemas.microsoft.com/office/drawing/2014/main" id="{80717EE2-5033-49DC-AE67-98FCC07BA8CF}"/>
                </a:ext>
              </a:extLst>
            </p:cNvPr>
            <p:cNvSpPr/>
            <p:nvPr/>
          </p:nvSpPr>
          <p:spPr>
            <a:xfrm>
              <a:off x="7123734" y="5241974"/>
              <a:ext cx="1152000" cy="576064"/>
            </a:xfrm>
            <a:prstGeom prst="chevron">
              <a:avLst/>
            </a:prstGeom>
            <a:solidFill>
              <a:schemeClr val="tx2">
                <a:lumMod val="40000"/>
                <a:lumOff val="60000"/>
              </a:schemeClr>
            </a:solidFill>
          </p:spPr>
          <p:style>
            <a:lnRef idx="1">
              <a:schemeClr val="accent6"/>
            </a:lnRef>
            <a:fillRef idx="2">
              <a:schemeClr val="accent6"/>
            </a:fillRef>
            <a:effectRef idx="1">
              <a:schemeClr val="accent6"/>
            </a:effectRef>
            <a:fontRef idx="minor">
              <a:schemeClr val="dk1"/>
            </a:fontRef>
          </p:style>
          <p:txBody>
            <a:bodyPr wrap="none" lIns="36000" rIns="36000" rtlCol="0" anchor="ctr" anchorCtr="1">
              <a:normAutofit/>
            </a:bodyPr>
            <a:lstStyle/>
            <a:p>
              <a:pPr algn="ctr"/>
              <a:r>
                <a:rPr lang="de-DE" dirty="0">
                  <a:solidFill>
                    <a:schemeClr val="accent6">
                      <a:lumMod val="75000"/>
                    </a:schemeClr>
                  </a:solidFill>
                </a:rPr>
                <a:t>TRL7</a:t>
              </a:r>
            </a:p>
          </p:txBody>
        </p:sp>
        <p:sp>
          <p:nvSpPr>
            <p:cNvPr id="35" name="Chevron 11">
              <a:extLst>
                <a:ext uri="{FF2B5EF4-FFF2-40B4-BE49-F238E27FC236}">
                  <a16:creationId xmlns:a16="http://schemas.microsoft.com/office/drawing/2014/main" id="{F364B8AD-D846-4FE1-85D0-5685B2FD6D4C}"/>
                </a:ext>
              </a:extLst>
            </p:cNvPr>
            <p:cNvSpPr/>
            <p:nvPr/>
          </p:nvSpPr>
          <p:spPr>
            <a:xfrm>
              <a:off x="8059838" y="5241974"/>
              <a:ext cx="1152000" cy="576064"/>
            </a:xfrm>
            <a:prstGeom prst="chevron">
              <a:avLst/>
            </a:prstGeom>
            <a:solidFill>
              <a:schemeClr val="tx2">
                <a:lumMod val="40000"/>
                <a:lumOff val="60000"/>
              </a:schemeClr>
            </a:solidFill>
          </p:spPr>
          <p:style>
            <a:lnRef idx="1">
              <a:schemeClr val="accent6"/>
            </a:lnRef>
            <a:fillRef idx="2">
              <a:schemeClr val="accent6"/>
            </a:fillRef>
            <a:effectRef idx="1">
              <a:schemeClr val="accent6"/>
            </a:effectRef>
            <a:fontRef idx="minor">
              <a:schemeClr val="dk1"/>
            </a:fontRef>
          </p:style>
          <p:txBody>
            <a:bodyPr wrap="none" lIns="36000" rIns="36000" rtlCol="0" anchor="ctr" anchorCtr="1">
              <a:normAutofit/>
            </a:bodyPr>
            <a:lstStyle/>
            <a:p>
              <a:pPr algn="ctr"/>
              <a:r>
                <a:rPr lang="de-DE" dirty="0">
                  <a:solidFill>
                    <a:schemeClr val="accent6">
                      <a:lumMod val="75000"/>
                    </a:schemeClr>
                  </a:solidFill>
                </a:rPr>
                <a:t>TRL8</a:t>
              </a:r>
            </a:p>
          </p:txBody>
        </p:sp>
        <p:sp>
          <p:nvSpPr>
            <p:cNvPr id="36" name="Chevron 12">
              <a:extLst>
                <a:ext uri="{FF2B5EF4-FFF2-40B4-BE49-F238E27FC236}">
                  <a16:creationId xmlns:a16="http://schemas.microsoft.com/office/drawing/2014/main" id="{BC95D56C-EAFD-4FF8-859B-936E3C85826D}"/>
                </a:ext>
              </a:extLst>
            </p:cNvPr>
            <p:cNvSpPr/>
            <p:nvPr/>
          </p:nvSpPr>
          <p:spPr>
            <a:xfrm>
              <a:off x="8995942" y="5241974"/>
              <a:ext cx="1152000" cy="576064"/>
            </a:xfrm>
            <a:prstGeom prst="chevron">
              <a:avLst/>
            </a:prstGeom>
            <a:solidFill>
              <a:schemeClr val="tx2">
                <a:lumMod val="40000"/>
                <a:lumOff val="60000"/>
              </a:schemeClr>
            </a:solidFill>
          </p:spPr>
          <p:style>
            <a:lnRef idx="1">
              <a:schemeClr val="accent6"/>
            </a:lnRef>
            <a:fillRef idx="2">
              <a:schemeClr val="accent6"/>
            </a:fillRef>
            <a:effectRef idx="1">
              <a:schemeClr val="accent6"/>
            </a:effectRef>
            <a:fontRef idx="minor">
              <a:schemeClr val="dk1"/>
            </a:fontRef>
          </p:style>
          <p:txBody>
            <a:bodyPr wrap="none" lIns="36000" rIns="36000" rtlCol="0" anchor="ctr" anchorCtr="1">
              <a:normAutofit/>
            </a:bodyPr>
            <a:lstStyle/>
            <a:p>
              <a:pPr algn="ctr"/>
              <a:r>
                <a:rPr lang="de-DE" dirty="0"/>
                <a:t>TRL9</a:t>
              </a:r>
            </a:p>
          </p:txBody>
        </p:sp>
        <p:sp>
          <p:nvSpPr>
            <p:cNvPr id="37" name="Textfeld 36">
              <a:extLst>
                <a:ext uri="{FF2B5EF4-FFF2-40B4-BE49-F238E27FC236}">
                  <a16:creationId xmlns:a16="http://schemas.microsoft.com/office/drawing/2014/main" id="{17ECAA7B-0E3A-4FF0-A4D2-F0121A6FB25C}"/>
                </a:ext>
              </a:extLst>
            </p:cNvPr>
            <p:cNvSpPr txBox="1"/>
            <p:nvPr/>
          </p:nvSpPr>
          <p:spPr>
            <a:xfrm>
              <a:off x="7066532" y="4270798"/>
              <a:ext cx="3695753" cy="584775"/>
            </a:xfrm>
            <a:prstGeom prst="rect">
              <a:avLst/>
            </a:prstGeom>
            <a:noFill/>
          </p:spPr>
          <p:txBody>
            <a:bodyPr wrap="square" rtlCol="0">
              <a:spAutoFit/>
            </a:bodyPr>
            <a:lstStyle/>
            <a:p>
              <a:pPr algn="ctr"/>
              <a:r>
                <a:rPr lang="de-DE" sz="1600" b="1" dirty="0">
                  <a:solidFill>
                    <a:schemeClr val="accent6">
                      <a:lumMod val="60000"/>
                      <a:lumOff val="40000"/>
                    </a:schemeClr>
                  </a:solidFill>
                </a:rPr>
                <a:t>IPCEI: First Industrial Deployment </a:t>
              </a:r>
            </a:p>
            <a:p>
              <a:pPr algn="ctr"/>
              <a:r>
                <a:rPr lang="de-DE" sz="1600" b="1" dirty="0">
                  <a:solidFill>
                    <a:schemeClr val="accent6">
                      <a:lumMod val="60000"/>
                      <a:lumOff val="40000"/>
                    </a:schemeClr>
                  </a:solidFill>
                </a:rPr>
                <a:t>mit integriertem Forschungsanteil</a:t>
              </a:r>
            </a:p>
          </p:txBody>
        </p:sp>
        <p:sp>
          <p:nvSpPr>
            <p:cNvPr id="38" name="Textfeld 37">
              <a:extLst>
                <a:ext uri="{FF2B5EF4-FFF2-40B4-BE49-F238E27FC236}">
                  <a16:creationId xmlns:a16="http://schemas.microsoft.com/office/drawing/2014/main" id="{EF6BAA6C-E71A-46E5-A415-C2674DFEF2C7}"/>
                </a:ext>
              </a:extLst>
            </p:cNvPr>
            <p:cNvSpPr txBox="1"/>
            <p:nvPr/>
          </p:nvSpPr>
          <p:spPr>
            <a:xfrm flipH="1">
              <a:off x="1507110" y="5888305"/>
              <a:ext cx="3168352" cy="276999"/>
            </a:xfrm>
            <a:prstGeom prst="rect">
              <a:avLst/>
            </a:prstGeom>
            <a:noFill/>
          </p:spPr>
          <p:txBody>
            <a:bodyPr wrap="square" rtlCol="0">
              <a:spAutoFit/>
            </a:bodyPr>
            <a:lstStyle/>
            <a:p>
              <a:r>
                <a:rPr lang="de-DE" sz="1200" dirty="0"/>
                <a:t>TRL = Technology </a:t>
              </a:r>
              <a:r>
                <a:rPr lang="de-DE" sz="1200" dirty="0" err="1"/>
                <a:t>Readiness</a:t>
              </a:r>
              <a:r>
                <a:rPr lang="de-DE" sz="1200" dirty="0"/>
                <a:t> Level</a:t>
              </a:r>
            </a:p>
          </p:txBody>
        </p:sp>
        <p:sp>
          <p:nvSpPr>
            <p:cNvPr id="39" name="Geschweifte Klammer rechts 38">
              <a:extLst>
                <a:ext uri="{FF2B5EF4-FFF2-40B4-BE49-F238E27FC236}">
                  <a16:creationId xmlns:a16="http://schemas.microsoft.com/office/drawing/2014/main" id="{30A2E734-99D4-40A1-8BA2-14B95DA26C52}"/>
                </a:ext>
              </a:extLst>
            </p:cNvPr>
            <p:cNvSpPr/>
            <p:nvPr/>
          </p:nvSpPr>
          <p:spPr>
            <a:xfrm rot="5400000" flipH="1">
              <a:off x="4561480" y="3694680"/>
              <a:ext cx="360742" cy="2708298"/>
            </a:xfrm>
            <a:prstGeom prst="rightBrace">
              <a:avLst/>
            </a:prstGeom>
          </p:spPr>
          <p:style>
            <a:lnRef idx="1">
              <a:schemeClr val="accent6"/>
            </a:lnRef>
            <a:fillRef idx="0">
              <a:schemeClr val="accent6"/>
            </a:fillRef>
            <a:effectRef idx="0">
              <a:schemeClr val="accent6"/>
            </a:effectRef>
            <a:fontRef idx="minor">
              <a:schemeClr val="tx1"/>
            </a:fontRef>
          </p:style>
          <p:txBody>
            <a:bodyPr rtlCol="0" anchor="ctr"/>
            <a:lstStyle/>
            <a:p>
              <a:pPr algn="ctr"/>
              <a:endParaRPr lang="de-DE"/>
            </a:p>
          </p:txBody>
        </p:sp>
        <p:sp>
          <p:nvSpPr>
            <p:cNvPr id="40" name="Textfeld 39">
              <a:extLst>
                <a:ext uri="{FF2B5EF4-FFF2-40B4-BE49-F238E27FC236}">
                  <a16:creationId xmlns:a16="http://schemas.microsoft.com/office/drawing/2014/main" id="{8BE11B64-D54D-4C67-8C0D-93E4D26E9CFD}"/>
                </a:ext>
              </a:extLst>
            </p:cNvPr>
            <p:cNvSpPr txBox="1"/>
            <p:nvPr/>
          </p:nvSpPr>
          <p:spPr>
            <a:xfrm>
              <a:off x="1631503" y="4284385"/>
              <a:ext cx="1584177" cy="584775"/>
            </a:xfrm>
            <a:prstGeom prst="rect">
              <a:avLst/>
            </a:prstGeom>
            <a:noFill/>
          </p:spPr>
          <p:txBody>
            <a:bodyPr wrap="square" rtlCol="0">
              <a:spAutoFit/>
            </a:bodyPr>
            <a:lstStyle/>
            <a:p>
              <a:pPr algn="ctr"/>
              <a:r>
                <a:rPr lang="de-DE" sz="1600" b="1" dirty="0"/>
                <a:t>Akademische Forschung</a:t>
              </a:r>
            </a:p>
          </p:txBody>
        </p:sp>
        <p:sp>
          <p:nvSpPr>
            <p:cNvPr id="41" name="Textfeld 40">
              <a:extLst>
                <a:ext uri="{FF2B5EF4-FFF2-40B4-BE49-F238E27FC236}">
                  <a16:creationId xmlns:a16="http://schemas.microsoft.com/office/drawing/2014/main" id="{23F866DD-852E-4764-8EB6-AC9DDB075C92}"/>
                </a:ext>
              </a:extLst>
            </p:cNvPr>
            <p:cNvSpPr txBox="1"/>
            <p:nvPr/>
          </p:nvSpPr>
          <p:spPr>
            <a:xfrm>
              <a:off x="3595214" y="4291912"/>
              <a:ext cx="2205959" cy="584775"/>
            </a:xfrm>
            <a:prstGeom prst="rect">
              <a:avLst/>
            </a:prstGeom>
            <a:noFill/>
          </p:spPr>
          <p:txBody>
            <a:bodyPr wrap="square" rtlCol="0">
              <a:spAutoFit/>
            </a:bodyPr>
            <a:lstStyle/>
            <a:p>
              <a:pPr algn="ctr"/>
              <a:r>
                <a:rPr lang="de-DE" sz="1600" b="1" dirty="0"/>
                <a:t>Industrielle FuE, Validierung</a:t>
              </a:r>
            </a:p>
          </p:txBody>
        </p:sp>
        <p:sp>
          <p:nvSpPr>
            <p:cNvPr id="42" name="Textfeld 41">
              <a:extLst>
                <a:ext uri="{FF2B5EF4-FFF2-40B4-BE49-F238E27FC236}">
                  <a16:creationId xmlns:a16="http://schemas.microsoft.com/office/drawing/2014/main" id="{42AB5B02-BB49-41F0-88EE-DBB4D6DF75D1}"/>
                </a:ext>
              </a:extLst>
            </p:cNvPr>
            <p:cNvSpPr txBox="1"/>
            <p:nvPr/>
          </p:nvSpPr>
          <p:spPr>
            <a:xfrm>
              <a:off x="5992208" y="4458598"/>
              <a:ext cx="1073453" cy="338554"/>
            </a:xfrm>
            <a:prstGeom prst="rect">
              <a:avLst/>
            </a:prstGeom>
            <a:noFill/>
          </p:spPr>
          <p:txBody>
            <a:bodyPr wrap="square" rtlCol="0">
              <a:spAutoFit/>
            </a:bodyPr>
            <a:lstStyle/>
            <a:p>
              <a:r>
                <a:rPr lang="de-DE" sz="1600" b="1" dirty="0"/>
                <a:t>Prototyp</a:t>
              </a:r>
            </a:p>
          </p:txBody>
        </p:sp>
        <p:sp>
          <p:nvSpPr>
            <p:cNvPr id="43" name="Geschweifte Klammer rechts 42">
              <a:extLst>
                <a:ext uri="{FF2B5EF4-FFF2-40B4-BE49-F238E27FC236}">
                  <a16:creationId xmlns:a16="http://schemas.microsoft.com/office/drawing/2014/main" id="{0B680C57-70AC-4410-B431-9F897CDD8DFD}"/>
                </a:ext>
              </a:extLst>
            </p:cNvPr>
            <p:cNvSpPr/>
            <p:nvPr/>
          </p:nvSpPr>
          <p:spPr>
            <a:xfrm rot="5400000" flipH="1">
              <a:off x="2221220" y="4162732"/>
              <a:ext cx="360742" cy="1772194"/>
            </a:xfrm>
            <a:prstGeom prst="rightBrace">
              <a:avLst/>
            </a:prstGeom>
          </p:spPr>
          <p:style>
            <a:lnRef idx="1">
              <a:schemeClr val="accent6"/>
            </a:lnRef>
            <a:fillRef idx="0">
              <a:schemeClr val="accent6"/>
            </a:fillRef>
            <a:effectRef idx="0">
              <a:schemeClr val="accent6"/>
            </a:effectRef>
            <a:fontRef idx="minor">
              <a:schemeClr val="tx1"/>
            </a:fontRef>
          </p:style>
          <p:txBody>
            <a:bodyPr rtlCol="0" anchor="ctr"/>
            <a:lstStyle/>
            <a:p>
              <a:pPr algn="ctr"/>
              <a:endParaRPr lang="de-DE"/>
            </a:p>
          </p:txBody>
        </p:sp>
        <p:sp>
          <p:nvSpPr>
            <p:cNvPr id="44" name="Geschweifte Klammer rechts 43">
              <a:extLst>
                <a:ext uri="{FF2B5EF4-FFF2-40B4-BE49-F238E27FC236}">
                  <a16:creationId xmlns:a16="http://schemas.microsoft.com/office/drawing/2014/main" id="{4E97A51A-44EA-4340-AE88-E0688C07635E}"/>
                </a:ext>
              </a:extLst>
            </p:cNvPr>
            <p:cNvSpPr/>
            <p:nvPr/>
          </p:nvSpPr>
          <p:spPr>
            <a:xfrm rot="5400000" flipH="1">
              <a:off x="6419685" y="4616781"/>
              <a:ext cx="360742" cy="864096"/>
            </a:xfrm>
            <a:prstGeom prst="rightBrace">
              <a:avLst/>
            </a:prstGeom>
          </p:spPr>
          <p:style>
            <a:lnRef idx="1">
              <a:schemeClr val="accent6"/>
            </a:lnRef>
            <a:fillRef idx="0">
              <a:schemeClr val="accent6"/>
            </a:fillRef>
            <a:effectRef idx="0">
              <a:schemeClr val="accent6"/>
            </a:effectRef>
            <a:fontRef idx="minor">
              <a:schemeClr val="tx1"/>
            </a:fontRef>
          </p:style>
          <p:txBody>
            <a:bodyPr rtlCol="0" anchor="ctr"/>
            <a:lstStyle/>
            <a:p>
              <a:pPr algn="ctr"/>
              <a:endParaRPr lang="de-DE"/>
            </a:p>
          </p:txBody>
        </p:sp>
        <p:sp>
          <p:nvSpPr>
            <p:cNvPr id="45" name="Geschweifte Klammer rechts 44">
              <a:extLst>
                <a:ext uri="{FF2B5EF4-FFF2-40B4-BE49-F238E27FC236}">
                  <a16:creationId xmlns:a16="http://schemas.microsoft.com/office/drawing/2014/main" id="{EAE97C20-94CC-42B1-830B-52C68132457B}"/>
                </a:ext>
              </a:extLst>
            </p:cNvPr>
            <p:cNvSpPr/>
            <p:nvPr/>
          </p:nvSpPr>
          <p:spPr>
            <a:xfrm rot="5400000" flipH="1">
              <a:off x="7823841" y="4148729"/>
              <a:ext cx="360742" cy="1800200"/>
            </a:xfrm>
            <a:prstGeom prst="rightBrace">
              <a:avLst/>
            </a:prstGeom>
          </p:spPr>
          <p:style>
            <a:lnRef idx="1">
              <a:schemeClr val="accent6"/>
            </a:lnRef>
            <a:fillRef idx="0">
              <a:schemeClr val="accent6"/>
            </a:fillRef>
            <a:effectRef idx="0">
              <a:schemeClr val="accent6"/>
            </a:effectRef>
            <a:fontRef idx="minor">
              <a:schemeClr val="tx1"/>
            </a:fontRef>
          </p:style>
          <p:txBody>
            <a:bodyPr rtlCol="0" anchor="ctr"/>
            <a:lstStyle/>
            <a:p>
              <a:pPr algn="ctr"/>
              <a:endParaRPr lang="de-DE"/>
            </a:p>
          </p:txBody>
        </p:sp>
      </p:grpSp>
    </p:spTree>
    <p:extLst>
      <p:ext uri="{BB962C8B-B14F-4D97-AF65-F5344CB8AC3E}">
        <p14:creationId xmlns:p14="http://schemas.microsoft.com/office/powerpoint/2010/main" val="25252894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900000" y="620688"/>
            <a:ext cx="10213192" cy="774491"/>
          </a:xfrm>
        </p:spPr>
        <p:txBody>
          <a:bodyPr/>
          <a:lstStyle/>
          <a:p>
            <a:r>
              <a:rPr lang="de-DE" dirty="0"/>
              <a:t>IPCEI AST | Nächste Schritte </a:t>
            </a:r>
            <a:br>
              <a:rPr lang="de-DE" dirty="0"/>
            </a:br>
            <a:r>
              <a:rPr lang="de-DE" dirty="0"/>
              <a:t>National</a:t>
            </a:r>
          </a:p>
        </p:txBody>
      </p:sp>
      <p:sp>
        <p:nvSpPr>
          <p:cNvPr id="3" name="Foliennummernplatzhalter 2"/>
          <p:cNvSpPr>
            <a:spLocks noGrp="1"/>
          </p:cNvSpPr>
          <p:nvPr>
            <p:ph type="sldNum" sz="quarter" idx="10"/>
          </p:nvPr>
        </p:nvSpPr>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smtClean="0">
                <a:solidFill>
                  <a:schemeClr val="accent5"/>
                </a:solidFill>
              </a:rPr>
              <a:pPr algn="l" rtl="0"/>
              <a:t>40</a:t>
            </a:fld>
            <a:r>
              <a:rPr lang="en-GB" sz="1000" b="0" i="0" u="none" baseline="0">
                <a:solidFill>
                  <a:schemeClr val="accent5"/>
                </a:solidFill>
              </a:rPr>
              <a:t> </a:t>
            </a:r>
          </a:p>
        </p:txBody>
      </p:sp>
      <p:sp>
        <p:nvSpPr>
          <p:cNvPr id="4" name="Textplatzhalter 3"/>
          <p:cNvSpPr>
            <a:spLocks noGrp="1"/>
          </p:cNvSpPr>
          <p:nvPr>
            <p:ph type="body" sz="quarter" idx="15"/>
          </p:nvPr>
        </p:nvSpPr>
        <p:spPr>
          <a:xfrm>
            <a:off x="912285" y="1989857"/>
            <a:ext cx="10526183" cy="4031431"/>
          </a:xfrm>
        </p:spPr>
        <p:txBody>
          <a:bodyPr/>
          <a:lstStyle/>
          <a:p>
            <a:pPr marL="457200" indent="-457200">
              <a:spcBef>
                <a:spcPts val="2000"/>
              </a:spcBef>
              <a:buFont typeface="+mj-lt"/>
              <a:buAutoNum type="arabicPeriod"/>
            </a:pPr>
            <a:r>
              <a:rPr lang="de-DE" u="none" dirty="0">
                <a:solidFill>
                  <a:schemeClr val="tx1"/>
                </a:solidFill>
              </a:rPr>
              <a:t>Abfrage von Projektideen im Anschluss an diese Informationsveranstaltung</a:t>
            </a:r>
          </a:p>
          <a:p>
            <a:pPr marL="457200" indent="-457200">
              <a:spcBef>
                <a:spcPts val="2000"/>
              </a:spcBef>
              <a:buFont typeface="+mj-lt"/>
              <a:buAutoNum type="arabicPeriod"/>
            </a:pPr>
            <a:r>
              <a:rPr lang="de-DE" u="none" dirty="0">
                <a:solidFill>
                  <a:schemeClr val="tx1"/>
                </a:solidFill>
              </a:rPr>
              <a:t>Auswertung der Rückmeldung bis Ende Juli 2025</a:t>
            </a:r>
          </a:p>
          <a:p>
            <a:pPr marL="457200" indent="-457200">
              <a:spcBef>
                <a:spcPts val="2000"/>
              </a:spcBef>
              <a:buFont typeface="+mj-lt"/>
              <a:buAutoNum type="arabicPeriod"/>
            </a:pPr>
            <a:r>
              <a:rPr lang="de-DE" u="none" dirty="0">
                <a:solidFill>
                  <a:schemeClr val="tx1"/>
                </a:solidFill>
              </a:rPr>
              <a:t>Entscheidung durch den Bundestag über den Haushalt</a:t>
            </a:r>
          </a:p>
          <a:p>
            <a:pPr marL="457200" indent="-457200">
              <a:spcBef>
                <a:spcPts val="2000"/>
              </a:spcBef>
              <a:buFont typeface="+mj-lt"/>
              <a:buAutoNum type="arabicPeriod"/>
            </a:pPr>
            <a:r>
              <a:rPr lang="de-DE" u="none" dirty="0">
                <a:solidFill>
                  <a:schemeClr val="tx1"/>
                </a:solidFill>
              </a:rPr>
              <a:t>Danach evtl. Veröffentlichung einer Bekanntmachung zur Teilnahme am IPCEI AST</a:t>
            </a:r>
          </a:p>
          <a:p>
            <a:pPr marL="457200" indent="-457200">
              <a:spcBef>
                <a:spcPts val="2000"/>
              </a:spcBef>
              <a:buFont typeface="+mj-lt"/>
              <a:buAutoNum type="arabicPeriod"/>
            </a:pPr>
            <a:r>
              <a:rPr lang="de-DE" u="none" dirty="0">
                <a:solidFill>
                  <a:schemeClr val="tx1"/>
                </a:solidFill>
              </a:rPr>
              <a:t>Danach Projektauswahl und Weiterqualifikation</a:t>
            </a:r>
          </a:p>
          <a:p>
            <a:pPr marL="457200" indent="-457200">
              <a:spcBef>
                <a:spcPts val="2000"/>
              </a:spcBef>
              <a:buFont typeface="+mj-lt"/>
              <a:buAutoNum type="arabicPeriod"/>
            </a:pPr>
            <a:r>
              <a:rPr lang="de-DE" u="none" dirty="0">
                <a:solidFill>
                  <a:schemeClr val="tx1"/>
                </a:solidFill>
              </a:rPr>
              <a:t>Abschluss der Qualifizierung der Dokumente für Pränotifizierung</a:t>
            </a:r>
          </a:p>
        </p:txBody>
      </p:sp>
    </p:spTree>
    <p:extLst>
      <p:ext uri="{BB962C8B-B14F-4D97-AF65-F5344CB8AC3E}">
        <p14:creationId xmlns:p14="http://schemas.microsoft.com/office/powerpoint/2010/main" val="20936820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338CF5-E07F-4F46-8235-E00D837D10C2}"/>
              </a:ext>
            </a:extLst>
          </p:cNvPr>
          <p:cNvSpPr>
            <a:spLocks noGrp="1"/>
          </p:cNvSpPr>
          <p:nvPr>
            <p:ph type="title"/>
          </p:nvPr>
        </p:nvSpPr>
        <p:spPr>
          <a:xfrm>
            <a:off x="900000" y="620688"/>
            <a:ext cx="8557008" cy="774491"/>
          </a:xfrm>
        </p:spPr>
        <p:txBody>
          <a:bodyPr/>
          <a:lstStyle/>
          <a:p>
            <a:r>
              <a:rPr lang="de-DE" dirty="0"/>
              <a:t>IPCEI AST | Abfragebogen </a:t>
            </a:r>
            <a:br>
              <a:rPr lang="de-DE" dirty="0"/>
            </a:br>
            <a:r>
              <a:rPr lang="de-DE" dirty="0"/>
              <a:t>Projektideen</a:t>
            </a:r>
          </a:p>
        </p:txBody>
      </p:sp>
      <p:sp>
        <p:nvSpPr>
          <p:cNvPr id="3" name="Foliennummernplatzhalter 2">
            <a:extLst>
              <a:ext uri="{FF2B5EF4-FFF2-40B4-BE49-F238E27FC236}">
                <a16:creationId xmlns:a16="http://schemas.microsoft.com/office/drawing/2014/main" id="{760A3473-483D-451C-820C-D7CDEB727566}"/>
              </a:ext>
            </a:extLst>
          </p:cNvPr>
          <p:cNvSpPr>
            <a:spLocks noGrp="1"/>
          </p:cNvSpPr>
          <p:nvPr>
            <p:ph type="sldNum" sz="quarter" idx="10"/>
          </p:nvPr>
        </p:nvSpPr>
        <p:spPr/>
        <p:txBody>
          <a:bodyPr/>
          <a:lstStyle/>
          <a:p>
            <a:pPr algn="l" rtl="0"/>
            <a:r>
              <a:rPr lang="en-GB" b="0" i="0" u="none" baseline="0" dirty="0"/>
              <a:t>  </a:t>
            </a:r>
            <a:r>
              <a:rPr lang="en-GB" sz="1000" b="0" i="0" u="none" baseline="0" dirty="0">
                <a:solidFill>
                  <a:schemeClr val="accent5"/>
                </a:solidFill>
              </a:rPr>
              <a:t>© VDI/VDE-IT </a:t>
            </a:r>
            <a:r>
              <a:rPr lang="en-GB" sz="1000" b="0" i="0" u="none" baseline="0" dirty="0">
                <a:solidFill>
                  <a:schemeClr val="accent5"/>
                </a:solidFill>
                <a:sym typeface="Wingdings" panose="05000000000000000000" pitchFamily="2" charset="2"/>
              </a:rPr>
              <a:t></a:t>
            </a:r>
            <a:r>
              <a:rPr lang="en-GB" sz="1000" b="0" i="0" u="none" baseline="0" dirty="0">
                <a:solidFill>
                  <a:schemeClr val="accent5"/>
                </a:solidFill>
              </a:rPr>
              <a:t>  </a:t>
            </a:r>
            <a:fld id="{12CCBF5E-5E1E-43A5-B4E2-C140E7BD9013}" type="slidenum">
              <a:rPr sz="1000" smtClean="0">
                <a:solidFill>
                  <a:schemeClr val="accent5"/>
                </a:solidFill>
              </a:rPr>
              <a:pPr algn="l" rtl="0"/>
              <a:t>41</a:t>
            </a:fld>
            <a:r>
              <a:rPr lang="en-GB" sz="1000" b="0" i="0" u="none" baseline="0" dirty="0">
                <a:solidFill>
                  <a:schemeClr val="accent5"/>
                </a:solidFill>
              </a:rPr>
              <a:t> </a:t>
            </a:r>
          </a:p>
        </p:txBody>
      </p:sp>
      <p:sp>
        <p:nvSpPr>
          <p:cNvPr id="4" name="Textplatzhalter 3">
            <a:extLst>
              <a:ext uri="{FF2B5EF4-FFF2-40B4-BE49-F238E27FC236}">
                <a16:creationId xmlns:a16="http://schemas.microsoft.com/office/drawing/2014/main" id="{F341DAA5-1A75-49F8-B125-45D2ACDBD2E3}"/>
              </a:ext>
            </a:extLst>
          </p:cNvPr>
          <p:cNvSpPr>
            <a:spLocks noGrp="1"/>
          </p:cNvSpPr>
          <p:nvPr>
            <p:ph type="body" sz="quarter" idx="15"/>
          </p:nvPr>
        </p:nvSpPr>
        <p:spPr>
          <a:xfrm>
            <a:off x="912285" y="1628800"/>
            <a:ext cx="10526183" cy="4535487"/>
          </a:xfrm>
        </p:spPr>
        <p:txBody>
          <a:bodyPr/>
          <a:lstStyle/>
          <a:p>
            <a:r>
              <a:rPr lang="de-DE" u="none" dirty="0">
                <a:solidFill>
                  <a:schemeClr val="tx1"/>
                </a:solidFill>
              </a:rPr>
              <a:t>Ziel: Erfassung von Projektideen für regierungsinterne Abstimmungen zur Teilnahme Deutschlands am IPCEI AST</a:t>
            </a:r>
          </a:p>
          <a:p>
            <a:r>
              <a:rPr lang="de-DE" u="none" dirty="0">
                <a:solidFill>
                  <a:schemeClr val="tx1"/>
                </a:solidFill>
              </a:rPr>
              <a:t>Abgefragte Informationen:</a:t>
            </a:r>
          </a:p>
          <a:p>
            <a:pPr marL="720725" lvl="1" indent="-277813"/>
            <a:r>
              <a:rPr lang="de-DE" sz="1400" dirty="0">
                <a:solidFill>
                  <a:schemeClr val="tx1"/>
                </a:solidFill>
              </a:rPr>
              <a:t>Thema des Projekts, verfolgte Technologie und Position in der Wertschöpfungskette </a:t>
            </a:r>
          </a:p>
          <a:p>
            <a:pPr marL="720725" lvl="1" indent="-277813"/>
            <a:r>
              <a:rPr lang="de-DE" sz="1400" dirty="0">
                <a:solidFill>
                  <a:schemeClr val="tx1"/>
                </a:solidFill>
              </a:rPr>
              <a:t>Unternehmensgröße</a:t>
            </a:r>
          </a:p>
          <a:p>
            <a:pPr marL="720725" lvl="1" indent="-277813"/>
            <a:r>
              <a:rPr lang="de-DE" sz="1400" dirty="0">
                <a:solidFill>
                  <a:schemeClr val="tx1"/>
                </a:solidFill>
              </a:rPr>
              <a:t>Projektstart und -ende (Schätzung)</a:t>
            </a:r>
          </a:p>
          <a:p>
            <a:pPr marL="720725" lvl="1" indent="-277813"/>
            <a:r>
              <a:rPr lang="de-DE" sz="1400" dirty="0">
                <a:solidFill>
                  <a:schemeClr val="tx1"/>
                </a:solidFill>
              </a:rPr>
              <a:t>Geplante Ausgaben (Schätzung)</a:t>
            </a:r>
          </a:p>
          <a:p>
            <a:r>
              <a:rPr lang="de-DE" u="none" dirty="0">
                <a:solidFill>
                  <a:schemeClr val="tx1"/>
                </a:solidFill>
              </a:rPr>
              <a:t>Abfragebogen nach Ende der Informationsveranstaltung auf der Veranstaltungswebseite des VDI/VDE-IT </a:t>
            </a:r>
          </a:p>
          <a:p>
            <a:r>
              <a:rPr lang="de-DE" u="none" dirty="0">
                <a:solidFill>
                  <a:schemeClr val="tx1"/>
                </a:solidFill>
              </a:rPr>
              <a:t>Abfrage offen bis zum 21.07.2025</a:t>
            </a:r>
          </a:p>
          <a:p>
            <a:r>
              <a:rPr lang="de-DE" u="none" dirty="0">
                <a:solidFill>
                  <a:schemeClr val="tx1"/>
                </a:solidFill>
              </a:rPr>
              <a:t>Teilnahme an Abfrage ist keine Voraussetzung für die Teilnahme an einer etwaigen zukünftigen Bekanntmachung</a:t>
            </a:r>
          </a:p>
        </p:txBody>
      </p:sp>
    </p:spTree>
    <p:extLst>
      <p:ext uri="{BB962C8B-B14F-4D97-AF65-F5344CB8AC3E}">
        <p14:creationId xmlns:p14="http://schemas.microsoft.com/office/powerpoint/2010/main" val="17727142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83B6D7B-562B-45DC-952A-377858164B64}"/>
              </a:ext>
            </a:extLst>
          </p:cNvPr>
          <p:cNvSpPr>
            <a:spLocks noGrp="1"/>
          </p:cNvSpPr>
          <p:nvPr>
            <p:ph type="title"/>
          </p:nvPr>
        </p:nvSpPr>
        <p:spPr/>
        <p:txBody>
          <a:bodyPr/>
          <a:lstStyle/>
          <a:p>
            <a:r>
              <a:rPr lang="de-DE" dirty="0"/>
              <a:t>Schlusswort</a:t>
            </a:r>
          </a:p>
        </p:txBody>
      </p:sp>
      <p:sp>
        <p:nvSpPr>
          <p:cNvPr id="3" name="Foliennummernplatzhalter 2">
            <a:extLst>
              <a:ext uri="{FF2B5EF4-FFF2-40B4-BE49-F238E27FC236}">
                <a16:creationId xmlns:a16="http://schemas.microsoft.com/office/drawing/2014/main" id="{A74000FF-92D7-4E52-893B-9D2BB419F46A}"/>
              </a:ext>
            </a:extLst>
          </p:cNvPr>
          <p:cNvSpPr>
            <a:spLocks noGrp="1"/>
          </p:cNvSpPr>
          <p:nvPr>
            <p:ph type="sldNum" sz="quarter" idx="4294967295"/>
          </p:nvPr>
        </p:nvSpPr>
        <p:spPr>
          <a:xfrm>
            <a:off x="1708150" y="6375400"/>
            <a:ext cx="10483850" cy="220663"/>
          </a:xfrm>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smtClean="0">
                <a:solidFill>
                  <a:schemeClr val="accent5"/>
                </a:solidFill>
              </a:rPr>
              <a:pPr algn="l" rtl="0"/>
              <a:t>42</a:t>
            </a:fld>
            <a:r>
              <a:rPr lang="en-GB" sz="1000" b="0" i="0" u="none" baseline="0">
                <a:solidFill>
                  <a:schemeClr val="accent5"/>
                </a:solidFill>
              </a:rPr>
              <a:t> </a:t>
            </a:r>
          </a:p>
        </p:txBody>
      </p:sp>
      <p:sp>
        <p:nvSpPr>
          <p:cNvPr id="4" name="Textplatzhalter 2">
            <a:extLst>
              <a:ext uri="{FF2B5EF4-FFF2-40B4-BE49-F238E27FC236}">
                <a16:creationId xmlns:a16="http://schemas.microsoft.com/office/drawing/2014/main" id="{2E2D84D6-F826-4CB8-B06B-27A6DC20090B}"/>
              </a:ext>
            </a:extLst>
          </p:cNvPr>
          <p:cNvSpPr>
            <a:spLocks noGrp="1"/>
          </p:cNvSpPr>
          <p:nvPr>
            <p:ph type="body" sz="quarter" idx="11"/>
          </p:nvPr>
        </p:nvSpPr>
        <p:spPr>
          <a:xfrm>
            <a:off x="912285" y="3645024"/>
            <a:ext cx="10526183" cy="335413"/>
          </a:xfrm>
        </p:spPr>
        <p:txBody>
          <a:bodyPr/>
          <a:lstStyle/>
          <a:p>
            <a:r>
              <a:rPr lang="de-DE" dirty="0"/>
              <a:t>Dr. Tim Schulze | BMWE</a:t>
            </a:r>
          </a:p>
        </p:txBody>
      </p:sp>
    </p:spTree>
    <p:extLst>
      <p:ext uri="{BB962C8B-B14F-4D97-AF65-F5344CB8AC3E}">
        <p14:creationId xmlns:p14="http://schemas.microsoft.com/office/powerpoint/2010/main" val="1394748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900000" y="720000"/>
            <a:ext cx="8557008" cy="774491"/>
          </a:xfrm>
        </p:spPr>
        <p:txBody>
          <a:bodyPr/>
          <a:lstStyle/>
          <a:p>
            <a:r>
              <a:rPr lang="de-DE" dirty="0"/>
              <a:t>IPCEI | Beispiele</a:t>
            </a:r>
          </a:p>
        </p:txBody>
      </p:sp>
      <p:sp>
        <p:nvSpPr>
          <p:cNvPr id="3" name="Foliennummernplatzhalter 2"/>
          <p:cNvSpPr>
            <a:spLocks noGrp="1"/>
          </p:cNvSpPr>
          <p:nvPr>
            <p:ph type="sldNum" sz="quarter" idx="10"/>
          </p:nvPr>
        </p:nvSpPr>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smtClean="0">
                <a:solidFill>
                  <a:schemeClr val="accent5"/>
                </a:solidFill>
              </a:rPr>
              <a:pPr algn="l" rtl="0"/>
              <a:t>5</a:t>
            </a:fld>
            <a:r>
              <a:rPr lang="en-GB" sz="1000" b="0" i="0" u="none" baseline="0">
                <a:solidFill>
                  <a:schemeClr val="accent5"/>
                </a:solidFill>
              </a:rPr>
              <a:t> </a:t>
            </a:r>
          </a:p>
        </p:txBody>
      </p:sp>
      <p:graphicFrame>
        <p:nvGraphicFramePr>
          <p:cNvPr id="4" name="Diagramm 3">
            <a:extLst>
              <a:ext uri="{FF2B5EF4-FFF2-40B4-BE49-F238E27FC236}">
                <a16:creationId xmlns:a16="http://schemas.microsoft.com/office/drawing/2014/main" id="{E1E60A47-3486-4EC2-B280-FD8E0AC821EB}"/>
              </a:ext>
            </a:extLst>
          </p:cNvPr>
          <p:cNvGraphicFramePr/>
          <p:nvPr>
            <p:extLst>
              <p:ext uri="{D42A27DB-BD31-4B8C-83A1-F6EECF244321}">
                <p14:modId xmlns:p14="http://schemas.microsoft.com/office/powerpoint/2010/main" val="70182204"/>
              </p:ext>
            </p:extLst>
          </p:nvPr>
        </p:nvGraphicFramePr>
        <p:xfrm>
          <a:off x="4265099" y="1751542"/>
          <a:ext cx="10225136" cy="452619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feld 7">
            <a:extLst>
              <a:ext uri="{FF2B5EF4-FFF2-40B4-BE49-F238E27FC236}">
                <a16:creationId xmlns:a16="http://schemas.microsoft.com/office/drawing/2014/main" id="{82DE7FF8-DD1A-4C1B-902E-9BB49FE3D864}"/>
              </a:ext>
            </a:extLst>
          </p:cNvPr>
          <p:cNvSpPr txBox="1"/>
          <p:nvPr/>
        </p:nvSpPr>
        <p:spPr>
          <a:xfrm>
            <a:off x="839416" y="2536448"/>
            <a:ext cx="5272597" cy="1785104"/>
          </a:xfrm>
          <a:prstGeom prst="rect">
            <a:avLst/>
          </a:prstGeom>
          <a:noFill/>
        </p:spPr>
        <p:txBody>
          <a:bodyPr wrap="none" rtlCol="0">
            <a:spAutoFit/>
          </a:bodyPr>
          <a:lstStyle/>
          <a:p>
            <a:pPr marL="285750" indent="-285750">
              <a:spcBef>
                <a:spcPts val="3000"/>
              </a:spcBef>
              <a:buFont typeface="Symbol" panose="05050102010706020507" pitchFamily="18" charset="2"/>
              <a:buChar char="-"/>
            </a:pPr>
            <a:r>
              <a:rPr lang="de-DE" sz="2000" dirty="0"/>
              <a:t>Erstes IPCEI: Mikroelektronik (2017-2022)</a:t>
            </a:r>
          </a:p>
          <a:p>
            <a:pPr marL="285750" indent="-285750">
              <a:spcBef>
                <a:spcPts val="3000"/>
              </a:spcBef>
              <a:buFont typeface="Symbol" panose="05050102010706020507" pitchFamily="18" charset="2"/>
              <a:buChar char="-"/>
            </a:pPr>
            <a:r>
              <a:rPr lang="de-DE" sz="2000" dirty="0"/>
              <a:t>Seitdem 9 weitere IPCEIs</a:t>
            </a:r>
          </a:p>
          <a:p>
            <a:pPr marL="285750" indent="-285750">
              <a:spcBef>
                <a:spcPts val="3000"/>
              </a:spcBef>
              <a:buFont typeface="Symbol" panose="05050102010706020507" pitchFamily="18" charset="2"/>
              <a:buChar char="-"/>
            </a:pPr>
            <a:r>
              <a:rPr lang="de-DE" sz="2000" dirty="0"/>
              <a:t>Mittlerweile im Förderkontext etabliert</a:t>
            </a:r>
          </a:p>
        </p:txBody>
      </p:sp>
    </p:spTree>
    <p:extLst>
      <p:ext uri="{BB962C8B-B14F-4D97-AF65-F5344CB8AC3E}">
        <p14:creationId xmlns:p14="http://schemas.microsoft.com/office/powerpoint/2010/main" val="28360736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7364E82A-929E-4C7F-BF29-91E47AE0B619}"/>
              </a:ext>
            </a:extLst>
          </p:cNvPr>
          <p:cNvSpPr>
            <a:spLocks noGrp="1"/>
          </p:cNvSpPr>
          <p:nvPr>
            <p:ph type="body" sz="quarter" idx="15"/>
          </p:nvPr>
        </p:nvSpPr>
        <p:spPr>
          <a:xfrm>
            <a:off x="1780033" y="1775180"/>
            <a:ext cx="9875392" cy="4535487"/>
          </a:xfrm>
        </p:spPr>
        <p:txBody>
          <a:bodyPr anchor="ctr"/>
          <a:lstStyle/>
          <a:p>
            <a:pPr marL="0" indent="0">
              <a:spcBef>
                <a:spcPts val="3000"/>
              </a:spcBef>
              <a:buNone/>
            </a:pPr>
            <a:r>
              <a:rPr lang="de-DE" u="none" dirty="0">
                <a:solidFill>
                  <a:schemeClr val="tx1"/>
                </a:solidFill>
              </a:rPr>
              <a:t>Stärkung einer nachhaltigen Wettbewerbsfähigkeit Europas</a:t>
            </a:r>
          </a:p>
          <a:p>
            <a:pPr marL="0" indent="0">
              <a:spcBef>
                <a:spcPts val="3000"/>
              </a:spcBef>
              <a:buNone/>
            </a:pPr>
            <a:r>
              <a:rPr lang="de-DE" u="none" dirty="0">
                <a:solidFill>
                  <a:schemeClr val="tx1"/>
                </a:solidFill>
              </a:rPr>
              <a:t>Souveränität: Stärkung der technologischen Innovationskraft durch Bündelung von Wissen, finanziellen Mitteln und Wirtschaftsbeteiligung</a:t>
            </a:r>
          </a:p>
          <a:p>
            <a:pPr marL="0" indent="0">
              <a:spcBef>
                <a:spcPts val="3000"/>
              </a:spcBef>
              <a:buNone/>
            </a:pPr>
            <a:r>
              <a:rPr lang="de-DE" u="none" dirty="0">
                <a:solidFill>
                  <a:schemeClr val="tx1"/>
                </a:solidFill>
              </a:rPr>
              <a:t>Wichtiger Beitrag zu Resilienz von europäischer Industrie und Wirtschaft Umsetzung der EU Industriepolitik (z. B. Green Deal, Digital </a:t>
            </a:r>
            <a:r>
              <a:rPr lang="de-DE" u="none" dirty="0" err="1">
                <a:solidFill>
                  <a:schemeClr val="tx1"/>
                </a:solidFill>
              </a:rPr>
              <a:t>Strategy</a:t>
            </a:r>
            <a:r>
              <a:rPr lang="de-DE" u="none" dirty="0">
                <a:solidFill>
                  <a:schemeClr val="tx1"/>
                </a:solidFill>
              </a:rPr>
              <a:t>) </a:t>
            </a:r>
          </a:p>
          <a:p>
            <a:pPr marL="0" indent="0">
              <a:spcBef>
                <a:spcPts val="3000"/>
              </a:spcBef>
              <a:buNone/>
            </a:pPr>
            <a:r>
              <a:rPr lang="de-DE" u="none" dirty="0">
                <a:solidFill>
                  <a:schemeClr val="tx1"/>
                </a:solidFill>
              </a:rPr>
              <a:t>Förderung der intra-europäischen Zusammenarbeit und von Ausstrahlungseffekten in Europa („Spill-</a:t>
            </a:r>
            <a:r>
              <a:rPr lang="de-DE" u="none" dirty="0" err="1">
                <a:solidFill>
                  <a:schemeClr val="tx1"/>
                </a:solidFill>
              </a:rPr>
              <a:t>over</a:t>
            </a:r>
            <a:r>
              <a:rPr lang="de-DE" u="none" dirty="0">
                <a:solidFill>
                  <a:schemeClr val="tx1"/>
                </a:solidFill>
              </a:rPr>
              <a:t>“)</a:t>
            </a:r>
          </a:p>
          <a:p>
            <a:pPr marL="0" indent="0">
              <a:spcBef>
                <a:spcPts val="3000"/>
              </a:spcBef>
              <a:buNone/>
            </a:pPr>
            <a:r>
              <a:rPr lang="de-DE" u="none" dirty="0">
                <a:solidFill>
                  <a:schemeClr val="tx1"/>
                </a:solidFill>
              </a:rPr>
              <a:t>Mobilisierung privater Investitionen</a:t>
            </a:r>
          </a:p>
        </p:txBody>
      </p:sp>
      <p:sp>
        <p:nvSpPr>
          <p:cNvPr id="2" name="Titel 1">
            <a:extLst>
              <a:ext uri="{FF2B5EF4-FFF2-40B4-BE49-F238E27FC236}">
                <a16:creationId xmlns:a16="http://schemas.microsoft.com/office/drawing/2014/main" id="{4A484521-C481-4AC5-95C6-3EEFC617963B}"/>
              </a:ext>
            </a:extLst>
          </p:cNvPr>
          <p:cNvSpPr>
            <a:spLocks noGrp="1"/>
          </p:cNvSpPr>
          <p:nvPr>
            <p:ph type="title"/>
          </p:nvPr>
        </p:nvSpPr>
        <p:spPr>
          <a:xfrm>
            <a:off x="900000" y="720000"/>
            <a:ext cx="8775477" cy="774491"/>
          </a:xfrm>
        </p:spPr>
        <p:txBody>
          <a:bodyPr/>
          <a:lstStyle/>
          <a:p>
            <a:r>
              <a:rPr lang="de-DE" dirty="0"/>
              <a:t>IPCEI | Förderpolitische Ziele </a:t>
            </a:r>
          </a:p>
        </p:txBody>
      </p:sp>
      <p:sp>
        <p:nvSpPr>
          <p:cNvPr id="3" name="Foliennummernplatzhalter 2">
            <a:extLst>
              <a:ext uri="{FF2B5EF4-FFF2-40B4-BE49-F238E27FC236}">
                <a16:creationId xmlns:a16="http://schemas.microsoft.com/office/drawing/2014/main" id="{B07E6824-37E5-43E1-B642-8A93F21A8C3F}"/>
              </a:ext>
            </a:extLst>
          </p:cNvPr>
          <p:cNvSpPr>
            <a:spLocks noGrp="1"/>
          </p:cNvSpPr>
          <p:nvPr>
            <p:ph type="sldNum" sz="quarter" idx="10"/>
          </p:nvPr>
        </p:nvSpPr>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smtClean="0">
                <a:solidFill>
                  <a:schemeClr val="accent5"/>
                </a:solidFill>
              </a:rPr>
              <a:pPr algn="l" rtl="0"/>
              <a:t>6</a:t>
            </a:fld>
            <a:r>
              <a:rPr lang="en-GB" sz="1000" b="0" i="0" u="none" baseline="0">
                <a:solidFill>
                  <a:schemeClr val="accent5"/>
                </a:solidFill>
              </a:rPr>
              <a:t> </a:t>
            </a:r>
          </a:p>
        </p:txBody>
      </p:sp>
      <p:grpSp>
        <p:nvGrpSpPr>
          <p:cNvPr id="5" name="Group 504">
            <a:extLst>
              <a:ext uri="{FF2B5EF4-FFF2-40B4-BE49-F238E27FC236}">
                <a16:creationId xmlns:a16="http://schemas.microsoft.com/office/drawing/2014/main" id="{3CC2D1AF-1189-4DDA-BC70-49B1D44F9D29}"/>
              </a:ext>
            </a:extLst>
          </p:cNvPr>
          <p:cNvGrpSpPr>
            <a:grpSpLocks noChangeAspect="1"/>
          </p:cNvGrpSpPr>
          <p:nvPr/>
        </p:nvGrpSpPr>
        <p:grpSpPr bwMode="auto">
          <a:xfrm>
            <a:off x="1079804" y="5890758"/>
            <a:ext cx="474116" cy="407514"/>
            <a:chOff x="5539" y="1716"/>
            <a:chExt cx="420" cy="361"/>
          </a:xfrm>
          <a:solidFill>
            <a:schemeClr val="tx2"/>
          </a:solidFill>
        </p:grpSpPr>
        <p:sp>
          <p:nvSpPr>
            <p:cNvPr id="6" name="Freeform 505">
              <a:extLst>
                <a:ext uri="{FF2B5EF4-FFF2-40B4-BE49-F238E27FC236}">
                  <a16:creationId xmlns:a16="http://schemas.microsoft.com/office/drawing/2014/main" id="{BF969C08-4E74-4740-96DA-12C0F1A33133}"/>
                </a:ext>
              </a:extLst>
            </p:cNvPr>
            <p:cNvSpPr>
              <a:spLocks/>
            </p:cNvSpPr>
            <p:nvPr/>
          </p:nvSpPr>
          <p:spPr bwMode="auto">
            <a:xfrm>
              <a:off x="5539" y="1744"/>
              <a:ext cx="247" cy="39"/>
            </a:xfrm>
            <a:custGeom>
              <a:avLst/>
              <a:gdLst>
                <a:gd name="T0" fmla="*/ 150 w 300"/>
                <a:gd name="T1" fmla="*/ 47 h 47"/>
                <a:gd name="T2" fmla="*/ 0 w 300"/>
                <a:gd name="T3" fmla="*/ 6 h 47"/>
                <a:gd name="T4" fmla="*/ 6 w 300"/>
                <a:gd name="T5" fmla="*/ 0 h 47"/>
                <a:gd name="T6" fmla="*/ 12 w 300"/>
                <a:gd name="T7" fmla="*/ 6 h 47"/>
                <a:gd name="T8" fmla="*/ 150 w 300"/>
                <a:gd name="T9" fmla="*/ 35 h 47"/>
                <a:gd name="T10" fmla="*/ 288 w 300"/>
                <a:gd name="T11" fmla="*/ 6 h 47"/>
                <a:gd name="T12" fmla="*/ 294 w 300"/>
                <a:gd name="T13" fmla="*/ 0 h 47"/>
                <a:gd name="T14" fmla="*/ 300 w 300"/>
                <a:gd name="T15" fmla="*/ 6 h 47"/>
                <a:gd name="T16" fmla="*/ 150 w 300"/>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 h="47">
                  <a:moveTo>
                    <a:pt x="150" y="47"/>
                  </a:moveTo>
                  <a:cubicBezTo>
                    <a:pt x="90" y="47"/>
                    <a:pt x="0" y="36"/>
                    <a:pt x="0" y="6"/>
                  </a:cubicBezTo>
                  <a:cubicBezTo>
                    <a:pt x="0" y="3"/>
                    <a:pt x="3" y="0"/>
                    <a:pt x="6" y="0"/>
                  </a:cubicBezTo>
                  <a:cubicBezTo>
                    <a:pt x="9" y="0"/>
                    <a:pt x="12" y="3"/>
                    <a:pt x="12" y="6"/>
                  </a:cubicBezTo>
                  <a:cubicBezTo>
                    <a:pt x="12" y="16"/>
                    <a:pt x="59" y="35"/>
                    <a:pt x="150" y="35"/>
                  </a:cubicBezTo>
                  <a:cubicBezTo>
                    <a:pt x="240" y="35"/>
                    <a:pt x="288" y="16"/>
                    <a:pt x="288" y="6"/>
                  </a:cubicBezTo>
                  <a:cubicBezTo>
                    <a:pt x="288" y="3"/>
                    <a:pt x="290" y="0"/>
                    <a:pt x="294" y="0"/>
                  </a:cubicBezTo>
                  <a:cubicBezTo>
                    <a:pt x="297" y="0"/>
                    <a:pt x="300" y="3"/>
                    <a:pt x="300" y="6"/>
                  </a:cubicBezTo>
                  <a:cubicBezTo>
                    <a:pt x="300" y="36"/>
                    <a:pt x="210" y="47"/>
                    <a:pt x="150"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506">
              <a:extLst>
                <a:ext uri="{FF2B5EF4-FFF2-40B4-BE49-F238E27FC236}">
                  <a16:creationId xmlns:a16="http://schemas.microsoft.com/office/drawing/2014/main" id="{0D6B88D1-7C6A-4958-8408-F3C8FA79E6B4}"/>
                </a:ext>
              </a:extLst>
            </p:cNvPr>
            <p:cNvSpPr>
              <a:spLocks/>
            </p:cNvSpPr>
            <p:nvPr/>
          </p:nvSpPr>
          <p:spPr bwMode="auto">
            <a:xfrm>
              <a:off x="5539" y="1716"/>
              <a:ext cx="246" cy="347"/>
            </a:xfrm>
            <a:custGeom>
              <a:avLst/>
              <a:gdLst>
                <a:gd name="T0" fmla="*/ 150 w 299"/>
                <a:gd name="T1" fmla="*/ 421 h 421"/>
                <a:gd name="T2" fmla="*/ 0 w 299"/>
                <a:gd name="T3" fmla="*/ 381 h 421"/>
                <a:gd name="T4" fmla="*/ 0 w 299"/>
                <a:gd name="T5" fmla="*/ 377 h 421"/>
                <a:gd name="T6" fmla="*/ 0 w 299"/>
                <a:gd name="T7" fmla="*/ 44 h 421"/>
                <a:gd name="T8" fmla="*/ 0 w 299"/>
                <a:gd name="T9" fmla="*/ 40 h 421"/>
                <a:gd name="T10" fmla="*/ 150 w 299"/>
                <a:gd name="T11" fmla="*/ 0 h 421"/>
                <a:gd name="T12" fmla="*/ 299 w 299"/>
                <a:gd name="T13" fmla="*/ 40 h 421"/>
                <a:gd name="T14" fmla="*/ 299 w 299"/>
                <a:gd name="T15" fmla="*/ 44 h 421"/>
                <a:gd name="T16" fmla="*/ 299 w 299"/>
                <a:gd name="T17" fmla="*/ 167 h 421"/>
                <a:gd name="T18" fmla="*/ 293 w 299"/>
                <a:gd name="T19" fmla="*/ 173 h 421"/>
                <a:gd name="T20" fmla="*/ 287 w 299"/>
                <a:gd name="T21" fmla="*/ 167 h 421"/>
                <a:gd name="T22" fmla="*/ 287 w 299"/>
                <a:gd name="T23" fmla="*/ 43 h 421"/>
                <a:gd name="T24" fmla="*/ 287 w 299"/>
                <a:gd name="T25" fmla="*/ 41 h 421"/>
                <a:gd name="T26" fmla="*/ 287 w 299"/>
                <a:gd name="T27" fmla="*/ 40 h 421"/>
                <a:gd name="T28" fmla="*/ 150 w 299"/>
                <a:gd name="T29" fmla="*/ 12 h 421"/>
                <a:gd name="T30" fmla="*/ 12 w 299"/>
                <a:gd name="T31" fmla="*/ 40 h 421"/>
                <a:gd name="T32" fmla="*/ 12 w 299"/>
                <a:gd name="T33" fmla="*/ 41 h 421"/>
                <a:gd name="T34" fmla="*/ 12 w 299"/>
                <a:gd name="T35" fmla="*/ 43 h 421"/>
                <a:gd name="T36" fmla="*/ 12 w 299"/>
                <a:gd name="T37" fmla="*/ 378 h 421"/>
                <a:gd name="T38" fmla="*/ 12 w 299"/>
                <a:gd name="T39" fmla="*/ 380 h 421"/>
                <a:gd name="T40" fmla="*/ 12 w 299"/>
                <a:gd name="T41" fmla="*/ 381 h 421"/>
                <a:gd name="T42" fmla="*/ 150 w 299"/>
                <a:gd name="T43" fmla="*/ 409 h 421"/>
                <a:gd name="T44" fmla="*/ 269 w 299"/>
                <a:gd name="T45" fmla="*/ 394 h 421"/>
                <a:gd name="T46" fmla="*/ 277 w 299"/>
                <a:gd name="T47" fmla="*/ 397 h 421"/>
                <a:gd name="T48" fmla="*/ 273 w 299"/>
                <a:gd name="T49" fmla="*/ 405 h 421"/>
                <a:gd name="T50" fmla="*/ 150 w 299"/>
                <a:gd name="T51" fmla="*/ 421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9" h="421">
                  <a:moveTo>
                    <a:pt x="150" y="421"/>
                  </a:moveTo>
                  <a:cubicBezTo>
                    <a:pt x="89" y="421"/>
                    <a:pt x="0" y="410"/>
                    <a:pt x="0" y="381"/>
                  </a:cubicBezTo>
                  <a:cubicBezTo>
                    <a:pt x="0" y="380"/>
                    <a:pt x="0" y="378"/>
                    <a:pt x="0" y="377"/>
                  </a:cubicBezTo>
                  <a:cubicBezTo>
                    <a:pt x="0" y="44"/>
                    <a:pt x="0" y="44"/>
                    <a:pt x="0" y="44"/>
                  </a:cubicBezTo>
                  <a:cubicBezTo>
                    <a:pt x="0" y="43"/>
                    <a:pt x="0" y="41"/>
                    <a:pt x="0" y="40"/>
                  </a:cubicBezTo>
                  <a:cubicBezTo>
                    <a:pt x="0" y="11"/>
                    <a:pt x="89" y="0"/>
                    <a:pt x="150" y="0"/>
                  </a:cubicBezTo>
                  <a:cubicBezTo>
                    <a:pt x="210" y="0"/>
                    <a:pt x="299" y="11"/>
                    <a:pt x="299" y="40"/>
                  </a:cubicBezTo>
                  <a:cubicBezTo>
                    <a:pt x="299" y="41"/>
                    <a:pt x="299" y="43"/>
                    <a:pt x="299" y="44"/>
                  </a:cubicBezTo>
                  <a:cubicBezTo>
                    <a:pt x="299" y="167"/>
                    <a:pt x="299" y="167"/>
                    <a:pt x="299" y="167"/>
                  </a:cubicBezTo>
                  <a:cubicBezTo>
                    <a:pt x="299" y="170"/>
                    <a:pt x="296" y="173"/>
                    <a:pt x="293" y="173"/>
                  </a:cubicBezTo>
                  <a:cubicBezTo>
                    <a:pt x="290" y="173"/>
                    <a:pt x="287" y="170"/>
                    <a:pt x="287" y="167"/>
                  </a:cubicBezTo>
                  <a:cubicBezTo>
                    <a:pt x="287" y="43"/>
                    <a:pt x="287" y="43"/>
                    <a:pt x="287" y="43"/>
                  </a:cubicBezTo>
                  <a:cubicBezTo>
                    <a:pt x="287" y="42"/>
                    <a:pt x="287" y="42"/>
                    <a:pt x="287" y="41"/>
                  </a:cubicBezTo>
                  <a:cubicBezTo>
                    <a:pt x="287" y="41"/>
                    <a:pt x="287" y="40"/>
                    <a:pt x="287" y="40"/>
                  </a:cubicBezTo>
                  <a:cubicBezTo>
                    <a:pt x="287" y="30"/>
                    <a:pt x="240" y="12"/>
                    <a:pt x="150" y="12"/>
                  </a:cubicBezTo>
                  <a:cubicBezTo>
                    <a:pt x="59" y="12"/>
                    <a:pt x="12" y="30"/>
                    <a:pt x="12" y="40"/>
                  </a:cubicBezTo>
                  <a:cubicBezTo>
                    <a:pt x="12" y="40"/>
                    <a:pt x="12" y="41"/>
                    <a:pt x="12" y="41"/>
                  </a:cubicBezTo>
                  <a:cubicBezTo>
                    <a:pt x="12" y="42"/>
                    <a:pt x="12" y="42"/>
                    <a:pt x="12" y="43"/>
                  </a:cubicBezTo>
                  <a:cubicBezTo>
                    <a:pt x="12" y="378"/>
                    <a:pt x="12" y="378"/>
                    <a:pt x="12" y="378"/>
                  </a:cubicBezTo>
                  <a:cubicBezTo>
                    <a:pt x="12" y="379"/>
                    <a:pt x="12" y="379"/>
                    <a:pt x="12" y="380"/>
                  </a:cubicBezTo>
                  <a:cubicBezTo>
                    <a:pt x="12" y="380"/>
                    <a:pt x="12" y="381"/>
                    <a:pt x="12" y="381"/>
                  </a:cubicBezTo>
                  <a:cubicBezTo>
                    <a:pt x="12" y="391"/>
                    <a:pt x="59" y="409"/>
                    <a:pt x="150" y="409"/>
                  </a:cubicBezTo>
                  <a:cubicBezTo>
                    <a:pt x="198" y="409"/>
                    <a:pt x="243" y="403"/>
                    <a:pt x="269" y="394"/>
                  </a:cubicBezTo>
                  <a:cubicBezTo>
                    <a:pt x="272" y="392"/>
                    <a:pt x="275" y="394"/>
                    <a:pt x="277" y="397"/>
                  </a:cubicBezTo>
                  <a:cubicBezTo>
                    <a:pt x="278" y="400"/>
                    <a:pt x="276" y="404"/>
                    <a:pt x="273" y="405"/>
                  </a:cubicBezTo>
                  <a:cubicBezTo>
                    <a:pt x="246" y="415"/>
                    <a:pt x="200" y="421"/>
                    <a:pt x="150" y="4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507">
              <a:extLst>
                <a:ext uri="{FF2B5EF4-FFF2-40B4-BE49-F238E27FC236}">
                  <a16:creationId xmlns:a16="http://schemas.microsoft.com/office/drawing/2014/main" id="{33E99ED2-54BA-4085-9E1A-CA8D09255C34}"/>
                </a:ext>
              </a:extLst>
            </p:cNvPr>
            <p:cNvSpPr>
              <a:spLocks/>
            </p:cNvSpPr>
            <p:nvPr/>
          </p:nvSpPr>
          <p:spPr bwMode="auto">
            <a:xfrm>
              <a:off x="5539" y="1785"/>
              <a:ext cx="247" cy="38"/>
            </a:xfrm>
            <a:custGeom>
              <a:avLst/>
              <a:gdLst>
                <a:gd name="T0" fmla="*/ 150 w 300"/>
                <a:gd name="T1" fmla="*/ 47 h 47"/>
                <a:gd name="T2" fmla="*/ 0 w 300"/>
                <a:gd name="T3" fmla="*/ 6 h 47"/>
                <a:gd name="T4" fmla="*/ 6 w 300"/>
                <a:gd name="T5" fmla="*/ 0 h 47"/>
                <a:gd name="T6" fmla="*/ 12 w 300"/>
                <a:gd name="T7" fmla="*/ 6 h 47"/>
                <a:gd name="T8" fmla="*/ 150 w 300"/>
                <a:gd name="T9" fmla="*/ 35 h 47"/>
                <a:gd name="T10" fmla="*/ 288 w 300"/>
                <a:gd name="T11" fmla="*/ 6 h 47"/>
                <a:gd name="T12" fmla="*/ 294 w 300"/>
                <a:gd name="T13" fmla="*/ 0 h 47"/>
                <a:gd name="T14" fmla="*/ 300 w 300"/>
                <a:gd name="T15" fmla="*/ 6 h 47"/>
                <a:gd name="T16" fmla="*/ 150 w 300"/>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 h="47">
                  <a:moveTo>
                    <a:pt x="150" y="47"/>
                  </a:moveTo>
                  <a:cubicBezTo>
                    <a:pt x="90" y="47"/>
                    <a:pt x="0" y="36"/>
                    <a:pt x="0" y="6"/>
                  </a:cubicBezTo>
                  <a:cubicBezTo>
                    <a:pt x="0" y="3"/>
                    <a:pt x="3" y="0"/>
                    <a:pt x="6" y="0"/>
                  </a:cubicBezTo>
                  <a:cubicBezTo>
                    <a:pt x="9" y="0"/>
                    <a:pt x="12" y="3"/>
                    <a:pt x="12" y="6"/>
                  </a:cubicBezTo>
                  <a:cubicBezTo>
                    <a:pt x="12" y="16"/>
                    <a:pt x="59" y="35"/>
                    <a:pt x="150" y="35"/>
                  </a:cubicBezTo>
                  <a:cubicBezTo>
                    <a:pt x="240" y="35"/>
                    <a:pt x="288" y="16"/>
                    <a:pt x="288" y="6"/>
                  </a:cubicBezTo>
                  <a:cubicBezTo>
                    <a:pt x="288" y="3"/>
                    <a:pt x="290" y="0"/>
                    <a:pt x="294" y="0"/>
                  </a:cubicBezTo>
                  <a:cubicBezTo>
                    <a:pt x="297" y="0"/>
                    <a:pt x="300" y="3"/>
                    <a:pt x="300" y="6"/>
                  </a:cubicBezTo>
                  <a:cubicBezTo>
                    <a:pt x="300" y="36"/>
                    <a:pt x="210" y="47"/>
                    <a:pt x="150"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508">
              <a:extLst>
                <a:ext uri="{FF2B5EF4-FFF2-40B4-BE49-F238E27FC236}">
                  <a16:creationId xmlns:a16="http://schemas.microsoft.com/office/drawing/2014/main" id="{2D594C80-11CF-477C-815C-0086032B5191}"/>
                </a:ext>
              </a:extLst>
            </p:cNvPr>
            <p:cNvSpPr>
              <a:spLocks/>
            </p:cNvSpPr>
            <p:nvPr/>
          </p:nvSpPr>
          <p:spPr bwMode="auto">
            <a:xfrm>
              <a:off x="5539" y="1825"/>
              <a:ext cx="247" cy="39"/>
            </a:xfrm>
            <a:custGeom>
              <a:avLst/>
              <a:gdLst>
                <a:gd name="T0" fmla="*/ 150 w 300"/>
                <a:gd name="T1" fmla="*/ 47 h 47"/>
                <a:gd name="T2" fmla="*/ 0 w 300"/>
                <a:gd name="T3" fmla="*/ 6 h 47"/>
                <a:gd name="T4" fmla="*/ 6 w 300"/>
                <a:gd name="T5" fmla="*/ 0 h 47"/>
                <a:gd name="T6" fmla="*/ 12 w 300"/>
                <a:gd name="T7" fmla="*/ 6 h 47"/>
                <a:gd name="T8" fmla="*/ 150 w 300"/>
                <a:gd name="T9" fmla="*/ 35 h 47"/>
                <a:gd name="T10" fmla="*/ 288 w 300"/>
                <a:gd name="T11" fmla="*/ 6 h 47"/>
                <a:gd name="T12" fmla="*/ 294 w 300"/>
                <a:gd name="T13" fmla="*/ 0 h 47"/>
                <a:gd name="T14" fmla="*/ 300 w 300"/>
                <a:gd name="T15" fmla="*/ 6 h 47"/>
                <a:gd name="T16" fmla="*/ 150 w 300"/>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 h="47">
                  <a:moveTo>
                    <a:pt x="150" y="47"/>
                  </a:moveTo>
                  <a:cubicBezTo>
                    <a:pt x="90" y="47"/>
                    <a:pt x="0" y="36"/>
                    <a:pt x="0" y="6"/>
                  </a:cubicBezTo>
                  <a:cubicBezTo>
                    <a:pt x="0" y="3"/>
                    <a:pt x="3" y="0"/>
                    <a:pt x="6" y="0"/>
                  </a:cubicBezTo>
                  <a:cubicBezTo>
                    <a:pt x="9" y="0"/>
                    <a:pt x="12" y="3"/>
                    <a:pt x="12" y="6"/>
                  </a:cubicBezTo>
                  <a:cubicBezTo>
                    <a:pt x="12" y="16"/>
                    <a:pt x="59" y="35"/>
                    <a:pt x="150" y="35"/>
                  </a:cubicBezTo>
                  <a:cubicBezTo>
                    <a:pt x="240" y="35"/>
                    <a:pt x="288" y="16"/>
                    <a:pt x="288" y="6"/>
                  </a:cubicBezTo>
                  <a:cubicBezTo>
                    <a:pt x="288" y="3"/>
                    <a:pt x="290" y="0"/>
                    <a:pt x="294" y="0"/>
                  </a:cubicBezTo>
                  <a:cubicBezTo>
                    <a:pt x="297" y="0"/>
                    <a:pt x="300" y="3"/>
                    <a:pt x="300" y="6"/>
                  </a:cubicBezTo>
                  <a:cubicBezTo>
                    <a:pt x="300" y="36"/>
                    <a:pt x="210" y="47"/>
                    <a:pt x="150"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509">
              <a:extLst>
                <a:ext uri="{FF2B5EF4-FFF2-40B4-BE49-F238E27FC236}">
                  <a16:creationId xmlns:a16="http://schemas.microsoft.com/office/drawing/2014/main" id="{A11AD9B8-9E22-4ED6-8BF0-1EFD8F7AA71B}"/>
                </a:ext>
              </a:extLst>
            </p:cNvPr>
            <p:cNvSpPr>
              <a:spLocks/>
            </p:cNvSpPr>
            <p:nvPr/>
          </p:nvSpPr>
          <p:spPr bwMode="auto">
            <a:xfrm>
              <a:off x="5539" y="1865"/>
              <a:ext cx="204" cy="39"/>
            </a:xfrm>
            <a:custGeom>
              <a:avLst/>
              <a:gdLst>
                <a:gd name="T0" fmla="*/ 150 w 248"/>
                <a:gd name="T1" fmla="*/ 47 h 47"/>
                <a:gd name="T2" fmla="*/ 0 w 248"/>
                <a:gd name="T3" fmla="*/ 6 h 47"/>
                <a:gd name="T4" fmla="*/ 6 w 248"/>
                <a:gd name="T5" fmla="*/ 0 h 47"/>
                <a:gd name="T6" fmla="*/ 12 w 248"/>
                <a:gd name="T7" fmla="*/ 6 h 47"/>
                <a:gd name="T8" fmla="*/ 150 w 248"/>
                <a:gd name="T9" fmla="*/ 35 h 47"/>
                <a:gd name="T10" fmla="*/ 240 w 248"/>
                <a:gd name="T11" fmla="*/ 27 h 47"/>
                <a:gd name="T12" fmla="*/ 247 w 248"/>
                <a:gd name="T13" fmla="*/ 32 h 47"/>
                <a:gd name="T14" fmla="*/ 242 w 248"/>
                <a:gd name="T15" fmla="*/ 39 h 47"/>
                <a:gd name="T16" fmla="*/ 150 w 248"/>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 h="47">
                  <a:moveTo>
                    <a:pt x="150" y="47"/>
                  </a:moveTo>
                  <a:cubicBezTo>
                    <a:pt x="90" y="47"/>
                    <a:pt x="0" y="36"/>
                    <a:pt x="0" y="6"/>
                  </a:cubicBezTo>
                  <a:cubicBezTo>
                    <a:pt x="0" y="3"/>
                    <a:pt x="3" y="0"/>
                    <a:pt x="6" y="0"/>
                  </a:cubicBezTo>
                  <a:cubicBezTo>
                    <a:pt x="9" y="0"/>
                    <a:pt x="12" y="3"/>
                    <a:pt x="12" y="6"/>
                  </a:cubicBezTo>
                  <a:cubicBezTo>
                    <a:pt x="12" y="16"/>
                    <a:pt x="59" y="35"/>
                    <a:pt x="150" y="35"/>
                  </a:cubicBezTo>
                  <a:cubicBezTo>
                    <a:pt x="183" y="35"/>
                    <a:pt x="215" y="32"/>
                    <a:pt x="240" y="27"/>
                  </a:cubicBezTo>
                  <a:cubicBezTo>
                    <a:pt x="243" y="26"/>
                    <a:pt x="246" y="28"/>
                    <a:pt x="247" y="32"/>
                  </a:cubicBezTo>
                  <a:cubicBezTo>
                    <a:pt x="248" y="35"/>
                    <a:pt x="245" y="38"/>
                    <a:pt x="242" y="39"/>
                  </a:cubicBezTo>
                  <a:cubicBezTo>
                    <a:pt x="216" y="44"/>
                    <a:pt x="183" y="47"/>
                    <a:pt x="150"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510">
              <a:extLst>
                <a:ext uri="{FF2B5EF4-FFF2-40B4-BE49-F238E27FC236}">
                  <a16:creationId xmlns:a16="http://schemas.microsoft.com/office/drawing/2014/main" id="{A8709002-BC7E-4A59-93C2-E1BCCD98164A}"/>
                </a:ext>
              </a:extLst>
            </p:cNvPr>
            <p:cNvSpPr>
              <a:spLocks/>
            </p:cNvSpPr>
            <p:nvPr/>
          </p:nvSpPr>
          <p:spPr bwMode="auto">
            <a:xfrm>
              <a:off x="5539" y="1906"/>
              <a:ext cx="188" cy="39"/>
            </a:xfrm>
            <a:custGeom>
              <a:avLst/>
              <a:gdLst>
                <a:gd name="T0" fmla="*/ 150 w 229"/>
                <a:gd name="T1" fmla="*/ 47 h 47"/>
                <a:gd name="T2" fmla="*/ 0 w 229"/>
                <a:gd name="T3" fmla="*/ 6 h 47"/>
                <a:gd name="T4" fmla="*/ 6 w 229"/>
                <a:gd name="T5" fmla="*/ 0 h 47"/>
                <a:gd name="T6" fmla="*/ 12 w 229"/>
                <a:gd name="T7" fmla="*/ 6 h 47"/>
                <a:gd name="T8" fmla="*/ 150 w 229"/>
                <a:gd name="T9" fmla="*/ 35 h 47"/>
                <a:gd name="T10" fmla="*/ 222 w 229"/>
                <a:gd name="T11" fmla="*/ 30 h 47"/>
                <a:gd name="T12" fmla="*/ 229 w 229"/>
                <a:gd name="T13" fmla="*/ 35 h 47"/>
                <a:gd name="T14" fmla="*/ 224 w 229"/>
                <a:gd name="T15" fmla="*/ 42 h 47"/>
                <a:gd name="T16" fmla="*/ 150 w 229"/>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47">
                  <a:moveTo>
                    <a:pt x="150" y="47"/>
                  </a:moveTo>
                  <a:cubicBezTo>
                    <a:pt x="90" y="47"/>
                    <a:pt x="0" y="36"/>
                    <a:pt x="0" y="6"/>
                  </a:cubicBezTo>
                  <a:cubicBezTo>
                    <a:pt x="0" y="3"/>
                    <a:pt x="3" y="0"/>
                    <a:pt x="6" y="0"/>
                  </a:cubicBezTo>
                  <a:cubicBezTo>
                    <a:pt x="9" y="0"/>
                    <a:pt x="12" y="3"/>
                    <a:pt x="12" y="6"/>
                  </a:cubicBezTo>
                  <a:cubicBezTo>
                    <a:pt x="12" y="16"/>
                    <a:pt x="59" y="35"/>
                    <a:pt x="150" y="35"/>
                  </a:cubicBezTo>
                  <a:cubicBezTo>
                    <a:pt x="175" y="35"/>
                    <a:pt x="200" y="33"/>
                    <a:pt x="222" y="30"/>
                  </a:cubicBezTo>
                  <a:cubicBezTo>
                    <a:pt x="225" y="29"/>
                    <a:pt x="228" y="32"/>
                    <a:pt x="229" y="35"/>
                  </a:cubicBezTo>
                  <a:cubicBezTo>
                    <a:pt x="229" y="38"/>
                    <a:pt x="227" y="41"/>
                    <a:pt x="224" y="42"/>
                  </a:cubicBezTo>
                  <a:cubicBezTo>
                    <a:pt x="201" y="45"/>
                    <a:pt x="176" y="47"/>
                    <a:pt x="150"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511">
              <a:extLst>
                <a:ext uri="{FF2B5EF4-FFF2-40B4-BE49-F238E27FC236}">
                  <a16:creationId xmlns:a16="http://schemas.microsoft.com/office/drawing/2014/main" id="{7CEC2035-5160-4E59-BDC2-3783340C586B}"/>
                </a:ext>
              </a:extLst>
            </p:cNvPr>
            <p:cNvSpPr>
              <a:spLocks/>
            </p:cNvSpPr>
            <p:nvPr/>
          </p:nvSpPr>
          <p:spPr bwMode="auto">
            <a:xfrm>
              <a:off x="5539" y="1946"/>
              <a:ext cx="189" cy="39"/>
            </a:xfrm>
            <a:custGeom>
              <a:avLst/>
              <a:gdLst>
                <a:gd name="T0" fmla="*/ 150 w 230"/>
                <a:gd name="T1" fmla="*/ 47 h 47"/>
                <a:gd name="T2" fmla="*/ 0 w 230"/>
                <a:gd name="T3" fmla="*/ 6 h 47"/>
                <a:gd name="T4" fmla="*/ 6 w 230"/>
                <a:gd name="T5" fmla="*/ 0 h 47"/>
                <a:gd name="T6" fmla="*/ 12 w 230"/>
                <a:gd name="T7" fmla="*/ 6 h 47"/>
                <a:gd name="T8" fmla="*/ 150 w 230"/>
                <a:gd name="T9" fmla="*/ 35 h 47"/>
                <a:gd name="T10" fmla="*/ 222 w 230"/>
                <a:gd name="T11" fmla="*/ 30 h 47"/>
                <a:gd name="T12" fmla="*/ 229 w 230"/>
                <a:gd name="T13" fmla="*/ 35 h 47"/>
                <a:gd name="T14" fmla="*/ 224 w 230"/>
                <a:gd name="T15" fmla="*/ 42 h 47"/>
                <a:gd name="T16" fmla="*/ 150 w 230"/>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0" h="47">
                  <a:moveTo>
                    <a:pt x="150" y="47"/>
                  </a:moveTo>
                  <a:cubicBezTo>
                    <a:pt x="90" y="47"/>
                    <a:pt x="0" y="36"/>
                    <a:pt x="0" y="6"/>
                  </a:cubicBezTo>
                  <a:cubicBezTo>
                    <a:pt x="0" y="3"/>
                    <a:pt x="3" y="0"/>
                    <a:pt x="6" y="0"/>
                  </a:cubicBezTo>
                  <a:cubicBezTo>
                    <a:pt x="9" y="0"/>
                    <a:pt x="12" y="3"/>
                    <a:pt x="12" y="6"/>
                  </a:cubicBezTo>
                  <a:cubicBezTo>
                    <a:pt x="12" y="16"/>
                    <a:pt x="59" y="35"/>
                    <a:pt x="150" y="35"/>
                  </a:cubicBezTo>
                  <a:cubicBezTo>
                    <a:pt x="175" y="35"/>
                    <a:pt x="201" y="33"/>
                    <a:pt x="222" y="30"/>
                  </a:cubicBezTo>
                  <a:cubicBezTo>
                    <a:pt x="226" y="29"/>
                    <a:pt x="229" y="32"/>
                    <a:pt x="229" y="35"/>
                  </a:cubicBezTo>
                  <a:cubicBezTo>
                    <a:pt x="230" y="38"/>
                    <a:pt x="227" y="41"/>
                    <a:pt x="224" y="42"/>
                  </a:cubicBezTo>
                  <a:cubicBezTo>
                    <a:pt x="202" y="45"/>
                    <a:pt x="176" y="47"/>
                    <a:pt x="150"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512">
              <a:extLst>
                <a:ext uri="{FF2B5EF4-FFF2-40B4-BE49-F238E27FC236}">
                  <a16:creationId xmlns:a16="http://schemas.microsoft.com/office/drawing/2014/main" id="{513BE1BD-DE71-44F7-93C2-4BA494F0DCAD}"/>
                </a:ext>
              </a:extLst>
            </p:cNvPr>
            <p:cNvSpPr>
              <a:spLocks/>
            </p:cNvSpPr>
            <p:nvPr/>
          </p:nvSpPr>
          <p:spPr bwMode="auto">
            <a:xfrm>
              <a:off x="5539" y="1987"/>
              <a:ext cx="202" cy="38"/>
            </a:xfrm>
            <a:custGeom>
              <a:avLst/>
              <a:gdLst>
                <a:gd name="T0" fmla="*/ 150 w 246"/>
                <a:gd name="T1" fmla="*/ 47 h 47"/>
                <a:gd name="T2" fmla="*/ 0 w 246"/>
                <a:gd name="T3" fmla="*/ 6 h 47"/>
                <a:gd name="T4" fmla="*/ 6 w 246"/>
                <a:gd name="T5" fmla="*/ 0 h 47"/>
                <a:gd name="T6" fmla="*/ 12 w 246"/>
                <a:gd name="T7" fmla="*/ 6 h 47"/>
                <a:gd name="T8" fmla="*/ 150 w 246"/>
                <a:gd name="T9" fmla="*/ 35 h 47"/>
                <a:gd name="T10" fmla="*/ 238 w 246"/>
                <a:gd name="T11" fmla="*/ 27 h 47"/>
                <a:gd name="T12" fmla="*/ 245 w 246"/>
                <a:gd name="T13" fmla="*/ 32 h 47"/>
                <a:gd name="T14" fmla="*/ 240 w 246"/>
                <a:gd name="T15" fmla="*/ 39 h 47"/>
                <a:gd name="T16" fmla="*/ 150 w 246"/>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47">
                  <a:moveTo>
                    <a:pt x="150" y="47"/>
                  </a:moveTo>
                  <a:cubicBezTo>
                    <a:pt x="90" y="47"/>
                    <a:pt x="0" y="36"/>
                    <a:pt x="0" y="6"/>
                  </a:cubicBezTo>
                  <a:cubicBezTo>
                    <a:pt x="0" y="3"/>
                    <a:pt x="3" y="0"/>
                    <a:pt x="6" y="0"/>
                  </a:cubicBezTo>
                  <a:cubicBezTo>
                    <a:pt x="9" y="0"/>
                    <a:pt x="12" y="3"/>
                    <a:pt x="12" y="6"/>
                  </a:cubicBezTo>
                  <a:cubicBezTo>
                    <a:pt x="12" y="16"/>
                    <a:pt x="59" y="35"/>
                    <a:pt x="150" y="35"/>
                  </a:cubicBezTo>
                  <a:cubicBezTo>
                    <a:pt x="182" y="35"/>
                    <a:pt x="213" y="32"/>
                    <a:pt x="238" y="27"/>
                  </a:cubicBezTo>
                  <a:cubicBezTo>
                    <a:pt x="241" y="27"/>
                    <a:pt x="245" y="29"/>
                    <a:pt x="245" y="32"/>
                  </a:cubicBezTo>
                  <a:cubicBezTo>
                    <a:pt x="246" y="35"/>
                    <a:pt x="244" y="38"/>
                    <a:pt x="240" y="39"/>
                  </a:cubicBezTo>
                  <a:cubicBezTo>
                    <a:pt x="214" y="44"/>
                    <a:pt x="183" y="47"/>
                    <a:pt x="150"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513">
              <a:extLst>
                <a:ext uri="{FF2B5EF4-FFF2-40B4-BE49-F238E27FC236}">
                  <a16:creationId xmlns:a16="http://schemas.microsoft.com/office/drawing/2014/main" id="{612F87E0-6BE1-4197-88B2-EC00D984B206}"/>
                </a:ext>
              </a:extLst>
            </p:cNvPr>
            <p:cNvSpPr>
              <a:spLocks noEditPoints="1"/>
            </p:cNvSpPr>
            <p:nvPr/>
          </p:nvSpPr>
          <p:spPr bwMode="auto">
            <a:xfrm>
              <a:off x="5717" y="1834"/>
              <a:ext cx="242" cy="243"/>
            </a:xfrm>
            <a:custGeom>
              <a:avLst/>
              <a:gdLst>
                <a:gd name="T0" fmla="*/ 147 w 294"/>
                <a:gd name="T1" fmla="*/ 295 h 295"/>
                <a:gd name="T2" fmla="*/ 0 w 294"/>
                <a:gd name="T3" fmla="*/ 148 h 295"/>
                <a:gd name="T4" fmla="*/ 147 w 294"/>
                <a:gd name="T5" fmla="*/ 0 h 295"/>
                <a:gd name="T6" fmla="*/ 294 w 294"/>
                <a:gd name="T7" fmla="*/ 148 h 295"/>
                <a:gd name="T8" fmla="*/ 147 w 294"/>
                <a:gd name="T9" fmla="*/ 295 h 295"/>
                <a:gd name="T10" fmla="*/ 147 w 294"/>
                <a:gd name="T11" fmla="*/ 12 h 295"/>
                <a:gd name="T12" fmla="*/ 12 w 294"/>
                <a:gd name="T13" fmla="*/ 148 h 295"/>
                <a:gd name="T14" fmla="*/ 147 w 294"/>
                <a:gd name="T15" fmla="*/ 283 h 295"/>
                <a:gd name="T16" fmla="*/ 282 w 294"/>
                <a:gd name="T17" fmla="*/ 148 h 295"/>
                <a:gd name="T18" fmla="*/ 147 w 294"/>
                <a:gd name="T19" fmla="*/ 12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 h="295">
                  <a:moveTo>
                    <a:pt x="147" y="295"/>
                  </a:moveTo>
                  <a:cubicBezTo>
                    <a:pt x="66" y="295"/>
                    <a:pt x="0" y="229"/>
                    <a:pt x="0" y="148"/>
                  </a:cubicBezTo>
                  <a:cubicBezTo>
                    <a:pt x="0" y="67"/>
                    <a:pt x="66" y="0"/>
                    <a:pt x="147" y="0"/>
                  </a:cubicBezTo>
                  <a:cubicBezTo>
                    <a:pt x="228" y="0"/>
                    <a:pt x="294" y="67"/>
                    <a:pt x="294" y="148"/>
                  </a:cubicBezTo>
                  <a:cubicBezTo>
                    <a:pt x="294" y="229"/>
                    <a:pt x="228" y="295"/>
                    <a:pt x="147" y="295"/>
                  </a:cubicBezTo>
                  <a:close/>
                  <a:moveTo>
                    <a:pt x="147" y="12"/>
                  </a:moveTo>
                  <a:cubicBezTo>
                    <a:pt x="72" y="12"/>
                    <a:pt x="12" y="73"/>
                    <a:pt x="12" y="148"/>
                  </a:cubicBezTo>
                  <a:cubicBezTo>
                    <a:pt x="12" y="222"/>
                    <a:pt x="72" y="283"/>
                    <a:pt x="147" y="283"/>
                  </a:cubicBezTo>
                  <a:cubicBezTo>
                    <a:pt x="222" y="283"/>
                    <a:pt x="282" y="222"/>
                    <a:pt x="282" y="148"/>
                  </a:cubicBezTo>
                  <a:cubicBezTo>
                    <a:pt x="282" y="73"/>
                    <a:pt x="222" y="12"/>
                    <a:pt x="14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514">
              <a:extLst>
                <a:ext uri="{FF2B5EF4-FFF2-40B4-BE49-F238E27FC236}">
                  <a16:creationId xmlns:a16="http://schemas.microsoft.com/office/drawing/2014/main" id="{2087C55B-F389-4836-A884-2281255BBB3E}"/>
                </a:ext>
              </a:extLst>
            </p:cNvPr>
            <p:cNvSpPr>
              <a:spLocks/>
            </p:cNvSpPr>
            <p:nvPr/>
          </p:nvSpPr>
          <p:spPr bwMode="auto">
            <a:xfrm>
              <a:off x="5778" y="1895"/>
              <a:ext cx="88" cy="121"/>
            </a:xfrm>
            <a:custGeom>
              <a:avLst/>
              <a:gdLst>
                <a:gd name="T0" fmla="*/ 106 w 106"/>
                <a:gd name="T1" fmla="*/ 138 h 147"/>
                <a:gd name="T2" fmla="*/ 74 w 106"/>
                <a:gd name="T3" fmla="*/ 147 h 147"/>
                <a:gd name="T4" fmla="*/ 29 w 106"/>
                <a:gd name="T5" fmla="*/ 128 h 147"/>
                <a:gd name="T6" fmla="*/ 14 w 106"/>
                <a:gd name="T7" fmla="*/ 90 h 147"/>
                <a:gd name="T8" fmla="*/ 0 w 106"/>
                <a:gd name="T9" fmla="*/ 90 h 147"/>
                <a:gd name="T10" fmla="*/ 0 w 106"/>
                <a:gd name="T11" fmla="*/ 79 h 147"/>
                <a:gd name="T12" fmla="*/ 13 w 106"/>
                <a:gd name="T13" fmla="*/ 79 h 147"/>
                <a:gd name="T14" fmla="*/ 13 w 106"/>
                <a:gd name="T15" fmla="*/ 76 h 147"/>
                <a:gd name="T16" fmla="*/ 13 w 106"/>
                <a:gd name="T17" fmla="*/ 66 h 147"/>
                <a:gd name="T18" fmla="*/ 0 w 106"/>
                <a:gd name="T19" fmla="*/ 66 h 147"/>
                <a:gd name="T20" fmla="*/ 0 w 106"/>
                <a:gd name="T21" fmla="*/ 55 h 147"/>
                <a:gd name="T22" fmla="*/ 15 w 106"/>
                <a:gd name="T23" fmla="*/ 55 h 147"/>
                <a:gd name="T24" fmla="*/ 32 w 106"/>
                <a:gd name="T25" fmla="*/ 19 h 147"/>
                <a:gd name="T26" fmla="*/ 76 w 106"/>
                <a:gd name="T27" fmla="*/ 0 h 147"/>
                <a:gd name="T28" fmla="*/ 105 w 106"/>
                <a:gd name="T29" fmla="*/ 7 h 147"/>
                <a:gd name="T30" fmla="*/ 100 w 106"/>
                <a:gd name="T31" fmla="*/ 22 h 147"/>
                <a:gd name="T32" fmla="*/ 76 w 106"/>
                <a:gd name="T33" fmla="*/ 16 h 147"/>
                <a:gd name="T34" fmla="*/ 47 w 106"/>
                <a:gd name="T35" fmla="*/ 28 h 147"/>
                <a:gd name="T36" fmla="*/ 34 w 106"/>
                <a:gd name="T37" fmla="*/ 55 h 147"/>
                <a:gd name="T38" fmla="*/ 95 w 106"/>
                <a:gd name="T39" fmla="*/ 55 h 147"/>
                <a:gd name="T40" fmla="*/ 95 w 106"/>
                <a:gd name="T41" fmla="*/ 66 h 147"/>
                <a:gd name="T42" fmla="*/ 32 w 106"/>
                <a:gd name="T43" fmla="*/ 66 h 147"/>
                <a:gd name="T44" fmla="*/ 32 w 106"/>
                <a:gd name="T45" fmla="*/ 75 h 147"/>
                <a:gd name="T46" fmla="*/ 32 w 106"/>
                <a:gd name="T47" fmla="*/ 79 h 147"/>
                <a:gd name="T48" fmla="*/ 95 w 106"/>
                <a:gd name="T49" fmla="*/ 79 h 147"/>
                <a:gd name="T50" fmla="*/ 95 w 106"/>
                <a:gd name="T51" fmla="*/ 90 h 147"/>
                <a:gd name="T52" fmla="*/ 33 w 106"/>
                <a:gd name="T53" fmla="*/ 90 h 147"/>
                <a:gd name="T54" fmla="*/ 45 w 106"/>
                <a:gd name="T55" fmla="*/ 119 h 147"/>
                <a:gd name="T56" fmla="*/ 76 w 106"/>
                <a:gd name="T57" fmla="*/ 131 h 147"/>
                <a:gd name="T58" fmla="*/ 103 w 106"/>
                <a:gd name="T59" fmla="*/ 124 h 147"/>
                <a:gd name="T60" fmla="*/ 106 w 106"/>
                <a:gd name="T61" fmla="*/ 13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147">
                  <a:moveTo>
                    <a:pt x="106" y="138"/>
                  </a:moveTo>
                  <a:cubicBezTo>
                    <a:pt x="100" y="143"/>
                    <a:pt x="88" y="147"/>
                    <a:pt x="74" y="147"/>
                  </a:cubicBezTo>
                  <a:cubicBezTo>
                    <a:pt x="56" y="147"/>
                    <a:pt x="40" y="140"/>
                    <a:pt x="29" y="128"/>
                  </a:cubicBezTo>
                  <a:cubicBezTo>
                    <a:pt x="21" y="119"/>
                    <a:pt x="16" y="106"/>
                    <a:pt x="14" y="90"/>
                  </a:cubicBezTo>
                  <a:cubicBezTo>
                    <a:pt x="0" y="90"/>
                    <a:pt x="0" y="90"/>
                    <a:pt x="0" y="90"/>
                  </a:cubicBezTo>
                  <a:cubicBezTo>
                    <a:pt x="0" y="79"/>
                    <a:pt x="0" y="79"/>
                    <a:pt x="0" y="79"/>
                  </a:cubicBezTo>
                  <a:cubicBezTo>
                    <a:pt x="13" y="79"/>
                    <a:pt x="13" y="79"/>
                    <a:pt x="13" y="79"/>
                  </a:cubicBezTo>
                  <a:cubicBezTo>
                    <a:pt x="13" y="78"/>
                    <a:pt x="13" y="77"/>
                    <a:pt x="13" y="76"/>
                  </a:cubicBezTo>
                  <a:cubicBezTo>
                    <a:pt x="13" y="73"/>
                    <a:pt x="13" y="69"/>
                    <a:pt x="13" y="66"/>
                  </a:cubicBezTo>
                  <a:cubicBezTo>
                    <a:pt x="0" y="66"/>
                    <a:pt x="0" y="66"/>
                    <a:pt x="0" y="66"/>
                  </a:cubicBezTo>
                  <a:cubicBezTo>
                    <a:pt x="0" y="55"/>
                    <a:pt x="0" y="55"/>
                    <a:pt x="0" y="55"/>
                  </a:cubicBezTo>
                  <a:cubicBezTo>
                    <a:pt x="15" y="55"/>
                    <a:pt x="15" y="55"/>
                    <a:pt x="15" y="55"/>
                  </a:cubicBezTo>
                  <a:cubicBezTo>
                    <a:pt x="17" y="40"/>
                    <a:pt x="24" y="27"/>
                    <a:pt x="32" y="19"/>
                  </a:cubicBezTo>
                  <a:cubicBezTo>
                    <a:pt x="44" y="7"/>
                    <a:pt x="58" y="0"/>
                    <a:pt x="76" y="0"/>
                  </a:cubicBezTo>
                  <a:cubicBezTo>
                    <a:pt x="89" y="0"/>
                    <a:pt x="99" y="4"/>
                    <a:pt x="105" y="7"/>
                  </a:cubicBezTo>
                  <a:cubicBezTo>
                    <a:pt x="100" y="22"/>
                    <a:pt x="100" y="22"/>
                    <a:pt x="100" y="22"/>
                  </a:cubicBezTo>
                  <a:cubicBezTo>
                    <a:pt x="95" y="19"/>
                    <a:pt x="86" y="16"/>
                    <a:pt x="76" y="16"/>
                  </a:cubicBezTo>
                  <a:cubicBezTo>
                    <a:pt x="64" y="16"/>
                    <a:pt x="55" y="20"/>
                    <a:pt x="47" y="28"/>
                  </a:cubicBezTo>
                  <a:cubicBezTo>
                    <a:pt x="41" y="34"/>
                    <a:pt x="36" y="44"/>
                    <a:pt x="34" y="55"/>
                  </a:cubicBezTo>
                  <a:cubicBezTo>
                    <a:pt x="95" y="55"/>
                    <a:pt x="95" y="55"/>
                    <a:pt x="95" y="55"/>
                  </a:cubicBezTo>
                  <a:cubicBezTo>
                    <a:pt x="95" y="66"/>
                    <a:pt x="95" y="66"/>
                    <a:pt x="95" y="66"/>
                  </a:cubicBezTo>
                  <a:cubicBezTo>
                    <a:pt x="32" y="66"/>
                    <a:pt x="32" y="66"/>
                    <a:pt x="32" y="66"/>
                  </a:cubicBezTo>
                  <a:cubicBezTo>
                    <a:pt x="32" y="69"/>
                    <a:pt x="32" y="72"/>
                    <a:pt x="32" y="75"/>
                  </a:cubicBezTo>
                  <a:cubicBezTo>
                    <a:pt x="32" y="77"/>
                    <a:pt x="32" y="78"/>
                    <a:pt x="32" y="79"/>
                  </a:cubicBezTo>
                  <a:cubicBezTo>
                    <a:pt x="95" y="79"/>
                    <a:pt x="95" y="79"/>
                    <a:pt x="95" y="79"/>
                  </a:cubicBezTo>
                  <a:cubicBezTo>
                    <a:pt x="95" y="90"/>
                    <a:pt x="95" y="90"/>
                    <a:pt x="95" y="90"/>
                  </a:cubicBezTo>
                  <a:cubicBezTo>
                    <a:pt x="33" y="90"/>
                    <a:pt x="33" y="90"/>
                    <a:pt x="33" y="90"/>
                  </a:cubicBezTo>
                  <a:cubicBezTo>
                    <a:pt x="35" y="103"/>
                    <a:pt x="39" y="112"/>
                    <a:pt x="45" y="119"/>
                  </a:cubicBezTo>
                  <a:cubicBezTo>
                    <a:pt x="53" y="127"/>
                    <a:pt x="64" y="131"/>
                    <a:pt x="76" y="131"/>
                  </a:cubicBezTo>
                  <a:cubicBezTo>
                    <a:pt x="87" y="131"/>
                    <a:pt x="98" y="127"/>
                    <a:pt x="103" y="124"/>
                  </a:cubicBezTo>
                  <a:lnTo>
                    <a:pt x="106"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16" name="Group 12">
            <a:extLst>
              <a:ext uri="{FF2B5EF4-FFF2-40B4-BE49-F238E27FC236}">
                <a16:creationId xmlns:a16="http://schemas.microsoft.com/office/drawing/2014/main" id="{F1836192-8928-4536-A1B8-355AC5188E33}"/>
              </a:ext>
            </a:extLst>
          </p:cNvPr>
          <p:cNvGrpSpPr>
            <a:grpSpLocks noChangeAspect="1"/>
          </p:cNvGrpSpPr>
          <p:nvPr/>
        </p:nvGrpSpPr>
        <p:grpSpPr bwMode="auto">
          <a:xfrm>
            <a:off x="911424" y="4929842"/>
            <a:ext cx="673455" cy="371366"/>
            <a:chOff x="849" y="736"/>
            <a:chExt cx="593" cy="327"/>
          </a:xfrm>
          <a:solidFill>
            <a:schemeClr val="tx2"/>
          </a:solidFill>
        </p:grpSpPr>
        <p:sp>
          <p:nvSpPr>
            <p:cNvPr id="17" name="Freeform 13">
              <a:extLst>
                <a:ext uri="{FF2B5EF4-FFF2-40B4-BE49-F238E27FC236}">
                  <a16:creationId xmlns:a16="http://schemas.microsoft.com/office/drawing/2014/main" id="{44E3781C-DD85-4885-A8A6-72D5FB15BDFD}"/>
                </a:ext>
              </a:extLst>
            </p:cNvPr>
            <p:cNvSpPr>
              <a:spLocks noEditPoints="1"/>
            </p:cNvSpPr>
            <p:nvPr/>
          </p:nvSpPr>
          <p:spPr bwMode="auto">
            <a:xfrm>
              <a:off x="1181" y="819"/>
              <a:ext cx="150" cy="173"/>
            </a:xfrm>
            <a:custGeom>
              <a:avLst/>
              <a:gdLst>
                <a:gd name="T0" fmla="*/ 131 w 175"/>
                <a:gd name="T1" fmla="*/ 201 h 201"/>
                <a:gd name="T2" fmla="*/ 22 w 175"/>
                <a:gd name="T3" fmla="*/ 144 h 201"/>
                <a:gd name="T4" fmla="*/ 21 w 175"/>
                <a:gd name="T5" fmla="*/ 136 h 201"/>
                <a:gd name="T6" fmla="*/ 29 w 175"/>
                <a:gd name="T7" fmla="*/ 135 h 201"/>
                <a:gd name="T8" fmla="*/ 132 w 175"/>
                <a:gd name="T9" fmla="*/ 189 h 201"/>
                <a:gd name="T10" fmla="*/ 157 w 175"/>
                <a:gd name="T11" fmla="*/ 139 h 201"/>
                <a:gd name="T12" fmla="*/ 2 w 175"/>
                <a:gd name="T13" fmla="*/ 10 h 201"/>
                <a:gd name="T14" fmla="*/ 3 w 175"/>
                <a:gd name="T15" fmla="*/ 2 h 201"/>
                <a:gd name="T16" fmla="*/ 12 w 175"/>
                <a:gd name="T17" fmla="*/ 3 h 201"/>
                <a:gd name="T18" fmla="*/ 165 w 175"/>
                <a:gd name="T19" fmla="*/ 129 h 201"/>
                <a:gd name="T20" fmla="*/ 169 w 175"/>
                <a:gd name="T21" fmla="*/ 134 h 201"/>
                <a:gd name="T22" fmla="*/ 137 w 175"/>
                <a:gd name="T23" fmla="*/ 200 h 201"/>
                <a:gd name="T24" fmla="*/ 136 w 175"/>
                <a:gd name="T25" fmla="*/ 200 h 201"/>
                <a:gd name="T26" fmla="*/ 131 w 175"/>
                <a:gd name="T27" fmla="*/ 201 h 201"/>
                <a:gd name="T28" fmla="*/ 132 w 175"/>
                <a:gd name="T29" fmla="*/ 189 h 201"/>
                <a:gd name="T30" fmla="*/ 132 w 175"/>
                <a:gd name="T31" fmla="*/ 18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5" h="201">
                  <a:moveTo>
                    <a:pt x="131" y="201"/>
                  </a:moveTo>
                  <a:cubicBezTo>
                    <a:pt x="121" y="201"/>
                    <a:pt x="92" y="194"/>
                    <a:pt x="22" y="144"/>
                  </a:cubicBezTo>
                  <a:cubicBezTo>
                    <a:pt x="19" y="143"/>
                    <a:pt x="19" y="139"/>
                    <a:pt x="21" y="136"/>
                  </a:cubicBezTo>
                  <a:cubicBezTo>
                    <a:pt x="22" y="133"/>
                    <a:pt x="26" y="133"/>
                    <a:pt x="29" y="135"/>
                  </a:cubicBezTo>
                  <a:cubicBezTo>
                    <a:pt x="106" y="189"/>
                    <a:pt x="129" y="189"/>
                    <a:pt x="132" y="189"/>
                  </a:cubicBezTo>
                  <a:cubicBezTo>
                    <a:pt x="157" y="176"/>
                    <a:pt x="158" y="149"/>
                    <a:pt x="157" y="139"/>
                  </a:cubicBezTo>
                  <a:cubicBezTo>
                    <a:pt x="82" y="108"/>
                    <a:pt x="6" y="14"/>
                    <a:pt x="2" y="10"/>
                  </a:cubicBezTo>
                  <a:cubicBezTo>
                    <a:pt x="0" y="8"/>
                    <a:pt x="1" y="4"/>
                    <a:pt x="3" y="2"/>
                  </a:cubicBezTo>
                  <a:cubicBezTo>
                    <a:pt x="6" y="0"/>
                    <a:pt x="10" y="0"/>
                    <a:pt x="12" y="3"/>
                  </a:cubicBezTo>
                  <a:cubicBezTo>
                    <a:pt x="13" y="4"/>
                    <a:pt x="92" y="101"/>
                    <a:pt x="165" y="129"/>
                  </a:cubicBezTo>
                  <a:cubicBezTo>
                    <a:pt x="167" y="130"/>
                    <a:pt x="169" y="132"/>
                    <a:pt x="169" y="134"/>
                  </a:cubicBezTo>
                  <a:cubicBezTo>
                    <a:pt x="169" y="135"/>
                    <a:pt x="175" y="181"/>
                    <a:pt x="137" y="200"/>
                  </a:cubicBezTo>
                  <a:cubicBezTo>
                    <a:pt x="136" y="200"/>
                    <a:pt x="136" y="200"/>
                    <a:pt x="136" y="200"/>
                  </a:cubicBezTo>
                  <a:cubicBezTo>
                    <a:pt x="135" y="200"/>
                    <a:pt x="134" y="201"/>
                    <a:pt x="131" y="201"/>
                  </a:cubicBezTo>
                  <a:close/>
                  <a:moveTo>
                    <a:pt x="132" y="189"/>
                  </a:moveTo>
                  <a:cubicBezTo>
                    <a:pt x="132" y="189"/>
                    <a:pt x="132" y="189"/>
                    <a:pt x="132" y="1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4">
              <a:extLst>
                <a:ext uri="{FF2B5EF4-FFF2-40B4-BE49-F238E27FC236}">
                  <a16:creationId xmlns:a16="http://schemas.microsoft.com/office/drawing/2014/main" id="{D0CD71A5-1E63-4EFE-B975-A40846B4F90D}"/>
                </a:ext>
              </a:extLst>
            </p:cNvPr>
            <p:cNvSpPr>
              <a:spLocks/>
            </p:cNvSpPr>
            <p:nvPr/>
          </p:nvSpPr>
          <p:spPr bwMode="auto">
            <a:xfrm>
              <a:off x="1158" y="968"/>
              <a:ext cx="130" cy="60"/>
            </a:xfrm>
            <a:custGeom>
              <a:avLst/>
              <a:gdLst>
                <a:gd name="T0" fmla="*/ 101 w 151"/>
                <a:gd name="T1" fmla="*/ 70 h 70"/>
                <a:gd name="T2" fmla="*/ 97 w 151"/>
                <a:gd name="T3" fmla="*/ 70 h 70"/>
                <a:gd name="T4" fmla="*/ 3 w 151"/>
                <a:gd name="T5" fmla="*/ 11 h 70"/>
                <a:gd name="T6" fmla="*/ 3 w 151"/>
                <a:gd name="T7" fmla="*/ 2 h 70"/>
                <a:gd name="T8" fmla="*/ 11 w 151"/>
                <a:gd name="T9" fmla="*/ 2 h 70"/>
                <a:gd name="T10" fmla="*/ 98 w 151"/>
                <a:gd name="T11" fmla="*/ 58 h 70"/>
                <a:gd name="T12" fmla="*/ 139 w 151"/>
                <a:gd name="T13" fmla="*/ 27 h 70"/>
                <a:gd name="T14" fmla="*/ 147 w 151"/>
                <a:gd name="T15" fmla="*/ 24 h 70"/>
                <a:gd name="T16" fmla="*/ 150 w 151"/>
                <a:gd name="T17" fmla="*/ 31 h 70"/>
                <a:gd name="T18" fmla="*/ 101 w 151"/>
                <a:gd name="T1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1" h="70">
                  <a:moveTo>
                    <a:pt x="101" y="70"/>
                  </a:moveTo>
                  <a:cubicBezTo>
                    <a:pt x="100" y="70"/>
                    <a:pt x="98" y="70"/>
                    <a:pt x="97" y="70"/>
                  </a:cubicBezTo>
                  <a:cubicBezTo>
                    <a:pt x="73" y="69"/>
                    <a:pt x="10" y="17"/>
                    <a:pt x="3" y="11"/>
                  </a:cubicBezTo>
                  <a:cubicBezTo>
                    <a:pt x="1" y="9"/>
                    <a:pt x="0" y="5"/>
                    <a:pt x="3" y="2"/>
                  </a:cubicBezTo>
                  <a:cubicBezTo>
                    <a:pt x="5" y="0"/>
                    <a:pt x="8" y="0"/>
                    <a:pt x="11" y="2"/>
                  </a:cubicBezTo>
                  <a:cubicBezTo>
                    <a:pt x="36" y="23"/>
                    <a:pt x="82" y="57"/>
                    <a:pt x="98" y="58"/>
                  </a:cubicBezTo>
                  <a:cubicBezTo>
                    <a:pt x="118" y="60"/>
                    <a:pt x="131" y="50"/>
                    <a:pt x="139" y="27"/>
                  </a:cubicBezTo>
                  <a:cubicBezTo>
                    <a:pt x="140" y="24"/>
                    <a:pt x="144" y="22"/>
                    <a:pt x="147" y="24"/>
                  </a:cubicBezTo>
                  <a:cubicBezTo>
                    <a:pt x="150" y="25"/>
                    <a:pt x="151" y="28"/>
                    <a:pt x="150" y="31"/>
                  </a:cubicBezTo>
                  <a:cubicBezTo>
                    <a:pt x="141" y="58"/>
                    <a:pt x="125" y="70"/>
                    <a:pt x="10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5">
              <a:extLst>
                <a:ext uri="{FF2B5EF4-FFF2-40B4-BE49-F238E27FC236}">
                  <a16:creationId xmlns:a16="http://schemas.microsoft.com/office/drawing/2014/main" id="{2498029D-4D86-495F-961C-C2196A619A84}"/>
                </a:ext>
              </a:extLst>
            </p:cNvPr>
            <p:cNvSpPr>
              <a:spLocks/>
            </p:cNvSpPr>
            <p:nvPr/>
          </p:nvSpPr>
          <p:spPr bwMode="auto">
            <a:xfrm>
              <a:off x="1143" y="1007"/>
              <a:ext cx="105" cy="41"/>
            </a:xfrm>
            <a:custGeom>
              <a:avLst/>
              <a:gdLst>
                <a:gd name="T0" fmla="*/ 80 w 122"/>
                <a:gd name="T1" fmla="*/ 48 h 48"/>
                <a:gd name="T2" fmla="*/ 78 w 122"/>
                <a:gd name="T3" fmla="*/ 48 h 48"/>
                <a:gd name="T4" fmla="*/ 4 w 122"/>
                <a:gd name="T5" fmla="*/ 12 h 48"/>
                <a:gd name="T6" fmla="*/ 2 w 122"/>
                <a:gd name="T7" fmla="*/ 4 h 48"/>
                <a:gd name="T8" fmla="*/ 10 w 122"/>
                <a:gd name="T9" fmla="*/ 2 h 48"/>
                <a:gd name="T10" fmla="*/ 79 w 122"/>
                <a:gd name="T11" fmla="*/ 36 h 48"/>
                <a:gd name="T12" fmla="*/ 110 w 122"/>
                <a:gd name="T13" fmla="*/ 16 h 48"/>
                <a:gd name="T14" fmla="*/ 119 w 122"/>
                <a:gd name="T15" fmla="*/ 14 h 48"/>
                <a:gd name="T16" fmla="*/ 120 w 122"/>
                <a:gd name="T17" fmla="*/ 23 h 48"/>
                <a:gd name="T18" fmla="*/ 80 w 122"/>
                <a:gd name="T1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48">
                  <a:moveTo>
                    <a:pt x="80" y="48"/>
                  </a:moveTo>
                  <a:cubicBezTo>
                    <a:pt x="80" y="48"/>
                    <a:pt x="79" y="48"/>
                    <a:pt x="78" y="48"/>
                  </a:cubicBezTo>
                  <a:cubicBezTo>
                    <a:pt x="57" y="47"/>
                    <a:pt x="9" y="16"/>
                    <a:pt x="4" y="12"/>
                  </a:cubicBezTo>
                  <a:cubicBezTo>
                    <a:pt x="1" y="10"/>
                    <a:pt x="0" y="7"/>
                    <a:pt x="2" y="4"/>
                  </a:cubicBezTo>
                  <a:cubicBezTo>
                    <a:pt x="4" y="1"/>
                    <a:pt x="7" y="0"/>
                    <a:pt x="10" y="2"/>
                  </a:cubicBezTo>
                  <a:cubicBezTo>
                    <a:pt x="24" y="11"/>
                    <a:pt x="64" y="35"/>
                    <a:pt x="79" y="36"/>
                  </a:cubicBezTo>
                  <a:cubicBezTo>
                    <a:pt x="93" y="37"/>
                    <a:pt x="106" y="22"/>
                    <a:pt x="110" y="16"/>
                  </a:cubicBezTo>
                  <a:cubicBezTo>
                    <a:pt x="112" y="13"/>
                    <a:pt x="116" y="13"/>
                    <a:pt x="119" y="14"/>
                  </a:cubicBezTo>
                  <a:cubicBezTo>
                    <a:pt x="121" y="16"/>
                    <a:pt x="122" y="20"/>
                    <a:pt x="120" y="23"/>
                  </a:cubicBezTo>
                  <a:cubicBezTo>
                    <a:pt x="120" y="24"/>
                    <a:pt x="102" y="48"/>
                    <a:pt x="80"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6">
              <a:extLst>
                <a:ext uri="{FF2B5EF4-FFF2-40B4-BE49-F238E27FC236}">
                  <a16:creationId xmlns:a16="http://schemas.microsoft.com/office/drawing/2014/main" id="{A1756C6E-857B-411A-8603-5DD0F05439C0}"/>
                </a:ext>
              </a:extLst>
            </p:cNvPr>
            <p:cNvSpPr>
              <a:spLocks/>
            </p:cNvSpPr>
            <p:nvPr/>
          </p:nvSpPr>
          <p:spPr bwMode="auto">
            <a:xfrm>
              <a:off x="1133" y="1032"/>
              <a:ext cx="62" cy="27"/>
            </a:xfrm>
            <a:custGeom>
              <a:avLst/>
              <a:gdLst>
                <a:gd name="T0" fmla="*/ 37 w 73"/>
                <a:gd name="T1" fmla="*/ 31 h 31"/>
                <a:gd name="T2" fmla="*/ 4 w 73"/>
                <a:gd name="T3" fmla="*/ 23 h 31"/>
                <a:gd name="T4" fmla="*/ 1 w 73"/>
                <a:gd name="T5" fmla="*/ 16 h 31"/>
                <a:gd name="T6" fmla="*/ 9 w 73"/>
                <a:gd name="T7" fmla="*/ 12 h 31"/>
                <a:gd name="T8" fmla="*/ 37 w 73"/>
                <a:gd name="T9" fmla="*/ 19 h 31"/>
                <a:gd name="T10" fmla="*/ 55 w 73"/>
                <a:gd name="T11" fmla="*/ 9 h 31"/>
                <a:gd name="T12" fmla="*/ 62 w 73"/>
                <a:gd name="T13" fmla="*/ 3 h 31"/>
                <a:gd name="T14" fmla="*/ 71 w 73"/>
                <a:gd name="T15" fmla="*/ 3 h 31"/>
                <a:gd name="T16" fmla="*/ 70 w 73"/>
                <a:gd name="T17" fmla="*/ 12 h 31"/>
                <a:gd name="T18" fmla="*/ 64 w 73"/>
                <a:gd name="T19" fmla="*/ 18 h 31"/>
                <a:gd name="T20" fmla="*/ 37 w 73"/>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31">
                  <a:moveTo>
                    <a:pt x="37" y="31"/>
                  </a:moveTo>
                  <a:cubicBezTo>
                    <a:pt x="24" y="31"/>
                    <a:pt x="5" y="24"/>
                    <a:pt x="4" y="23"/>
                  </a:cubicBezTo>
                  <a:cubicBezTo>
                    <a:pt x="1" y="22"/>
                    <a:pt x="0" y="19"/>
                    <a:pt x="1" y="16"/>
                  </a:cubicBezTo>
                  <a:cubicBezTo>
                    <a:pt x="2" y="12"/>
                    <a:pt x="6" y="11"/>
                    <a:pt x="9" y="12"/>
                  </a:cubicBezTo>
                  <a:cubicBezTo>
                    <a:pt x="14" y="14"/>
                    <a:pt x="28" y="19"/>
                    <a:pt x="37" y="19"/>
                  </a:cubicBezTo>
                  <a:cubicBezTo>
                    <a:pt x="44" y="19"/>
                    <a:pt x="48" y="16"/>
                    <a:pt x="55" y="9"/>
                  </a:cubicBezTo>
                  <a:cubicBezTo>
                    <a:pt x="58" y="7"/>
                    <a:pt x="60" y="5"/>
                    <a:pt x="62" y="3"/>
                  </a:cubicBezTo>
                  <a:cubicBezTo>
                    <a:pt x="65" y="0"/>
                    <a:pt x="69" y="1"/>
                    <a:pt x="71" y="3"/>
                  </a:cubicBezTo>
                  <a:cubicBezTo>
                    <a:pt x="73" y="6"/>
                    <a:pt x="73" y="10"/>
                    <a:pt x="70" y="12"/>
                  </a:cubicBezTo>
                  <a:cubicBezTo>
                    <a:pt x="68" y="14"/>
                    <a:pt x="66" y="16"/>
                    <a:pt x="64" y="18"/>
                  </a:cubicBezTo>
                  <a:cubicBezTo>
                    <a:pt x="56" y="25"/>
                    <a:pt x="49" y="31"/>
                    <a:pt x="37"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 name="Freeform 17">
              <a:extLst>
                <a:ext uri="{FF2B5EF4-FFF2-40B4-BE49-F238E27FC236}">
                  <a16:creationId xmlns:a16="http://schemas.microsoft.com/office/drawing/2014/main" id="{A2DF2601-B1B4-471F-8AC5-BDDDF64DA027}"/>
                </a:ext>
              </a:extLst>
            </p:cNvPr>
            <p:cNvSpPr>
              <a:spLocks noEditPoints="1"/>
            </p:cNvSpPr>
            <p:nvPr/>
          </p:nvSpPr>
          <p:spPr bwMode="auto">
            <a:xfrm>
              <a:off x="1052" y="739"/>
              <a:ext cx="287" cy="194"/>
            </a:xfrm>
            <a:custGeom>
              <a:avLst/>
              <a:gdLst>
                <a:gd name="T0" fmla="*/ 327 w 334"/>
                <a:gd name="T1" fmla="*/ 225 h 225"/>
                <a:gd name="T2" fmla="*/ 321 w 334"/>
                <a:gd name="T3" fmla="*/ 222 h 225"/>
                <a:gd name="T4" fmla="*/ 285 w 334"/>
                <a:gd name="T5" fmla="*/ 76 h 225"/>
                <a:gd name="T6" fmla="*/ 182 w 334"/>
                <a:gd name="T7" fmla="*/ 12 h 225"/>
                <a:gd name="T8" fmla="*/ 115 w 334"/>
                <a:gd name="T9" fmla="*/ 29 h 225"/>
                <a:gd name="T10" fmla="*/ 73 w 334"/>
                <a:gd name="T11" fmla="*/ 40 h 225"/>
                <a:gd name="T12" fmla="*/ 13 w 334"/>
                <a:gd name="T13" fmla="*/ 117 h 225"/>
                <a:gd name="T14" fmla="*/ 34 w 334"/>
                <a:gd name="T15" fmla="*/ 137 h 225"/>
                <a:gd name="T16" fmla="*/ 107 w 334"/>
                <a:gd name="T17" fmla="*/ 87 h 225"/>
                <a:gd name="T18" fmla="*/ 111 w 334"/>
                <a:gd name="T19" fmla="*/ 84 h 225"/>
                <a:gd name="T20" fmla="*/ 161 w 334"/>
                <a:gd name="T21" fmla="*/ 63 h 225"/>
                <a:gd name="T22" fmla="*/ 170 w 334"/>
                <a:gd name="T23" fmla="*/ 61 h 225"/>
                <a:gd name="T24" fmla="*/ 171 w 334"/>
                <a:gd name="T25" fmla="*/ 69 h 225"/>
                <a:gd name="T26" fmla="*/ 114 w 334"/>
                <a:gd name="T27" fmla="*/ 96 h 225"/>
                <a:gd name="T28" fmla="*/ 31 w 334"/>
                <a:gd name="T29" fmla="*/ 148 h 225"/>
                <a:gd name="T30" fmla="*/ 0 w 334"/>
                <a:gd name="T31" fmla="*/ 118 h 225"/>
                <a:gd name="T32" fmla="*/ 1 w 334"/>
                <a:gd name="T33" fmla="*/ 113 h 225"/>
                <a:gd name="T34" fmla="*/ 71 w 334"/>
                <a:gd name="T35" fmla="*/ 28 h 225"/>
                <a:gd name="T36" fmla="*/ 112 w 334"/>
                <a:gd name="T37" fmla="*/ 17 h 225"/>
                <a:gd name="T38" fmla="*/ 182 w 334"/>
                <a:gd name="T39" fmla="*/ 0 h 225"/>
                <a:gd name="T40" fmla="*/ 294 w 334"/>
                <a:gd name="T41" fmla="*/ 67 h 225"/>
                <a:gd name="T42" fmla="*/ 296 w 334"/>
                <a:gd name="T43" fmla="*/ 71 h 225"/>
                <a:gd name="T44" fmla="*/ 332 w 334"/>
                <a:gd name="T45" fmla="*/ 217 h 225"/>
                <a:gd name="T46" fmla="*/ 329 w 334"/>
                <a:gd name="T47" fmla="*/ 225 h 225"/>
                <a:gd name="T48" fmla="*/ 327 w 334"/>
                <a:gd name="T49" fmla="*/ 225 h 225"/>
                <a:gd name="T50" fmla="*/ 74 w 334"/>
                <a:gd name="T51" fmla="*/ 39 h 225"/>
                <a:gd name="T52" fmla="*/ 74 w 334"/>
                <a:gd name="T53" fmla="*/ 39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4" h="225">
                  <a:moveTo>
                    <a:pt x="327" y="225"/>
                  </a:moveTo>
                  <a:cubicBezTo>
                    <a:pt x="324" y="225"/>
                    <a:pt x="322" y="224"/>
                    <a:pt x="321" y="222"/>
                  </a:cubicBezTo>
                  <a:cubicBezTo>
                    <a:pt x="307" y="189"/>
                    <a:pt x="288" y="92"/>
                    <a:pt x="285" y="76"/>
                  </a:cubicBezTo>
                  <a:cubicBezTo>
                    <a:pt x="241" y="44"/>
                    <a:pt x="191" y="12"/>
                    <a:pt x="182" y="12"/>
                  </a:cubicBezTo>
                  <a:cubicBezTo>
                    <a:pt x="173" y="12"/>
                    <a:pt x="139" y="22"/>
                    <a:pt x="115" y="29"/>
                  </a:cubicBezTo>
                  <a:cubicBezTo>
                    <a:pt x="93" y="35"/>
                    <a:pt x="79" y="39"/>
                    <a:pt x="73" y="40"/>
                  </a:cubicBezTo>
                  <a:cubicBezTo>
                    <a:pt x="66" y="45"/>
                    <a:pt x="38" y="82"/>
                    <a:pt x="13" y="117"/>
                  </a:cubicBezTo>
                  <a:cubicBezTo>
                    <a:pt x="15" y="123"/>
                    <a:pt x="21" y="134"/>
                    <a:pt x="34" y="137"/>
                  </a:cubicBezTo>
                  <a:cubicBezTo>
                    <a:pt x="46" y="139"/>
                    <a:pt x="69" y="132"/>
                    <a:pt x="107" y="87"/>
                  </a:cubicBezTo>
                  <a:cubicBezTo>
                    <a:pt x="108" y="85"/>
                    <a:pt x="109" y="85"/>
                    <a:pt x="111" y="84"/>
                  </a:cubicBezTo>
                  <a:cubicBezTo>
                    <a:pt x="111" y="84"/>
                    <a:pt x="149" y="82"/>
                    <a:pt x="161" y="63"/>
                  </a:cubicBezTo>
                  <a:cubicBezTo>
                    <a:pt x="163" y="60"/>
                    <a:pt x="167" y="59"/>
                    <a:pt x="170" y="61"/>
                  </a:cubicBezTo>
                  <a:cubicBezTo>
                    <a:pt x="172" y="63"/>
                    <a:pt x="173" y="66"/>
                    <a:pt x="171" y="69"/>
                  </a:cubicBezTo>
                  <a:cubicBezTo>
                    <a:pt x="158" y="90"/>
                    <a:pt x="124" y="95"/>
                    <a:pt x="114" y="96"/>
                  </a:cubicBezTo>
                  <a:cubicBezTo>
                    <a:pt x="82" y="135"/>
                    <a:pt x="54" y="153"/>
                    <a:pt x="31" y="148"/>
                  </a:cubicBezTo>
                  <a:cubicBezTo>
                    <a:pt x="8" y="144"/>
                    <a:pt x="0" y="119"/>
                    <a:pt x="0" y="118"/>
                  </a:cubicBezTo>
                  <a:cubicBezTo>
                    <a:pt x="0" y="116"/>
                    <a:pt x="0" y="114"/>
                    <a:pt x="1" y="113"/>
                  </a:cubicBezTo>
                  <a:cubicBezTo>
                    <a:pt x="61" y="29"/>
                    <a:pt x="68" y="28"/>
                    <a:pt x="71" y="28"/>
                  </a:cubicBezTo>
                  <a:cubicBezTo>
                    <a:pt x="76" y="28"/>
                    <a:pt x="94" y="22"/>
                    <a:pt x="112" y="17"/>
                  </a:cubicBezTo>
                  <a:cubicBezTo>
                    <a:pt x="146" y="7"/>
                    <a:pt x="172" y="0"/>
                    <a:pt x="182" y="0"/>
                  </a:cubicBezTo>
                  <a:cubicBezTo>
                    <a:pt x="199" y="0"/>
                    <a:pt x="278" y="56"/>
                    <a:pt x="294" y="67"/>
                  </a:cubicBezTo>
                  <a:cubicBezTo>
                    <a:pt x="295" y="68"/>
                    <a:pt x="296" y="69"/>
                    <a:pt x="296" y="71"/>
                  </a:cubicBezTo>
                  <a:cubicBezTo>
                    <a:pt x="296" y="72"/>
                    <a:pt x="317" y="183"/>
                    <a:pt x="332" y="217"/>
                  </a:cubicBezTo>
                  <a:cubicBezTo>
                    <a:pt x="334" y="220"/>
                    <a:pt x="332" y="223"/>
                    <a:pt x="329" y="225"/>
                  </a:cubicBezTo>
                  <a:cubicBezTo>
                    <a:pt x="328" y="225"/>
                    <a:pt x="328" y="225"/>
                    <a:pt x="327" y="225"/>
                  </a:cubicBezTo>
                  <a:close/>
                  <a:moveTo>
                    <a:pt x="74" y="39"/>
                  </a:moveTo>
                  <a:cubicBezTo>
                    <a:pt x="74" y="39"/>
                    <a:pt x="74" y="39"/>
                    <a:pt x="74" y="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8">
              <a:extLst>
                <a:ext uri="{FF2B5EF4-FFF2-40B4-BE49-F238E27FC236}">
                  <a16:creationId xmlns:a16="http://schemas.microsoft.com/office/drawing/2014/main" id="{F2C589E6-D58C-42BB-B74B-3B2C7314B49D}"/>
                </a:ext>
              </a:extLst>
            </p:cNvPr>
            <p:cNvSpPr>
              <a:spLocks/>
            </p:cNvSpPr>
            <p:nvPr/>
          </p:nvSpPr>
          <p:spPr bwMode="auto">
            <a:xfrm>
              <a:off x="974" y="736"/>
              <a:ext cx="196" cy="198"/>
            </a:xfrm>
            <a:custGeom>
              <a:avLst/>
              <a:gdLst>
                <a:gd name="T0" fmla="*/ 7 w 228"/>
                <a:gd name="T1" fmla="*/ 230 h 230"/>
                <a:gd name="T2" fmla="*/ 6 w 228"/>
                <a:gd name="T3" fmla="*/ 230 h 230"/>
                <a:gd name="T4" fmla="*/ 1 w 228"/>
                <a:gd name="T5" fmla="*/ 223 h 230"/>
                <a:gd name="T6" fmla="*/ 30 w 228"/>
                <a:gd name="T7" fmla="*/ 72 h 230"/>
                <a:gd name="T8" fmla="*/ 36 w 228"/>
                <a:gd name="T9" fmla="*/ 67 h 230"/>
                <a:gd name="T10" fmla="*/ 46 w 228"/>
                <a:gd name="T11" fmla="*/ 67 h 230"/>
                <a:gd name="T12" fmla="*/ 168 w 228"/>
                <a:gd name="T13" fmla="*/ 0 h 230"/>
                <a:gd name="T14" fmla="*/ 223 w 228"/>
                <a:gd name="T15" fmla="*/ 11 h 230"/>
                <a:gd name="T16" fmla="*/ 227 w 228"/>
                <a:gd name="T17" fmla="*/ 19 h 230"/>
                <a:gd name="T18" fmla="*/ 220 w 228"/>
                <a:gd name="T19" fmla="*/ 23 h 230"/>
                <a:gd name="T20" fmla="*/ 168 w 228"/>
                <a:gd name="T21" fmla="*/ 12 h 230"/>
                <a:gd name="T22" fmla="*/ 51 w 228"/>
                <a:gd name="T23" fmla="*/ 78 h 230"/>
                <a:gd name="T24" fmla="*/ 47 w 228"/>
                <a:gd name="T25" fmla="*/ 79 h 230"/>
                <a:gd name="T26" fmla="*/ 41 w 228"/>
                <a:gd name="T27" fmla="*/ 79 h 230"/>
                <a:gd name="T28" fmla="*/ 13 w 228"/>
                <a:gd name="T29" fmla="*/ 225 h 230"/>
                <a:gd name="T30" fmla="*/ 7 w 228"/>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8" h="230">
                  <a:moveTo>
                    <a:pt x="7" y="230"/>
                  </a:moveTo>
                  <a:cubicBezTo>
                    <a:pt x="6" y="230"/>
                    <a:pt x="6" y="230"/>
                    <a:pt x="6" y="230"/>
                  </a:cubicBezTo>
                  <a:cubicBezTo>
                    <a:pt x="2" y="230"/>
                    <a:pt x="0" y="226"/>
                    <a:pt x="1" y="223"/>
                  </a:cubicBezTo>
                  <a:cubicBezTo>
                    <a:pt x="30" y="72"/>
                    <a:pt x="30" y="72"/>
                    <a:pt x="30" y="72"/>
                  </a:cubicBezTo>
                  <a:cubicBezTo>
                    <a:pt x="30" y="69"/>
                    <a:pt x="33" y="67"/>
                    <a:pt x="36" y="67"/>
                  </a:cubicBezTo>
                  <a:cubicBezTo>
                    <a:pt x="46" y="67"/>
                    <a:pt x="46" y="67"/>
                    <a:pt x="46" y="67"/>
                  </a:cubicBezTo>
                  <a:cubicBezTo>
                    <a:pt x="66" y="54"/>
                    <a:pt x="151" y="0"/>
                    <a:pt x="168" y="0"/>
                  </a:cubicBezTo>
                  <a:cubicBezTo>
                    <a:pt x="186" y="0"/>
                    <a:pt x="222" y="11"/>
                    <a:pt x="223" y="11"/>
                  </a:cubicBezTo>
                  <a:cubicBezTo>
                    <a:pt x="227" y="12"/>
                    <a:pt x="228" y="16"/>
                    <a:pt x="227" y="19"/>
                  </a:cubicBezTo>
                  <a:cubicBezTo>
                    <a:pt x="226" y="22"/>
                    <a:pt x="223" y="24"/>
                    <a:pt x="220" y="23"/>
                  </a:cubicBezTo>
                  <a:cubicBezTo>
                    <a:pt x="220" y="23"/>
                    <a:pt x="184" y="12"/>
                    <a:pt x="168" y="12"/>
                  </a:cubicBezTo>
                  <a:cubicBezTo>
                    <a:pt x="159" y="12"/>
                    <a:pt x="101" y="46"/>
                    <a:pt x="51" y="78"/>
                  </a:cubicBezTo>
                  <a:cubicBezTo>
                    <a:pt x="50" y="79"/>
                    <a:pt x="49" y="79"/>
                    <a:pt x="47" y="79"/>
                  </a:cubicBezTo>
                  <a:cubicBezTo>
                    <a:pt x="41" y="79"/>
                    <a:pt x="41" y="79"/>
                    <a:pt x="41" y="79"/>
                  </a:cubicBezTo>
                  <a:cubicBezTo>
                    <a:pt x="13" y="225"/>
                    <a:pt x="13" y="225"/>
                    <a:pt x="13" y="225"/>
                  </a:cubicBezTo>
                  <a:cubicBezTo>
                    <a:pt x="12" y="228"/>
                    <a:pt x="10" y="230"/>
                    <a:pt x="7"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Freeform 19">
              <a:extLst>
                <a:ext uri="{FF2B5EF4-FFF2-40B4-BE49-F238E27FC236}">
                  <a16:creationId xmlns:a16="http://schemas.microsoft.com/office/drawing/2014/main" id="{734CD8FA-C1FE-409D-B37F-00573368C502}"/>
                </a:ext>
              </a:extLst>
            </p:cNvPr>
            <p:cNvSpPr>
              <a:spLocks noEditPoints="1"/>
            </p:cNvSpPr>
            <p:nvPr/>
          </p:nvSpPr>
          <p:spPr bwMode="auto">
            <a:xfrm>
              <a:off x="1009" y="915"/>
              <a:ext cx="84" cy="93"/>
            </a:xfrm>
            <a:custGeom>
              <a:avLst/>
              <a:gdLst>
                <a:gd name="T0" fmla="*/ 38 w 98"/>
                <a:gd name="T1" fmla="*/ 108 h 108"/>
                <a:gd name="T2" fmla="*/ 12 w 98"/>
                <a:gd name="T3" fmla="*/ 98 h 108"/>
                <a:gd name="T4" fmla="*/ 1 w 98"/>
                <a:gd name="T5" fmla="*/ 60 h 108"/>
                <a:gd name="T6" fmla="*/ 3 w 98"/>
                <a:gd name="T7" fmla="*/ 56 h 108"/>
                <a:gd name="T8" fmla="*/ 53 w 98"/>
                <a:gd name="T9" fmla="*/ 8 h 108"/>
                <a:gd name="T10" fmla="*/ 55 w 98"/>
                <a:gd name="T11" fmla="*/ 7 h 108"/>
                <a:gd name="T12" fmla="*/ 88 w 98"/>
                <a:gd name="T13" fmla="*/ 9 h 108"/>
                <a:gd name="T14" fmla="*/ 96 w 98"/>
                <a:gd name="T15" fmla="*/ 36 h 108"/>
                <a:gd name="T16" fmla="*/ 95 w 98"/>
                <a:gd name="T17" fmla="*/ 39 h 108"/>
                <a:gd name="T18" fmla="*/ 42 w 98"/>
                <a:gd name="T19" fmla="*/ 107 h 108"/>
                <a:gd name="T20" fmla="*/ 38 w 98"/>
                <a:gd name="T21" fmla="*/ 108 h 108"/>
                <a:gd name="T22" fmla="*/ 13 w 98"/>
                <a:gd name="T23" fmla="*/ 63 h 108"/>
                <a:gd name="T24" fmla="*/ 21 w 98"/>
                <a:gd name="T25" fmla="*/ 89 h 108"/>
                <a:gd name="T26" fmla="*/ 40 w 98"/>
                <a:gd name="T27" fmla="*/ 95 h 108"/>
                <a:gd name="T28" fmla="*/ 85 w 98"/>
                <a:gd name="T29" fmla="*/ 34 h 108"/>
                <a:gd name="T30" fmla="*/ 81 w 98"/>
                <a:gd name="T31" fmla="*/ 18 h 108"/>
                <a:gd name="T32" fmla="*/ 60 w 98"/>
                <a:gd name="T33" fmla="*/ 18 h 108"/>
                <a:gd name="T34" fmla="*/ 13 w 98"/>
                <a:gd name="T35" fmla="*/ 6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8" h="108">
                  <a:moveTo>
                    <a:pt x="38" y="108"/>
                  </a:moveTo>
                  <a:cubicBezTo>
                    <a:pt x="32" y="108"/>
                    <a:pt x="21" y="106"/>
                    <a:pt x="12" y="98"/>
                  </a:cubicBezTo>
                  <a:cubicBezTo>
                    <a:pt x="4" y="90"/>
                    <a:pt x="0" y="77"/>
                    <a:pt x="1" y="60"/>
                  </a:cubicBezTo>
                  <a:cubicBezTo>
                    <a:pt x="1" y="59"/>
                    <a:pt x="2" y="57"/>
                    <a:pt x="3" y="56"/>
                  </a:cubicBezTo>
                  <a:cubicBezTo>
                    <a:pt x="53" y="8"/>
                    <a:pt x="53" y="8"/>
                    <a:pt x="53" y="8"/>
                  </a:cubicBezTo>
                  <a:cubicBezTo>
                    <a:pt x="53" y="8"/>
                    <a:pt x="54" y="7"/>
                    <a:pt x="55" y="7"/>
                  </a:cubicBezTo>
                  <a:cubicBezTo>
                    <a:pt x="57" y="6"/>
                    <a:pt x="76" y="0"/>
                    <a:pt x="88" y="9"/>
                  </a:cubicBezTo>
                  <a:cubicBezTo>
                    <a:pt x="95" y="15"/>
                    <a:pt x="98" y="24"/>
                    <a:pt x="96" y="36"/>
                  </a:cubicBezTo>
                  <a:cubicBezTo>
                    <a:pt x="96" y="37"/>
                    <a:pt x="96" y="38"/>
                    <a:pt x="95" y="39"/>
                  </a:cubicBezTo>
                  <a:cubicBezTo>
                    <a:pt x="50" y="107"/>
                    <a:pt x="45" y="107"/>
                    <a:pt x="42" y="107"/>
                  </a:cubicBezTo>
                  <a:cubicBezTo>
                    <a:pt x="41" y="107"/>
                    <a:pt x="40" y="108"/>
                    <a:pt x="38" y="108"/>
                  </a:cubicBezTo>
                  <a:close/>
                  <a:moveTo>
                    <a:pt x="13" y="63"/>
                  </a:moveTo>
                  <a:cubicBezTo>
                    <a:pt x="13" y="75"/>
                    <a:pt x="15" y="84"/>
                    <a:pt x="21" y="89"/>
                  </a:cubicBezTo>
                  <a:cubicBezTo>
                    <a:pt x="27" y="95"/>
                    <a:pt x="36" y="96"/>
                    <a:pt x="40" y="95"/>
                  </a:cubicBezTo>
                  <a:cubicBezTo>
                    <a:pt x="45" y="90"/>
                    <a:pt x="66" y="61"/>
                    <a:pt x="85" y="34"/>
                  </a:cubicBezTo>
                  <a:cubicBezTo>
                    <a:pt x="85" y="26"/>
                    <a:pt x="84" y="21"/>
                    <a:pt x="81" y="18"/>
                  </a:cubicBezTo>
                  <a:cubicBezTo>
                    <a:pt x="76" y="14"/>
                    <a:pt x="65" y="16"/>
                    <a:pt x="60" y="18"/>
                  </a:cubicBezTo>
                  <a:lnTo>
                    <a:pt x="13"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20">
              <a:extLst>
                <a:ext uri="{FF2B5EF4-FFF2-40B4-BE49-F238E27FC236}">
                  <a16:creationId xmlns:a16="http://schemas.microsoft.com/office/drawing/2014/main" id="{9460ED28-0C9A-460E-A4B9-F1B7C210618F}"/>
                </a:ext>
              </a:extLst>
            </p:cNvPr>
            <p:cNvSpPr>
              <a:spLocks noEditPoints="1"/>
            </p:cNvSpPr>
            <p:nvPr/>
          </p:nvSpPr>
          <p:spPr bwMode="auto">
            <a:xfrm>
              <a:off x="1041" y="936"/>
              <a:ext cx="89" cy="101"/>
            </a:xfrm>
            <a:custGeom>
              <a:avLst/>
              <a:gdLst>
                <a:gd name="T0" fmla="*/ 40 w 103"/>
                <a:gd name="T1" fmla="*/ 117 h 117"/>
                <a:gd name="T2" fmla="*/ 1 w 103"/>
                <a:gd name="T3" fmla="*/ 84 h 117"/>
                <a:gd name="T4" fmla="*/ 2 w 103"/>
                <a:gd name="T5" fmla="*/ 79 h 117"/>
                <a:gd name="T6" fmla="*/ 58 w 103"/>
                <a:gd name="T7" fmla="*/ 10 h 117"/>
                <a:gd name="T8" fmla="*/ 60 w 103"/>
                <a:gd name="T9" fmla="*/ 9 h 117"/>
                <a:gd name="T10" fmla="*/ 88 w 103"/>
                <a:gd name="T11" fmla="*/ 7 h 117"/>
                <a:gd name="T12" fmla="*/ 103 w 103"/>
                <a:gd name="T13" fmla="*/ 42 h 117"/>
                <a:gd name="T14" fmla="*/ 102 w 103"/>
                <a:gd name="T15" fmla="*/ 45 h 117"/>
                <a:gd name="T16" fmla="*/ 47 w 103"/>
                <a:gd name="T17" fmla="*/ 116 h 117"/>
                <a:gd name="T18" fmla="*/ 40 w 103"/>
                <a:gd name="T19" fmla="*/ 117 h 117"/>
                <a:gd name="T20" fmla="*/ 13 w 103"/>
                <a:gd name="T21" fmla="*/ 85 h 117"/>
                <a:gd name="T22" fmla="*/ 44 w 103"/>
                <a:gd name="T23" fmla="*/ 105 h 117"/>
                <a:gd name="T24" fmla="*/ 91 w 103"/>
                <a:gd name="T25" fmla="*/ 40 h 117"/>
                <a:gd name="T26" fmla="*/ 83 w 103"/>
                <a:gd name="T27" fmla="*/ 18 h 117"/>
                <a:gd name="T28" fmla="*/ 67 w 103"/>
                <a:gd name="T29" fmla="*/ 19 h 117"/>
                <a:gd name="T30" fmla="*/ 13 w 103"/>
                <a:gd name="T31"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 h="117">
                  <a:moveTo>
                    <a:pt x="40" y="117"/>
                  </a:moveTo>
                  <a:cubicBezTo>
                    <a:pt x="18" y="117"/>
                    <a:pt x="3" y="105"/>
                    <a:pt x="1" y="84"/>
                  </a:cubicBezTo>
                  <a:cubicBezTo>
                    <a:pt x="0" y="82"/>
                    <a:pt x="1" y="80"/>
                    <a:pt x="2" y="79"/>
                  </a:cubicBezTo>
                  <a:cubicBezTo>
                    <a:pt x="58" y="10"/>
                    <a:pt x="58" y="10"/>
                    <a:pt x="58" y="10"/>
                  </a:cubicBezTo>
                  <a:cubicBezTo>
                    <a:pt x="58" y="10"/>
                    <a:pt x="59" y="9"/>
                    <a:pt x="60" y="9"/>
                  </a:cubicBezTo>
                  <a:cubicBezTo>
                    <a:pt x="60" y="9"/>
                    <a:pt x="76" y="0"/>
                    <a:pt x="88" y="7"/>
                  </a:cubicBezTo>
                  <a:cubicBezTo>
                    <a:pt x="98" y="13"/>
                    <a:pt x="103" y="24"/>
                    <a:pt x="103" y="42"/>
                  </a:cubicBezTo>
                  <a:cubicBezTo>
                    <a:pt x="103" y="43"/>
                    <a:pt x="103" y="44"/>
                    <a:pt x="102" y="45"/>
                  </a:cubicBezTo>
                  <a:cubicBezTo>
                    <a:pt x="55" y="116"/>
                    <a:pt x="50" y="116"/>
                    <a:pt x="47" y="116"/>
                  </a:cubicBezTo>
                  <a:cubicBezTo>
                    <a:pt x="44" y="117"/>
                    <a:pt x="42" y="117"/>
                    <a:pt x="40" y="117"/>
                  </a:cubicBezTo>
                  <a:close/>
                  <a:moveTo>
                    <a:pt x="13" y="85"/>
                  </a:moveTo>
                  <a:cubicBezTo>
                    <a:pt x="17" y="103"/>
                    <a:pt x="31" y="106"/>
                    <a:pt x="44" y="105"/>
                  </a:cubicBezTo>
                  <a:cubicBezTo>
                    <a:pt x="50" y="99"/>
                    <a:pt x="72" y="69"/>
                    <a:pt x="91" y="40"/>
                  </a:cubicBezTo>
                  <a:cubicBezTo>
                    <a:pt x="91" y="28"/>
                    <a:pt x="88" y="21"/>
                    <a:pt x="83" y="18"/>
                  </a:cubicBezTo>
                  <a:cubicBezTo>
                    <a:pt x="77" y="15"/>
                    <a:pt x="69" y="18"/>
                    <a:pt x="67" y="19"/>
                  </a:cubicBezTo>
                  <a:lnTo>
                    <a:pt x="13"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21">
              <a:extLst>
                <a:ext uri="{FF2B5EF4-FFF2-40B4-BE49-F238E27FC236}">
                  <a16:creationId xmlns:a16="http://schemas.microsoft.com/office/drawing/2014/main" id="{B69963DC-8C52-4843-8083-0839FC9DF2C8}"/>
                </a:ext>
              </a:extLst>
            </p:cNvPr>
            <p:cNvSpPr>
              <a:spLocks noEditPoints="1"/>
            </p:cNvSpPr>
            <p:nvPr/>
          </p:nvSpPr>
          <p:spPr bwMode="auto">
            <a:xfrm>
              <a:off x="1085" y="981"/>
              <a:ext cx="70" cy="82"/>
            </a:xfrm>
            <a:custGeom>
              <a:avLst/>
              <a:gdLst>
                <a:gd name="T0" fmla="*/ 33 w 81"/>
                <a:gd name="T1" fmla="*/ 95 h 95"/>
                <a:gd name="T2" fmla="*/ 13 w 81"/>
                <a:gd name="T3" fmla="*/ 89 h 95"/>
                <a:gd name="T4" fmla="*/ 0 w 81"/>
                <a:gd name="T5" fmla="*/ 65 h 95"/>
                <a:gd name="T6" fmla="*/ 1 w 81"/>
                <a:gd name="T7" fmla="*/ 61 h 95"/>
                <a:gd name="T8" fmla="*/ 41 w 81"/>
                <a:gd name="T9" fmla="*/ 9 h 95"/>
                <a:gd name="T10" fmla="*/ 44 w 81"/>
                <a:gd name="T11" fmla="*/ 7 h 95"/>
                <a:gd name="T12" fmla="*/ 72 w 81"/>
                <a:gd name="T13" fmla="*/ 9 h 95"/>
                <a:gd name="T14" fmla="*/ 80 w 81"/>
                <a:gd name="T15" fmla="*/ 38 h 95"/>
                <a:gd name="T16" fmla="*/ 79 w 81"/>
                <a:gd name="T17" fmla="*/ 40 h 95"/>
                <a:gd name="T18" fmla="*/ 45 w 81"/>
                <a:gd name="T19" fmla="*/ 93 h 95"/>
                <a:gd name="T20" fmla="*/ 44 w 81"/>
                <a:gd name="T21" fmla="*/ 94 h 95"/>
                <a:gd name="T22" fmla="*/ 33 w 81"/>
                <a:gd name="T23" fmla="*/ 95 h 95"/>
                <a:gd name="T24" fmla="*/ 12 w 81"/>
                <a:gd name="T25" fmla="*/ 66 h 95"/>
                <a:gd name="T26" fmla="*/ 20 w 81"/>
                <a:gd name="T27" fmla="*/ 79 h 95"/>
                <a:gd name="T28" fmla="*/ 42 w 81"/>
                <a:gd name="T29" fmla="*/ 82 h 95"/>
                <a:gd name="T30" fmla="*/ 43 w 81"/>
                <a:gd name="T31" fmla="*/ 82 h 95"/>
                <a:gd name="T32" fmla="*/ 68 w 81"/>
                <a:gd name="T33" fmla="*/ 35 h 95"/>
                <a:gd name="T34" fmla="*/ 64 w 81"/>
                <a:gd name="T35" fmla="*/ 18 h 95"/>
                <a:gd name="T36" fmla="*/ 49 w 81"/>
                <a:gd name="T37" fmla="*/ 17 h 95"/>
                <a:gd name="T38" fmla="*/ 12 w 81"/>
                <a:gd name="T39" fmla="*/ 66 h 95"/>
                <a:gd name="T40" fmla="*/ 44 w 81"/>
                <a:gd name="T41" fmla="*/ 82 h 95"/>
                <a:gd name="T42" fmla="*/ 44 w 81"/>
                <a:gd name="T43" fmla="*/ 82 h 95"/>
                <a:gd name="T44" fmla="*/ 44 w 81"/>
                <a:gd name="T45" fmla="*/ 8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1" h="95">
                  <a:moveTo>
                    <a:pt x="33" y="95"/>
                  </a:moveTo>
                  <a:cubicBezTo>
                    <a:pt x="26" y="95"/>
                    <a:pt x="19" y="94"/>
                    <a:pt x="13" y="89"/>
                  </a:cubicBezTo>
                  <a:cubicBezTo>
                    <a:pt x="6" y="84"/>
                    <a:pt x="2" y="76"/>
                    <a:pt x="0" y="65"/>
                  </a:cubicBezTo>
                  <a:cubicBezTo>
                    <a:pt x="0" y="64"/>
                    <a:pt x="0" y="62"/>
                    <a:pt x="1" y="61"/>
                  </a:cubicBezTo>
                  <a:cubicBezTo>
                    <a:pt x="41" y="9"/>
                    <a:pt x="41" y="9"/>
                    <a:pt x="41" y="9"/>
                  </a:cubicBezTo>
                  <a:cubicBezTo>
                    <a:pt x="42" y="8"/>
                    <a:pt x="43" y="7"/>
                    <a:pt x="44" y="7"/>
                  </a:cubicBezTo>
                  <a:cubicBezTo>
                    <a:pt x="45" y="6"/>
                    <a:pt x="61" y="0"/>
                    <a:pt x="72" y="9"/>
                  </a:cubicBezTo>
                  <a:cubicBezTo>
                    <a:pt x="79" y="14"/>
                    <a:pt x="81" y="24"/>
                    <a:pt x="80" y="38"/>
                  </a:cubicBezTo>
                  <a:cubicBezTo>
                    <a:pt x="80" y="38"/>
                    <a:pt x="80" y="39"/>
                    <a:pt x="79" y="40"/>
                  </a:cubicBezTo>
                  <a:cubicBezTo>
                    <a:pt x="54" y="93"/>
                    <a:pt x="49" y="93"/>
                    <a:pt x="45" y="93"/>
                  </a:cubicBezTo>
                  <a:cubicBezTo>
                    <a:pt x="45" y="94"/>
                    <a:pt x="44" y="94"/>
                    <a:pt x="44" y="94"/>
                  </a:cubicBezTo>
                  <a:cubicBezTo>
                    <a:pt x="41" y="94"/>
                    <a:pt x="37" y="95"/>
                    <a:pt x="33" y="95"/>
                  </a:cubicBezTo>
                  <a:close/>
                  <a:moveTo>
                    <a:pt x="12" y="66"/>
                  </a:moveTo>
                  <a:cubicBezTo>
                    <a:pt x="14" y="72"/>
                    <a:pt x="16" y="77"/>
                    <a:pt x="20" y="79"/>
                  </a:cubicBezTo>
                  <a:cubicBezTo>
                    <a:pt x="27" y="84"/>
                    <a:pt x="37" y="83"/>
                    <a:pt x="42" y="82"/>
                  </a:cubicBezTo>
                  <a:cubicBezTo>
                    <a:pt x="42" y="82"/>
                    <a:pt x="42" y="82"/>
                    <a:pt x="43" y="82"/>
                  </a:cubicBezTo>
                  <a:cubicBezTo>
                    <a:pt x="47" y="77"/>
                    <a:pt x="59" y="55"/>
                    <a:pt x="68" y="35"/>
                  </a:cubicBezTo>
                  <a:cubicBezTo>
                    <a:pt x="69" y="29"/>
                    <a:pt x="68" y="22"/>
                    <a:pt x="64" y="18"/>
                  </a:cubicBezTo>
                  <a:cubicBezTo>
                    <a:pt x="60" y="15"/>
                    <a:pt x="53" y="16"/>
                    <a:pt x="49" y="17"/>
                  </a:cubicBezTo>
                  <a:lnTo>
                    <a:pt x="12" y="66"/>
                  </a:lnTo>
                  <a:close/>
                  <a:moveTo>
                    <a:pt x="44" y="82"/>
                  </a:moveTo>
                  <a:cubicBezTo>
                    <a:pt x="44" y="82"/>
                    <a:pt x="44" y="82"/>
                    <a:pt x="44" y="82"/>
                  </a:cubicBezTo>
                  <a:cubicBezTo>
                    <a:pt x="44" y="82"/>
                    <a:pt x="44" y="82"/>
                    <a:pt x="44"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264BF421-2648-409E-BF74-5F1D2F6B8CF5}"/>
                </a:ext>
              </a:extLst>
            </p:cNvPr>
            <p:cNvSpPr>
              <a:spLocks noEditPoints="1"/>
            </p:cNvSpPr>
            <p:nvPr/>
          </p:nvSpPr>
          <p:spPr bwMode="auto">
            <a:xfrm>
              <a:off x="979" y="901"/>
              <a:ext cx="70" cy="74"/>
            </a:xfrm>
            <a:custGeom>
              <a:avLst/>
              <a:gdLst>
                <a:gd name="T0" fmla="*/ 28 w 81"/>
                <a:gd name="T1" fmla="*/ 86 h 86"/>
                <a:gd name="T2" fmla="*/ 11 w 81"/>
                <a:gd name="T3" fmla="*/ 79 h 86"/>
                <a:gd name="T4" fmla="*/ 1 w 81"/>
                <a:gd name="T5" fmla="*/ 42 h 86"/>
                <a:gd name="T6" fmla="*/ 3 w 81"/>
                <a:gd name="T7" fmla="*/ 38 h 86"/>
                <a:gd name="T8" fmla="*/ 34 w 81"/>
                <a:gd name="T9" fmla="*/ 9 h 86"/>
                <a:gd name="T10" fmla="*/ 36 w 81"/>
                <a:gd name="T11" fmla="*/ 8 h 86"/>
                <a:gd name="T12" fmla="*/ 71 w 81"/>
                <a:gd name="T13" fmla="*/ 10 h 86"/>
                <a:gd name="T14" fmla="*/ 79 w 81"/>
                <a:gd name="T15" fmla="*/ 37 h 86"/>
                <a:gd name="T16" fmla="*/ 78 w 81"/>
                <a:gd name="T17" fmla="*/ 40 h 86"/>
                <a:gd name="T18" fmla="*/ 34 w 81"/>
                <a:gd name="T19" fmla="*/ 85 h 86"/>
                <a:gd name="T20" fmla="*/ 33 w 81"/>
                <a:gd name="T21" fmla="*/ 85 h 86"/>
                <a:gd name="T22" fmla="*/ 28 w 81"/>
                <a:gd name="T23" fmla="*/ 86 h 86"/>
                <a:gd name="T24" fmla="*/ 13 w 81"/>
                <a:gd name="T25" fmla="*/ 45 h 86"/>
                <a:gd name="T26" fmla="*/ 19 w 81"/>
                <a:gd name="T27" fmla="*/ 71 h 86"/>
                <a:gd name="T28" fmla="*/ 32 w 81"/>
                <a:gd name="T29" fmla="*/ 73 h 86"/>
                <a:gd name="T30" fmla="*/ 32 w 81"/>
                <a:gd name="T31" fmla="*/ 73 h 86"/>
                <a:gd name="T32" fmla="*/ 67 w 81"/>
                <a:gd name="T33" fmla="*/ 34 h 86"/>
                <a:gd name="T34" fmla="*/ 63 w 81"/>
                <a:gd name="T35" fmla="*/ 19 h 86"/>
                <a:gd name="T36" fmla="*/ 41 w 81"/>
                <a:gd name="T37" fmla="*/ 19 h 86"/>
                <a:gd name="T38" fmla="*/ 13 w 81"/>
                <a:gd name="T39" fmla="*/ 45 h 86"/>
                <a:gd name="T40" fmla="*/ 33 w 81"/>
                <a:gd name="T41" fmla="*/ 73 h 86"/>
                <a:gd name="T42" fmla="*/ 33 w 81"/>
                <a:gd name="T43" fmla="*/ 7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6">
                  <a:moveTo>
                    <a:pt x="28" y="86"/>
                  </a:moveTo>
                  <a:cubicBezTo>
                    <a:pt x="23" y="86"/>
                    <a:pt x="17" y="85"/>
                    <a:pt x="11" y="79"/>
                  </a:cubicBezTo>
                  <a:cubicBezTo>
                    <a:pt x="3" y="72"/>
                    <a:pt x="0" y="60"/>
                    <a:pt x="1" y="42"/>
                  </a:cubicBezTo>
                  <a:cubicBezTo>
                    <a:pt x="1" y="40"/>
                    <a:pt x="2" y="39"/>
                    <a:pt x="3" y="38"/>
                  </a:cubicBezTo>
                  <a:cubicBezTo>
                    <a:pt x="34" y="9"/>
                    <a:pt x="34" y="9"/>
                    <a:pt x="34" y="9"/>
                  </a:cubicBezTo>
                  <a:cubicBezTo>
                    <a:pt x="34" y="9"/>
                    <a:pt x="35" y="8"/>
                    <a:pt x="36" y="8"/>
                  </a:cubicBezTo>
                  <a:cubicBezTo>
                    <a:pt x="38" y="7"/>
                    <a:pt x="58" y="0"/>
                    <a:pt x="71" y="10"/>
                  </a:cubicBezTo>
                  <a:cubicBezTo>
                    <a:pt x="78" y="16"/>
                    <a:pt x="81" y="25"/>
                    <a:pt x="79" y="37"/>
                  </a:cubicBezTo>
                  <a:cubicBezTo>
                    <a:pt x="79" y="38"/>
                    <a:pt x="78" y="39"/>
                    <a:pt x="78" y="40"/>
                  </a:cubicBezTo>
                  <a:cubicBezTo>
                    <a:pt x="41" y="84"/>
                    <a:pt x="36" y="85"/>
                    <a:pt x="34" y="85"/>
                  </a:cubicBezTo>
                  <a:cubicBezTo>
                    <a:pt x="33" y="85"/>
                    <a:pt x="33" y="85"/>
                    <a:pt x="33" y="85"/>
                  </a:cubicBezTo>
                  <a:cubicBezTo>
                    <a:pt x="32" y="85"/>
                    <a:pt x="30" y="86"/>
                    <a:pt x="28" y="86"/>
                  </a:cubicBezTo>
                  <a:close/>
                  <a:moveTo>
                    <a:pt x="13" y="45"/>
                  </a:moveTo>
                  <a:cubicBezTo>
                    <a:pt x="13" y="61"/>
                    <a:pt x="16" y="68"/>
                    <a:pt x="19" y="71"/>
                  </a:cubicBezTo>
                  <a:cubicBezTo>
                    <a:pt x="23" y="74"/>
                    <a:pt x="29" y="74"/>
                    <a:pt x="32" y="73"/>
                  </a:cubicBezTo>
                  <a:cubicBezTo>
                    <a:pt x="32" y="73"/>
                    <a:pt x="32" y="73"/>
                    <a:pt x="32" y="73"/>
                  </a:cubicBezTo>
                  <a:cubicBezTo>
                    <a:pt x="36" y="70"/>
                    <a:pt x="53" y="51"/>
                    <a:pt x="67" y="34"/>
                  </a:cubicBezTo>
                  <a:cubicBezTo>
                    <a:pt x="68" y="27"/>
                    <a:pt x="67" y="22"/>
                    <a:pt x="63" y="19"/>
                  </a:cubicBezTo>
                  <a:cubicBezTo>
                    <a:pt x="58" y="15"/>
                    <a:pt x="46" y="17"/>
                    <a:pt x="41" y="19"/>
                  </a:cubicBezTo>
                  <a:lnTo>
                    <a:pt x="13" y="45"/>
                  </a:lnTo>
                  <a:close/>
                  <a:moveTo>
                    <a:pt x="33" y="73"/>
                  </a:moveTo>
                  <a:cubicBezTo>
                    <a:pt x="33" y="73"/>
                    <a:pt x="33" y="73"/>
                    <a:pt x="33"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96C8350C-5986-4682-B4FE-F9C74C7F8AC7}"/>
                </a:ext>
              </a:extLst>
            </p:cNvPr>
            <p:cNvSpPr>
              <a:spLocks noEditPoints="1"/>
            </p:cNvSpPr>
            <p:nvPr/>
          </p:nvSpPr>
          <p:spPr bwMode="auto">
            <a:xfrm>
              <a:off x="1317" y="773"/>
              <a:ext cx="125" cy="199"/>
            </a:xfrm>
            <a:custGeom>
              <a:avLst/>
              <a:gdLst>
                <a:gd name="T0" fmla="*/ 49 w 145"/>
                <a:gd name="T1" fmla="*/ 231 h 231"/>
                <a:gd name="T2" fmla="*/ 46 w 145"/>
                <a:gd name="T3" fmla="*/ 230 h 231"/>
                <a:gd name="T4" fmla="*/ 43 w 145"/>
                <a:gd name="T5" fmla="*/ 226 h 231"/>
                <a:gd name="T6" fmla="*/ 1 w 145"/>
                <a:gd name="T7" fmla="*/ 24 h 231"/>
                <a:gd name="T8" fmla="*/ 2 w 145"/>
                <a:gd name="T9" fmla="*/ 20 h 231"/>
                <a:gd name="T10" fmla="*/ 6 w 145"/>
                <a:gd name="T11" fmla="*/ 17 h 231"/>
                <a:gd name="T12" fmla="*/ 90 w 145"/>
                <a:gd name="T13" fmla="*/ 1 h 231"/>
                <a:gd name="T14" fmla="*/ 96 w 145"/>
                <a:gd name="T15" fmla="*/ 0 h 231"/>
                <a:gd name="T16" fmla="*/ 99 w 145"/>
                <a:gd name="T17" fmla="*/ 5 h 231"/>
                <a:gd name="T18" fmla="*/ 144 w 145"/>
                <a:gd name="T19" fmla="*/ 202 h 231"/>
                <a:gd name="T20" fmla="*/ 139 w 145"/>
                <a:gd name="T21" fmla="*/ 209 h 231"/>
                <a:gd name="T22" fmla="*/ 51 w 145"/>
                <a:gd name="T23" fmla="*/ 230 h 231"/>
                <a:gd name="T24" fmla="*/ 49 w 145"/>
                <a:gd name="T25" fmla="*/ 231 h 231"/>
                <a:gd name="T26" fmla="*/ 14 w 145"/>
                <a:gd name="T27" fmla="*/ 28 h 231"/>
                <a:gd name="T28" fmla="*/ 54 w 145"/>
                <a:gd name="T29" fmla="*/ 217 h 231"/>
                <a:gd name="T30" fmla="*/ 131 w 145"/>
                <a:gd name="T31" fmla="*/ 199 h 231"/>
                <a:gd name="T32" fmla="*/ 89 w 145"/>
                <a:gd name="T33" fmla="*/ 14 h 231"/>
                <a:gd name="T34" fmla="*/ 14 w 145"/>
                <a:gd name="T35" fmla="*/ 28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5" h="231">
                  <a:moveTo>
                    <a:pt x="49" y="231"/>
                  </a:moveTo>
                  <a:cubicBezTo>
                    <a:pt x="48" y="231"/>
                    <a:pt x="47" y="230"/>
                    <a:pt x="46" y="230"/>
                  </a:cubicBezTo>
                  <a:cubicBezTo>
                    <a:pt x="45" y="229"/>
                    <a:pt x="44" y="227"/>
                    <a:pt x="43" y="226"/>
                  </a:cubicBezTo>
                  <a:cubicBezTo>
                    <a:pt x="1" y="24"/>
                    <a:pt x="1" y="24"/>
                    <a:pt x="1" y="24"/>
                  </a:cubicBezTo>
                  <a:cubicBezTo>
                    <a:pt x="0" y="23"/>
                    <a:pt x="1" y="21"/>
                    <a:pt x="2" y="20"/>
                  </a:cubicBezTo>
                  <a:cubicBezTo>
                    <a:pt x="3" y="18"/>
                    <a:pt x="4" y="17"/>
                    <a:pt x="6" y="17"/>
                  </a:cubicBezTo>
                  <a:cubicBezTo>
                    <a:pt x="43" y="11"/>
                    <a:pt x="85" y="4"/>
                    <a:pt x="90" y="1"/>
                  </a:cubicBezTo>
                  <a:cubicBezTo>
                    <a:pt x="92" y="0"/>
                    <a:pt x="94" y="0"/>
                    <a:pt x="96" y="0"/>
                  </a:cubicBezTo>
                  <a:cubicBezTo>
                    <a:pt x="98" y="1"/>
                    <a:pt x="99" y="3"/>
                    <a:pt x="99" y="5"/>
                  </a:cubicBezTo>
                  <a:cubicBezTo>
                    <a:pt x="144" y="202"/>
                    <a:pt x="144" y="202"/>
                    <a:pt x="144" y="202"/>
                  </a:cubicBezTo>
                  <a:cubicBezTo>
                    <a:pt x="145" y="205"/>
                    <a:pt x="143" y="208"/>
                    <a:pt x="139" y="209"/>
                  </a:cubicBezTo>
                  <a:cubicBezTo>
                    <a:pt x="51" y="230"/>
                    <a:pt x="51" y="230"/>
                    <a:pt x="51" y="230"/>
                  </a:cubicBezTo>
                  <a:cubicBezTo>
                    <a:pt x="50" y="231"/>
                    <a:pt x="50" y="231"/>
                    <a:pt x="49" y="231"/>
                  </a:cubicBezTo>
                  <a:close/>
                  <a:moveTo>
                    <a:pt x="14" y="28"/>
                  </a:moveTo>
                  <a:cubicBezTo>
                    <a:pt x="54" y="217"/>
                    <a:pt x="54" y="217"/>
                    <a:pt x="54" y="217"/>
                  </a:cubicBezTo>
                  <a:cubicBezTo>
                    <a:pt x="131" y="199"/>
                    <a:pt x="131" y="199"/>
                    <a:pt x="131" y="199"/>
                  </a:cubicBezTo>
                  <a:cubicBezTo>
                    <a:pt x="89" y="14"/>
                    <a:pt x="89" y="14"/>
                    <a:pt x="89" y="14"/>
                  </a:cubicBezTo>
                  <a:cubicBezTo>
                    <a:pt x="73" y="18"/>
                    <a:pt x="39" y="24"/>
                    <a:pt x="1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8020F244-1413-4D35-B9BC-996AF842152F}"/>
                </a:ext>
              </a:extLst>
            </p:cNvPr>
            <p:cNvSpPr>
              <a:spLocks noEditPoints="1"/>
            </p:cNvSpPr>
            <p:nvPr/>
          </p:nvSpPr>
          <p:spPr bwMode="auto">
            <a:xfrm>
              <a:off x="849" y="752"/>
              <a:ext cx="141" cy="213"/>
            </a:xfrm>
            <a:custGeom>
              <a:avLst/>
              <a:gdLst>
                <a:gd name="T0" fmla="*/ 104 w 163"/>
                <a:gd name="T1" fmla="*/ 248 h 248"/>
                <a:gd name="T2" fmla="*/ 5 w 163"/>
                <a:gd name="T3" fmla="*/ 220 h 248"/>
                <a:gd name="T4" fmla="*/ 1 w 163"/>
                <a:gd name="T5" fmla="*/ 213 h 248"/>
                <a:gd name="T6" fmla="*/ 61 w 163"/>
                <a:gd name="T7" fmla="*/ 5 h 248"/>
                <a:gd name="T8" fmla="*/ 64 w 163"/>
                <a:gd name="T9" fmla="*/ 1 h 248"/>
                <a:gd name="T10" fmla="*/ 68 w 163"/>
                <a:gd name="T11" fmla="*/ 1 h 248"/>
                <a:gd name="T12" fmla="*/ 159 w 163"/>
                <a:gd name="T13" fmla="*/ 29 h 248"/>
                <a:gd name="T14" fmla="*/ 163 w 163"/>
                <a:gd name="T15" fmla="*/ 37 h 248"/>
                <a:gd name="T16" fmla="*/ 111 w 163"/>
                <a:gd name="T17" fmla="*/ 241 h 248"/>
                <a:gd name="T18" fmla="*/ 109 w 163"/>
                <a:gd name="T19" fmla="*/ 246 h 248"/>
                <a:gd name="T20" fmla="*/ 104 w 163"/>
                <a:gd name="T21" fmla="*/ 248 h 248"/>
                <a:gd name="T22" fmla="*/ 110 w 163"/>
                <a:gd name="T23" fmla="*/ 239 h 248"/>
                <a:gd name="T24" fmla="*/ 110 w 163"/>
                <a:gd name="T25" fmla="*/ 240 h 248"/>
                <a:gd name="T26" fmla="*/ 110 w 163"/>
                <a:gd name="T27" fmla="*/ 239 h 248"/>
                <a:gd name="T28" fmla="*/ 14 w 163"/>
                <a:gd name="T29" fmla="*/ 211 h 248"/>
                <a:gd name="T30" fmla="*/ 100 w 163"/>
                <a:gd name="T31" fmla="*/ 236 h 248"/>
                <a:gd name="T32" fmla="*/ 150 w 163"/>
                <a:gd name="T33" fmla="*/ 39 h 248"/>
                <a:gd name="T34" fmla="*/ 71 w 163"/>
                <a:gd name="T35" fmla="*/ 14 h 248"/>
                <a:gd name="T36" fmla="*/ 14 w 163"/>
                <a:gd name="T37" fmla="*/ 211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3" h="248">
                  <a:moveTo>
                    <a:pt x="104" y="248"/>
                  </a:moveTo>
                  <a:cubicBezTo>
                    <a:pt x="97" y="248"/>
                    <a:pt x="75" y="243"/>
                    <a:pt x="5" y="220"/>
                  </a:cubicBezTo>
                  <a:cubicBezTo>
                    <a:pt x="2" y="219"/>
                    <a:pt x="0" y="216"/>
                    <a:pt x="1" y="213"/>
                  </a:cubicBezTo>
                  <a:cubicBezTo>
                    <a:pt x="61" y="5"/>
                    <a:pt x="61" y="5"/>
                    <a:pt x="61" y="5"/>
                  </a:cubicBezTo>
                  <a:cubicBezTo>
                    <a:pt x="61" y="3"/>
                    <a:pt x="62" y="2"/>
                    <a:pt x="64" y="1"/>
                  </a:cubicBezTo>
                  <a:cubicBezTo>
                    <a:pt x="65" y="1"/>
                    <a:pt x="67" y="0"/>
                    <a:pt x="68" y="1"/>
                  </a:cubicBezTo>
                  <a:cubicBezTo>
                    <a:pt x="159" y="29"/>
                    <a:pt x="159" y="29"/>
                    <a:pt x="159" y="29"/>
                  </a:cubicBezTo>
                  <a:cubicBezTo>
                    <a:pt x="162" y="30"/>
                    <a:pt x="163" y="34"/>
                    <a:pt x="163" y="37"/>
                  </a:cubicBezTo>
                  <a:cubicBezTo>
                    <a:pt x="143" y="110"/>
                    <a:pt x="111" y="230"/>
                    <a:pt x="111" y="241"/>
                  </a:cubicBezTo>
                  <a:cubicBezTo>
                    <a:pt x="111" y="243"/>
                    <a:pt x="111" y="245"/>
                    <a:pt x="109" y="246"/>
                  </a:cubicBezTo>
                  <a:cubicBezTo>
                    <a:pt x="109" y="247"/>
                    <a:pt x="108" y="248"/>
                    <a:pt x="104" y="248"/>
                  </a:cubicBezTo>
                  <a:close/>
                  <a:moveTo>
                    <a:pt x="110" y="239"/>
                  </a:moveTo>
                  <a:cubicBezTo>
                    <a:pt x="110" y="239"/>
                    <a:pt x="110" y="240"/>
                    <a:pt x="110" y="240"/>
                  </a:cubicBezTo>
                  <a:cubicBezTo>
                    <a:pt x="110" y="240"/>
                    <a:pt x="110" y="239"/>
                    <a:pt x="110" y="239"/>
                  </a:cubicBezTo>
                  <a:close/>
                  <a:moveTo>
                    <a:pt x="14" y="211"/>
                  </a:moveTo>
                  <a:cubicBezTo>
                    <a:pt x="50" y="222"/>
                    <a:pt x="87" y="233"/>
                    <a:pt x="100" y="236"/>
                  </a:cubicBezTo>
                  <a:cubicBezTo>
                    <a:pt x="102" y="220"/>
                    <a:pt x="113" y="176"/>
                    <a:pt x="150" y="39"/>
                  </a:cubicBezTo>
                  <a:cubicBezTo>
                    <a:pt x="71" y="14"/>
                    <a:pt x="71" y="14"/>
                    <a:pt x="71" y="14"/>
                  </a:cubicBezTo>
                  <a:lnTo>
                    <a:pt x="14"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9" name="Group 697">
            <a:extLst>
              <a:ext uri="{FF2B5EF4-FFF2-40B4-BE49-F238E27FC236}">
                <a16:creationId xmlns:a16="http://schemas.microsoft.com/office/drawing/2014/main" id="{931C234A-B363-4B5D-AA75-DDA8AFF8B20D}"/>
              </a:ext>
            </a:extLst>
          </p:cNvPr>
          <p:cNvGrpSpPr>
            <a:grpSpLocks noChangeAspect="1"/>
          </p:cNvGrpSpPr>
          <p:nvPr/>
        </p:nvGrpSpPr>
        <p:grpSpPr bwMode="auto">
          <a:xfrm>
            <a:off x="1002784" y="3835839"/>
            <a:ext cx="456035" cy="457257"/>
            <a:chOff x="5045" y="2150"/>
            <a:chExt cx="373" cy="374"/>
          </a:xfrm>
          <a:solidFill>
            <a:schemeClr val="tx2"/>
          </a:solidFill>
        </p:grpSpPr>
        <p:sp>
          <p:nvSpPr>
            <p:cNvPr id="30" name="Freeform 698">
              <a:extLst>
                <a:ext uri="{FF2B5EF4-FFF2-40B4-BE49-F238E27FC236}">
                  <a16:creationId xmlns:a16="http://schemas.microsoft.com/office/drawing/2014/main" id="{9BE9AD73-42B6-4FE9-8182-DB34E21745A4}"/>
                </a:ext>
              </a:extLst>
            </p:cNvPr>
            <p:cNvSpPr>
              <a:spLocks noEditPoints="1"/>
            </p:cNvSpPr>
            <p:nvPr/>
          </p:nvSpPr>
          <p:spPr bwMode="auto">
            <a:xfrm>
              <a:off x="5045" y="2150"/>
              <a:ext cx="373" cy="374"/>
            </a:xfrm>
            <a:custGeom>
              <a:avLst/>
              <a:gdLst>
                <a:gd name="T0" fmla="*/ 236 w 472"/>
                <a:gd name="T1" fmla="*/ 472 h 472"/>
                <a:gd name="T2" fmla="*/ 0 w 472"/>
                <a:gd name="T3" fmla="*/ 236 h 472"/>
                <a:gd name="T4" fmla="*/ 236 w 472"/>
                <a:gd name="T5" fmla="*/ 0 h 472"/>
                <a:gd name="T6" fmla="*/ 472 w 472"/>
                <a:gd name="T7" fmla="*/ 236 h 472"/>
                <a:gd name="T8" fmla="*/ 236 w 472"/>
                <a:gd name="T9" fmla="*/ 472 h 472"/>
                <a:gd name="T10" fmla="*/ 236 w 472"/>
                <a:gd name="T11" fmla="*/ 12 h 472"/>
                <a:gd name="T12" fmla="*/ 12 w 472"/>
                <a:gd name="T13" fmla="*/ 236 h 472"/>
                <a:gd name="T14" fmla="*/ 236 w 472"/>
                <a:gd name="T15" fmla="*/ 460 h 472"/>
                <a:gd name="T16" fmla="*/ 460 w 472"/>
                <a:gd name="T17" fmla="*/ 236 h 472"/>
                <a:gd name="T18" fmla="*/ 236 w 472"/>
                <a:gd name="T19" fmla="*/ 12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2" h="472">
                  <a:moveTo>
                    <a:pt x="236" y="472"/>
                  </a:moveTo>
                  <a:cubicBezTo>
                    <a:pt x="106" y="472"/>
                    <a:pt x="0" y="366"/>
                    <a:pt x="0" y="236"/>
                  </a:cubicBezTo>
                  <a:cubicBezTo>
                    <a:pt x="0" y="106"/>
                    <a:pt x="106" y="0"/>
                    <a:pt x="236" y="0"/>
                  </a:cubicBezTo>
                  <a:cubicBezTo>
                    <a:pt x="366" y="0"/>
                    <a:pt x="472" y="106"/>
                    <a:pt x="472" y="236"/>
                  </a:cubicBezTo>
                  <a:cubicBezTo>
                    <a:pt x="472" y="366"/>
                    <a:pt x="366" y="472"/>
                    <a:pt x="236" y="472"/>
                  </a:cubicBezTo>
                  <a:close/>
                  <a:moveTo>
                    <a:pt x="236" y="12"/>
                  </a:moveTo>
                  <a:cubicBezTo>
                    <a:pt x="112" y="12"/>
                    <a:pt x="12" y="113"/>
                    <a:pt x="12" y="236"/>
                  </a:cubicBezTo>
                  <a:cubicBezTo>
                    <a:pt x="12" y="360"/>
                    <a:pt x="112" y="460"/>
                    <a:pt x="236" y="460"/>
                  </a:cubicBezTo>
                  <a:cubicBezTo>
                    <a:pt x="359" y="460"/>
                    <a:pt x="460" y="360"/>
                    <a:pt x="460" y="236"/>
                  </a:cubicBezTo>
                  <a:cubicBezTo>
                    <a:pt x="460" y="113"/>
                    <a:pt x="359" y="12"/>
                    <a:pt x="2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699">
              <a:extLst>
                <a:ext uri="{FF2B5EF4-FFF2-40B4-BE49-F238E27FC236}">
                  <a16:creationId xmlns:a16="http://schemas.microsoft.com/office/drawing/2014/main" id="{547926F5-0959-4A9E-AB88-2EC2CEB7ED3D}"/>
                </a:ext>
              </a:extLst>
            </p:cNvPr>
            <p:cNvSpPr>
              <a:spLocks noEditPoints="1"/>
            </p:cNvSpPr>
            <p:nvPr/>
          </p:nvSpPr>
          <p:spPr bwMode="auto">
            <a:xfrm>
              <a:off x="5124" y="2230"/>
              <a:ext cx="213" cy="212"/>
            </a:xfrm>
            <a:custGeom>
              <a:avLst/>
              <a:gdLst>
                <a:gd name="T0" fmla="*/ 259 w 269"/>
                <a:gd name="T1" fmla="*/ 3 h 268"/>
                <a:gd name="T2" fmla="*/ 100 w 269"/>
                <a:gd name="T3" fmla="*/ 87 h 268"/>
                <a:gd name="T4" fmla="*/ 94 w 269"/>
                <a:gd name="T5" fmla="*/ 92 h 268"/>
                <a:gd name="T6" fmla="*/ 90 w 269"/>
                <a:gd name="T7" fmla="*/ 98 h 268"/>
                <a:gd name="T8" fmla="*/ 2 w 269"/>
                <a:gd name="T9" fmla="*/ 261 h 268"/>
                <a:gd name="T10" fmla="*/ 7 w 269"/>
                <a:gd name="T11" fmla="*/ 266 h 268"/>
                <a:gd name="T12" fmla="*/ 171 w 269"/>
                <a:gd name="T13" fmla="*/ 178 h 268"/>
                <a:gd name="T14" fmla="*/ 180 w 269"/>
                <a:gd name="T15" fmla="*/ 168 h 268"/>
                <a:gd name="T16" fmla="*/ 266 w 269"/>
                <a:gd name="T17" fmla="*/ 10 h 268"/>
                <a:gd name="T18" fmla="*/ 259 w 269"/>
                <a:gd name="T19" fmla="*/ 3 h 268"/>
                <a:gd name="T20" fmla="*/ 158 w 269"/>
                <a:gd name="T21" fmla="*/ 156 h 268"/>
                <a:gd name="T22" fmla="*/ 112 w 269"/>
                <a:gd name="T23" fmla="*/ 156 h 268"/>
                <a:gd name="T24" fmla="*/ 112 w 269"/>
                <a:gd name="T25" fmla="*/ 109 h 268"/>
                <a:gd name="T26" fmla="*/ 158 w 269"/>
                <a:gd name="T27" fmla="*/ 109 h 268"/>
                <a:gd name="T28" fmla="*/ 158 w 269"/>
                <a:gd name="T29" fmla="*/ 156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9" h="268">
                  <a:moveTo>
                    <a:pt x="259" y="3"/>
                  </a:moveTo>
                  <a:cubicBezTo>
                    <a:pt x="100" y="87"/>
                    <a:pt x="100" y="87"/>
                    <a:pt x="100" y="87"/>
                  </a:cubicBezTo>
                  <a:cubicBezTo>
                    <a:pt x="98" y="88"/>
                    <a:pt x="96" y="90"/>
                    <a:pt x="94" y="92"/>
                  </a:cubicBezTo>
                  <a:cubicBezTo>
                    <a:pt x="92" y="93"/>
                    <a:pt x="91" y="95"/>
                    <a:pt x="90" y="98"/>
                  </a:cubicBezTo>
                  <a:cubicBezTo>
                    <a:pt x="2" y="261"/>
                    <a:pt x="2" y="261"/>
                    <a:pt x="2" y="261"/>
                  </a:cubicBezTo>
                  <a:cubicBezTo>
                    <a:pt x="0" y="264"/>
                    <a:pt x="4" y="268"/>
                    <a:pt x="7" y="266"/>
                  </a:cubicBezTo>
                  <a:cubicBezTo>
                    <a:pt x="171" y="178"/>
                    <a:pt x="171" y="178"/>
                    <a:pt x="171" y="178"/>
                  </a:cubicBezTo>
                  <a:cubicBezTo>
                    <a:pt x="175" y="176"/>
                    <a:pt x="178" y="172"/>
                    <a:pt x="180" y="168"/>
                  </a:cubicBezTo>
                  <a:cubicBezTo>
                    <a:pt x="266" y="10"/>
                    <a:pt x="266" y="10"/>
                    <a:pt x="266" y="10"/>
                  </a:cubicBezTo>
                  <a:cubicBezTo>
                    <a:pt x="269" y="5"/>
                    <a:pt x="263" y="0"/>
                    <a:pt x="259" y="3"/>
                  </a:cubicBezTo>
                  <a:close/>
                  <a:moveTo>
                    <a:pt x="158" y="156"/>
                  </a:moveTo>
                  <a:cubicBezTo>
                    <a:pt x="146" y="169"/>
                    <a:pt x="125" y="169"/>
                    <a:pt x="112" y="156"/>
                  </a:cubicBezTo>
                  <a:cubicBezTo>
                    <a:pt x="99" y="143"/>
                    <a:pt x="99" y="122"/>
                    <a:pt x="112" y="109"/>
                  </a:cubicBezTo>
                  <a:cubicBezTo>
                    <a:pt x="125" y="97"/>
                    <a:pt x="146" y="97"/>
                    <a:pt x="158" y="109"/>
                  </a:cubicBezTo>
                  <a:cubicBezTo>
                    <a:pt x="171" y="122"/>
                    <a:pt x="171" y="143"/>
                    <a:pt x="158"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700">
              <a:extLst>
                <a:ext uri="{FF2B5EF4-FFF2-40B4-BE49-F238E27FC236}">
                  <a16:creationId xmlns:a16="http://schemas.microsoft.com/office/drawing/2014/main" id="{D7F59013-0362-4D3F-8A73-25FE1618EA0A}"/>
                </a:ext>
              </a:extLst>
            </p:cNvPr>
            <p:cNvSpPr>
              <a:spLocks/>
            </p:cNvSpPr>
            <p:nvPr/>
          </p:nvSpPr>
          <p:spPr bwMode="auto">
            <a:xfrm>
              <a:off x="5227" y="2150"/>
              <a:ext cx="9" cy="42"/>
            </a:xfrm>
            <a:custGeom>
              <a:avLst/>
              <a:gdLst>
                <a:gd name="T0" fmla="*/ 6 w 12"/>
                <a:gd name="T1" fmla="*/ 53 h 53"/>
                <a:gd name="T2" fmla="*/ 0 w 12"/>
                <a:gd name="T3" fmla="*/ 47 h 53"/>
                <a:gd name="T4" fmla="*/ 0 w 12"/>
                <a:gd name="T5" fmla="*/ 6 h 53"/>
                <a:gd name="T6" fmla="*/ 6 w 12"/>
                <a:gd name="T7" fmla="*/ 0 h 53"/>
                <a:gd name="T8" fmla="*/ 12 w 12"/>
                <a:gd name="T9" fmla="*/ 6 h 53"/>
                <a:gd name="T10" fmla="*/ 12 w 12"/>
                <a:gd name="T11" fmla="*/ 47 h 53"/>
                <a:gd name="T12" fmla="*/ 6 w 12"/>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2" h="53">
                  <a:moveTo>
                    <a:pt x="6" y="53"/>
                  </a:moveTo>
                  <a:cubicBezTo>
                    <a:pt x="2" y="53"/>
                    <a:pt x="0" y="50"/>
                    <a:pt x="0" y="47"/>
                  </a:cubicBezTo>
                  <a:cubicBezTo>
                    <a:pt x="0" y="6"/>
                    <a:pt x="0" y="6"/>
                    <a:pt x="0" y="6"/>
                  </a:cubicBezTo>
                  <a:cubicBezTo>
                    <a:pt x="0" y="3"/>
                    <a:pt x="2" y="0"/>
                    <a:pt x="6" y="0"/>
                  </a:cubicBezTo>
                  <a:cubicBezTo>
                    <a:pt x="9" y="0"/>
                    <a:pt x="12" y="3"/>
                    <a:pt x="12" y="6"/>
                  </a:cubicBezTo>
                  <a:cubicBezTo>
                    <a:pt x="12" y="47"/>
                    <a:pt x="12" y="47"/>
                    <a:pt x="12" y="47"/>
                  </a:cubicBezTo>
                  <a:cubicBezTo>
                    <a:pt x="12" y="50"/>
                    <a:pt x="9" y="53"/>
                    <a:pt x="6"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701">
              <a:extLst>
                <a:ext uri="{FF2B5EF4-FFF2-40B4-BE49-F238E27FC236}">
                  <a16:creationId xmlns:a16="http://schemas.microsoft.com/office/drawing/2014/main" id="{8DC5C780-20F7-4858-B79B-161B564D8707}"/>
                </a:ext>
              </a:extLst>
            </p:cNvPr>
            <p:cNvSpPr>
              <a:spLocks/>
            </p:cNvSpPr>
            <p:nvPr/>
          </p:nvSpPr>
          <p:spPr bwMode="auto">
            <a:xfrm>
              <a:off x="5227" y="2480"/>
              <a:ext cx="9" cy="42"/>
            </a:xfrm>
            <a:custGeom>
              <a:avLst/>
              <a:gdLst>
                <a:gd name="T0" fmla="*/ 6 w 12"/>
                <a:gd name="T1" fmla="*/ 53 h 53"/>
                <a:gd name="T2" fmla="*/ 0 w 12"/>
                <a:gd name="T3" fmla="*/ 47 h 53"/>
                <a:gd name="T4" fmla="*/ 0 w 12"/>
                <a:gd name="T5" fmla="*/ 6 h 53"/>
                <a:gd name="T6" fmla="*/ 6 w 12"/>
                <a:gd name="T7" fmla="*/ 0 h 53"/>
                <a:gd name="T8" fmla="*/ 12 w 12"/>
                <a:gd name="T9" fmla="*/ 6 h 53"/>
                <a:gd name="T10" fmla="*/ 12 w 12"/>
                <a:gd name="T11" fmla="*/ 47 h 53"/>
                <a:gd name="T12" fmla="*/ 6 w 12"/>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2" h="53">
                  <a:moveTo>
                    <a:pt x="6" y="53"/>
                  </a:moveTo>
                  <a:cubicBezTo>
                    <a:pt x="2" y="53"/>
                    <a:pt x="0" y="50"/>
                    <a:pt x="0" y="47"/>
                  </a:cubicBezTo>
                  <a:cubicBezTo>
                    <a:pt x="0" y="6"/>
                    <a:pt x="0" y="6"/>
                    <a:pt x="0" y="6"/>
                  </a:cubicBezTo>
                  <a:cubicBezTo>
                    <a:pt x="0" y="3"/>
                    <a:pt x="2" y="0"/>
                    <a:pt x="6" y="0"/>
                  </a:cubicBezTo>
                  <a:cubicBezTo>
                    <a:pt x="9" y="0"/>
                    <a:pt x="12" y="3"/>
                    <a:pt x="12" y="6"/>
                  </a:cubicBezTo>
                  <a:cubicBezTo>
                    <a:pt x="12" y="47"/>
                    <a:pt x="12" y="47"/>
                    <a:pt x="12" y="47"/>
                  </a:cubicBezTo>
                  <a:cubicBezTo>
                    <a:pt x="12" y="50"/>
                    <a:pt x="9" y="53"/>
                    <a:pt x="6"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702">
              <a:extLst>
                <a:ext uri="{FF2B5EF4-FFF2-40B4-BE49-F238E27FC236}">
                  <a16:creationId xmlns:a16="http://schemas.microsoft.com/office/drawing/2014/main" id="{FD29E6FC-E02D-49B2-B235-5BCB998CFD57}"/>
                </a:ext>
              </a:extLst>
            </p:cNvPr>
            <p:cNvSpPr>
              <a:spLocks/>
            </p:cNvSpPr>
            <p:nvPr/>
          </p:nvSpPr>
          <p:spPr bwMode="auto">
            <a:xfrm>
              <a:off x="5376" y="2331"/>
              <a:ext cx="41" cy="9"/>
            </a:xfrm>
            <a:custGeom>
              <a:avLst/>
              <a:gdLst>
                <a:gd name="T0" fmla="*/ 47 w 53"/>
                <a:gd name="T1" fmla="*/ 12 h 12"/>
                <a:gd name="T2" fmla="*/ 6 w 53"/>
                <a:gd name="T3" fmla="*/ 12 h 12"/>
                <a:gd name="T4" fmla="*/ 0 w 53"/>
                <a:gd name="T5" fmla="*/ 6 h 12"/>
                <a:gd name="T6" fmla="*/ 6 w 53"/>
                <a:gd name="T7" fmla="*/ 0 h 12"/>
                <a:gd name="T8" fmla="*/ 47 w 53"/>
                <a:gd name="T9" fmla="*/ 0 h 12"/>
                <a:gd name="T10" fmla="*/ 53 w 53"/>
                <a:gd name="T11" fmla="*/ 6 h 12"/>
                <a:gd name="T12" fmla="*/ 47 w 5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53" h="12">
                  <a:moveTo>
                    <a:pt x="47" y="12"/>
                  </a:moveTo>
                  <a:cubicBezTo>
                    <a:pt x="6" y="12"/>
                    <a:pt x="6" y="12"/>
                    <a:pt x="6" y="12"/>
                  </a:cubicBezTo>
                  <a:cubicBezTo>
                    <a:pt x="3" y="12"/>
                    <a:pt x="0" y="9"/>
                    <a:pt x="0" y="6"/>
                  </a:cubicBezTo>
                  <a:cubicBezTo>
                    <a:pt x="0" y="2"/>
                    <a:pt x="3" y="0"/>
                    <a:pt x="6" y="0"/>
                  </a:cubicBezTo>
                  <a:cubicBezTo>
                    <a:pt x="47" y="0"/>
                    <a:pt x="47" y="0"/>
                    <a:pt x="47" y="0"/>
                  </a:cubicBezTo>
                  <a:cubicBezTo>
                    <a:pt x="50" y="0"/>
                    <a:pt x="53" y="2"/>
                    <a:pt x="53" y="6"/>
                  </a:cubicBezTo>
                  <a:cubicBezTo>
                    <a:pt x="53" y="9"/>
                    <a:pt x="50" y="12"/>
                    <a:pt x="4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703">
              <a:extLst>
                <a:ext uri="{FF2B5EF4-FFF2-40B4-BE49-F238E27FC236}">
                  <a16:creationId xmlns:a16="http://schemas.microsoft.com/office/drawing/2014/main" id="{2D05C889-64A5-4E9E-B31D-166DEA129DFD}"/>
                </a:ext>
              </a:extLst>
            </p:cNvPr>
            <p:cNvSpPr>
              <a:spLocks/>
            </p:cNvSpPr>
            <p:nvPr/>
          </p:nvSpPr>
          <p:spPr bwMode="auto">
            <a:xfrm>
              <a:off x="5046" y="2331"/>
              <a:ext cx="42" cy="9"/>
            </a:xfrm>
            <a:custGeom>
              <a:avLst/>
              <a:gdLst>
                <a:gd name="T0" fmla="*/ 47 w 53"/>
                <a:gd name="T1" fmla="*/ 12 h 12"/>
                <a:gd name="T2" fmla="*/ 6 w 53"/>
                <a:gd name="T3" fmla="*/ 12 h 12"/>
                <a:gd name="T4" fmla="*/ 0 w 53"/>
                <a:gd name="T5" fmla="*/ 6 h 12"/>
                <a:gd name="T6" fmla="*/ 6 w 53"/>
                <a:gd name="T7" fmla="*/ 0 h 12"/>
                <a:gd name="T8" fmla="*/ 47 w 53"/>
                <a:gd name="T9" fmla="*/ 0 h 12"/>
                <a:gd name="T10" fmla="*/ 53 w 53"/>
                <a:gd name="T11" fmla="*/ 6 h 12"/>
                <a:gd name="T12" fmla="*/ 47 w 5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53" h="12">
                  <a:moveTo>
                    <a:pt x="47" y="12"/>
                  </a:moveTo>
                  <a:cubicBezTo>
                    <a:pt x="6" y="12"/>
                    <a:pt x="6" y="12"/>
                    <a:pt x="6" y="12"/>
                  </a:cubicBezTo>
                  <a:cubicBezTo>
                    <a:pt x="3" y="12"/>
                    <a:pt x="0" y="9"/>
                    <a:pt x="0" y="6"/>
                  </a:cubicBezTo>
                  <a:cubicBezTo>
                    <a:pt x="0" y="2"/>
                    <a:pt x="3" y="0"/>
                    <a:pt x="6" y="0"/>
                  </a:cubicBezTo>
                  <a:cubicBezTo>
                    <a:pt x="47" y="0"/>
                    <a:pt x="47" y="0"/>
                    <a:pt x="47" y="0"/>
                  </a:cubicBezTo>
                  <a:cubicBezTo>
                    <a:pt x="50" y="0"/>
                    <a:pt x="53" y="2"/>
                    <a:pt x="53" y="6"/>
                  </a:cubicBezTo>
                  <a:cubicBezTo>
                    <a:pt x="53" y="9"/>
                    <a:pt x="50" y="12"/>
                    <a:pt x="4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50" name="Group 81">
            <a:extLst>
              <a:ext uri="{FF2B5EF4-FFF2-40B4-BE49-F238E27FC236}">
                <a16:creationId xmlns:a16="http://schemas.microsoft.com/office/drawing/2014/main" id="{FEC5AB4D-2F6D-4208-8456-4B48D044FC49}"/>
              </a:ext>
            </a:extLst>
          </p:cNvPr>
          <p:cNvGrpSpPr>
            <a:grpSpLocks noChangeAspect="1"/>
          </p:cNvGrpSpPr>
          <p:nvPr/>
        </p:nvGrpSpPr>
        <p:grpSpPr bwMode="auto">
          <a:xfrm>
            <a:off x="1070028" y="2639098"/>
            <a:ext cx="387568" cy="573878"/>
            <a:chOff x="3312" y="1374"/>
            <a:chExt cx="1063" cy="1574"/>
          </a:xfrm>
          <a:solidFill>
            <a:schemeClr val="tx2"/>
          </a:solidFill>
        </p:grpSpPr>
        <p:sp>
          <p:nvSpPr>
            <p:cNvPr id="51" name="Freeform 82">
              <a:extLst>
                <a:ext uri="{FF2B5EF4-FFF2-40B4-BE49-F238E27FC236}">
                  <a16:creationId xmlns:a16="http://schemas.microsoft.com/office/drawing/2014/main" id="{7D6DDBF1-CDA5-4918-9652-EE20B47F7B5D}"/>
                </a:ext>
              </a:extLst>
            </p:cNvPr>
            <p:cNvSpPr>
              <a:spLocks/>
            </p:cNvSpPr>
            <p:nvPr/>
          </p:nvSpPr>
          <p:spPr bwMode="auto">
            <a:xfrm>
              <a:off x="3312" y="2770"/>
              <a:ext cx="917" cy="178"/>
            </a:xfrm>
            <a:custGeom>
              <a:avLst/>
              <a:gdLst>
                <a:gd name="T0" fmla="*/ 384 w 384"/>
                <a:gd name="T1" fmla="*/ 75 h 75"/>
                <a:gd name="T2" fmla="*/ 0 w 384"/>
                <a:gd name="T3" fmla="*/ 75 h 75"/>
                <a:gd name="T4" fmla="*/ 8 w 384"/>
                <a:gd name="T5" fmla="*/ 65 h 75"/>
                <a:gd name="T6" fmla="*/ 15 w 384"/>
                <a:gd name="T7" fmla="*/ 58 h 75"/>
                <a:gd name="T8" fmla="*/ 139 w 384"/>
                <a:gd name="T9" fmla="*/ 1 h 75"/>
                <a:gd name="T10" fmla="*/ 146 w 384"/>
                <a:gd name="T11" fmla="*/ 6 h 75"/>
                <a:gd name="T12" fmla="*/ 141 w 384"/>
                <a:gd name="T13" fmla="*/ 13 h 75"/>
                <a:gd name="T14" fmla="*/ 27 w 384"/>
                <a:gd name="T15" fmla="*/ 63 h 75"/>
                <a:gd name="T16" fmla="*/ 357 w 384"/>
                <a:gd name="T17" fmla="*/ 63 h 75"/>
                <a:gd name="T18" fmla="*/ 237 w 384"/>
                <a:gd name="T19" fmla="*/ 12 h 75"/>
                <a:gd name="T20" fmla="*/ 232 w 384"/>
                <a:gd name="T21" fmla="*/ 5 h 75"/>
                <a:gd name="T22" fmla="*/ 239 w 384"/>
                <a:gd name="T23" fmla="*/ 0 h 75"/>
                <a:gd name="T24" fmla="*/ 376 w 384"/>
                <a:gd name="T25" fmla="*/ 65 h 75"/>
                <a:gd name="T26" fmla="*/ 384 w 384"/>
                <a:gd name="T2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4" h="75">
                  <a:moveTo>
                    <a:pt x="384" y="75"/>
                  </a:moveTo>
                  <a:cubicBezTo>
                    <a:pt x="0" y="75"/>
                    <a:pt x="0" y="75"/>
                    <a:pt x="0" y="75"/>
                  </a:cubicBezTo>
                  <a:cubicBezTo>
                    <a:pt x="8" y="65"/>
                    <a:pt x="8" y="65"/>
                    <a:pt x="8" y="65"/>
                  </a:cubicBezTo>
                  <a:cubicBezTo>
                    <a:pt x="10" y="63"/>
                    <a:pt x="12" y="60"/>
                    <a:pt x="15" y="58"/>
                  </a:cubicBezTo>
                  <a:cubicBezTo>
                    <a:pt x="42" y="30"/>
                    <a:pt x="87" y="9"/>
                    <a:pt x="139" y="1"/>
                  </a:cubicBezTo>
                  <a:cubicBezTo>
                    <a:pt x="143" y="1"/>
                    <a:pt x="146" y="3"/>
                    <a:pt x="146" y="6"/>
                  </a:cubicBezTo>
                  <a:cubicBezTo>
                    <a:pt x="147" y="9"/>
                    <a:pt x="144" y="12"/>
                    <a:pt x="141" y="13"/>
                  </a:cubicBezTo>
                  <a:cubicBezTo>
                    <a:pt x="94" y="20"/>
                    <a:pt x="53" y="39"/>
                    <a:pt x="27" y="63"/>
                  </a:cubicBezTo>
                  <a:cubicBezTo>
                    <a:pt x="357" y="63"/>
                    <a:pt x="357" y="63"/>
                    <a:pt x="357" y="63"/>
                  </a:cubicBezTo>
                  <a:cubicBezTo>
                    <a:pt x="330" y="38"/>
                    <a:pt x="287" y="19"/>
                    <a:pt x="237" y="12"/>
                  </a:cubicBezTo>
                  <a:cubicBezTo>
                    <a:pt x="234" y="12"/>
                    <a:pt x="232" y="9"/>
                    <a:pt x="232" y="5"/>
                  </a:cubicBezTo>
                  <a:cubicBezTo>
                    <a:pt x="232" y="2"/>
                    <a:pt x="236" y="0"/>
                    <a:pt x="239" y="0"/>
                  </a:cubicBezTo>
                  <a:cubicBezTo>
                    <a:pt x="298" y="8"/>
                    <a:pt x="348" y="32"/>
                    <a:pt x="376" y="65"/>
                  </a:cubicBezTo>
                  <a:lnTo>
                    <a:pt x="384"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83">
              <a:extLst>
                <a:ext uri="{FF2B5EF4-FFF2-40B4-BE49-F238E27FC236}">
                  <a16:creationId xmlns:a16="http://schemas.microsoft.com/office/drawing/2014/main" id="{B4943F57-2DBB-49F9-AB05-6A16D30469E6}"/>
                </a:ext>
              </a:extLst>
            </p:cNvPr>
            <p:cNvSpPr>
              <a:spLocks/>
            </p:cNvSpPr>
            <p:nvPr/>
          </p:nvSpPr>
          <p:spPr bwMode="auto">
            <a:xfrm>
              <a:off x="3322" y="1862"/>
              <a:ext cx="325" cy="905"/>
            </a:xfrm>
            <a:custGeom>
              <a:avLst/>
              <a:gdLst>
                <a:gd name="T0" fmla="*/ 129 w 136"/>
                <a:gd name="T1" fmla="*/ 380 h 380"/>
                <a:gd name="T2" fmla="*/ 127 w 136"/>
                <a:gd name="T3" fmla="*/ 380 h 380"/>
                <a:gd name="T4" fmla="*/ 0 w 136"/>
                <a:gd name="T5" fmla="*/ 189 h 380"/>
                <a:gd name="T6" fmla="*/ 117 w 136"/>
                <a:gd name="T7" fmla="*/ 1 h 380"/>
                <a:gd name="T8" fmla="*/ 125 w 136"/>
                <a:gd name="T9" fmla="*/ 5 h 380"/>
                <a:gd name="T10" fmla="*/ 121 w 136"/>
                <a:gd name="T11" fmla="*/ 12 h 380"/>
                <a:gd name="T12" fmla="*/ 12 w 136"/>
                <a:gd name="T13" fmla="*/ 189 h 380"/>
                <a:gd name="T14" fmla="*/ 131 w 136"/>
                <a:gd name="T15" fmla="*/ 369 h 380"/>
                <a:gd name="T16" fmla="*/ 135 w 136"/>
                <a:gd name="T17" fmla="*/ 376 h 380"/>
                <a:gd name="T18" fmla="*/ 129 w 136"/>
                <a:gd name="T19"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380">
                  <a:moveTo>
                    <a:pt x="129" y="380"/>
                  </a:moveTo>
                  <a:cubicBezTo>
                    <a:pt x="129" y="380"/>
                    <a:pt x="128" y="380"/>
                    <a:pt x="127" y="380"/>
                  </a:cubicBezTo>
                  <a:cubicBezTo>
                    <a:pt x="51" y="352"/>
                    <a:pt x="0" y="276"/>
                    <a:pt x="0" y="189"/>
                  </a:cubicBezTo>
                  <a:cubicBezTo>
                    <a:pt x="0" y="106"/>
                    <a:pt x="46" y="32"/>
                    <a:pt x="117" y="1"/>
                  </a:cubicBezTo>
                  <a:cubicBezTo>
                    <a:pt x="120" y="0"/>
                    <a:pt x="123" y="2"/>
                    <a:pt x="125" y="5"/>
                  </a:cubicBezTo>
                  <a:cubicBezTo>
                    <a:pt x="126" y="8"/>
                    <a:pt x="125" y="11"/>
                    <a:pt x="121" y="12"/>
                  </a:cubicBezTo>
                  <a:cubicBezTo>
                    <a:pt x="55" y="41"/>
                    <a:pt x="12" y="111"/>
                    <a:pt x="12" y="189"/>
                  </a:cubicBezTo>
                  <a:cubicBezTo>
                    <a:pt x="12" y="271"/>
                    <a:pt x="60" y="343"/>
                    <a:pt x="131" y="369"/>
                  </a:cubicBezTo>
                  <a:cubicBezTo>
                    <a:pt x="134" y="370"/>
                    <a:pt x="136" y="373"/>
                    <a:pt x="135" y="376"/>
                  </a:cubicBezTo>
                  <a:cubicBezTo>
                    <a:pt x="134" y="379"/>
                    <a:pt x="132" y="380"/>
                    <a:pt x="129" y="3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84">
              <a:extLst>
                <a:ext uri="{FF2B5EF4-FFF2-40B4-BE49-F238E27FC236}">
                  <a16:creationId xmlns:a16="http://schemas.microsoft.com/office/drawing/2014/main" id="{6596F1C4-283A-481C-A7CA-2B8C9D61C049}"/>
                </a:ext>
              </a:extLst>
            </p:cNvPr>
            <p:cNvSpPr>
              <a:spLocks/>
            </p:cNvSpPr>
            <p:nvPr/>
          </p:nvSpPr>
          <p:spPr bwMode="auto">
            <a:xfrm>
              <a:off x="3883" y="2636"/>
              <a:ext cx="191" cy="134"/>
            </a:xfrm>
            <a:custGeom>
              <a:avLst/>
              <a:gdLst>
                <a:gd name="T0" fmla="*/ 7 w 80"/>
                <a:gd name="T1" fmla="*/ 56 h 56"/>
                <a:gd name="T2" fmla="*/ 1 w 80"/>
                <a:gd name="T3" fmla="*/ 52 h 56"/>
                <a:gd name="T4" fmla="*/ 5 w 80"/>
                <a:gd name="T5" fmla="*/ 44 h 56"/>
                <a:gd name="T6" fmla="*/ 69 w 80"/>
                <a:gd name="T7" fmla="*/ 2 h 56"/>
                <a:gd name="T8" fmla="*/ 78 w 80"/>
                <a:gd name="T9" fmla="*/ 2 h 56"/>
                <a:gd name="T10" fmla="*/ 78 w 80"/>
                <a:gd name="T11" fmla="*/ 11 h 56"/>
                <a:gd name="T12" fmla="*/ 9 w 80"/>
                <a:gd name="T13" fmla="*/ 55 h 56"/>
                <a:gd name="T14" fmla="*/ 7 w 80"/>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56">
                  <a:moveTo>
                    <a:pt x="7" y="56"/>
                  </a:moveTo>
                  <a:cubicBezTo>
                    <a:pt x="4" y="56"/>
                    <a:pt x="2" y="54"/>
                    <a:pt x="1" y="52"/>
                  </a:cubicBezTo>
                  <a:cubicBezTo>
                    <a:pt x="0" y="48"/>
                    <a:pt x="2" y="45"/>
                    <a:pt x="5" y="44"/>
                  </a:cubicBezTo>
                  <a:cubicBezTo>
                    <a:pt x="29" y="35"/>
                    <a:pt x="51" y="21"/>
                    <a:pt x="69" y="2"/>
                  </a:cubicBezTo>
                  <a:cubicBezTo>
                    <a:pt x="72" y="0"/>
                    <a:pt x="75" y="0"/>
                    <a:pt x="78" y="2"/>
                  </a:cubicBezTo>
                  <a:cubicBezTo>
                    <a:pt x="80" y="5"/>
                    <a:pt x="80" y="9"/>
                    <a:pt x="78" y="11"/>
                  </a:cubicBezTo>
                  <a:cubicBezTo>
                    <a:pt x="58" y="31"/>
                    <a:pt x="34" y="46"/>
                    <a:pt x="9" y="55"/>
                  </a:cubicBezTo>
                  <a:cubicBezTo>
                    <a:pt x="8" y="55"/>
                    <a:pt x="7" y="56"/>
                    <a:pt x="7"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85">
              <a:extLst>
                <a:ext uri="{FF2B5EF4-FFF2-40B4-BE49-F238E27FC236}">
                  <a16:creationId xmlns:a16="http://schemas.microsoft.com/office/drawing/2014/main" id="{30A77805-8CA1-4121-BC83-2F2A1D276D9F}"/>
                </a:ext>
              </a:extLst>
            </p:cNvPr>
            <p:cNvSpPr>
              <a:spLocks/>
            </p:cNvSpPr>
            <p:nvPr/>
          </p:nvSpPr>
          <p:spPr bwMode="auto">
            <a:xfrm>
              <a:off x="3515" y="2062"/>
              <a:ext cx="201" cy="548"/>
            </a:xfrm>
            <a:custGeom>
              <a:avLst/>
              <a:gdLst>
                <a:gd name="T0" fmla="*/ 65 w 84"/>
                <a:gd name="T1" fmla="*/ 230 h 230"/>
                <a:gd name="T2" fmla="*/ 62 w 84"/>
                <a:gd name="T3" fmla="*/ 229 h 230"/>
                <a:gd name="T4" fmla="*/ 0 w 84"/>
                <a:gd name="T5" fmla="*/ 119 h 230"/>
                <a:gd name="T6" fmla="*/ 75 w 84"/>
                <a:gd name="T7" fmla="*/ 1 h 230"/>
                <a:gd name="T8" fmla="*/ 83 w 84"/>
                <a:gd name="T9" fmla="*/ 5 h 230"/>
                <a:gd name="T10" fmla="*/ 80 w 84"/>
                <a:gd name="T11" fmla="*/ 12 h 230"/>
                <a:gd name="T12" fmla="*/ 12 w 84"/>
                <a:gd name="T13" fmla="*/ 119 h 230"/>
                <a:gd name="T14" fmla="*/ 68 w 84"/>
                <a:gd name="T15" fmla="*/ 219 h 230"/>
                <a:gd name="T16" fmla="*/ 70 w 84"/>
                <a:gd name="T17" fmla="*/ 227 h 230"/>
                <a:gd name="T18" fmla="*/ 65 w 84"/>
                <a:gd name="T19"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230">
                  <a:moveTo>
                    <a:pt x="65" y="230"/>
                  </a:moveTo>
                  <a:cubicBezTo>
                    <a:pt x="64" y="230"/>
                    <a:pt x="63" y="230"/>
                    <a:pt x="62" y="229"/>
                  </a:cubicBezTo>
                  <a:cubicBezTo>
                    <a:pt x="24" y="206"/>
                    <a:pt x="0" y="164"/>
                    <a:pt x="0" y="119"/>
                  </a:cubicBezTo>
                  <a:cubicBezTo>
                    <a:pt x="0" y="65"/>
                    <a:pt x="29" y="20"/>
                    <a:pt x="75" y="1"/>
                  </a:cubicBezTo>
                  <a:cubicBezTo>
                    <a:pt x="78" y="0"/>
                    <a:pt x="82" y="2"/>
                    <a:pt x="83" y="5"/>
                  </a:cubicBezTo>
                  <a:cubicBezTo>
                    <a:pt x="84" y="8"/>
                    <a:pt x="83" y="11"/>
                    <a:pt x="80" y="12"/>
                  </a:cubicBezTo>
                  <a:cubicBezTo>
                    <a:pt x="38" y="30"/>
                    <a:pt x="12" y="70"/>
                    <a:pt x="12" y="119"/>
                  </a:cubicBezTo>
                  <a:cubicBezTo>
                    <a:pt x="12" y="160"/>
                    <a:pt x="34" y="198"/>
                    <a:pt x="68" y="219"/>
                  </a:cubicBezTo>
                  <a:cubicBezTo>
                    <a:pt x="71" y="221"/>
                    <a:pt x="72" y="224"/>
                    <a:pt x="70" y="227"/>
                  </a:cubicBezTo>
                  <a:cubicBezTo>
                    <a:pt x="69" y="229"/>
                    <a:pt x="67" y="230"/>
                    <a:pt x="65"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86">
              <a:extLst>
                <a:ext uri="{FF2B5EF4-FFF2-40B4-BE49-F238E27FC236}">
                  <a16:creationId xmlns:a16="http://schemas.microsoft.com/office/drawing/2014/main" id="{4E604465-526F-43E2-9828-BC4BB3AA0443}"/>
                </a:ext>
              </a:extLst>
            </p:cNvPr>
            <p:cNvSpPr>
              <a:spLocks/>
            </p:cNvSpPr>
            <p:nvPr/>
          </p:nvSpPr>
          <p:spPr bwMode="auto">
            <a:xfrm>
              <a:off x="3864" y="2541"/>
              <a:ext cx="157" cy="100"/>
            </a:xfrm>
            <a:custGeom>
              <a:avLst/>
              <a:gdLst>
                <a:gd name="T0" fmla="*/ 7 w 66"/>
                <a:gd name="T1" fmla="*/ 42 h 42"/>
                <a:gd name="T2" fmla="*/ 1 w 66"/>
                <a:gd name="T3" fmla="*/ 37 h 42"/>
                <a:gd name="T4" fmla="*/ 6 w 66"/>
                <a:gd name="T5" fmla="*/ 30 h 42"/>
                <a:gd name="T6" fmla="*/ 55 w 66"/>
                <a:gd name="T7" fmla="*/ 3 h 42"/>
                <a:gd name="T8" fmla="*/ 63 w 66"/>
                <a:gd name="T9" fmla="*/ 3 h 42"/>
                <a:gd name="T10" fmla="*/ 63 w 66"/>
                <a:gd name="T11" fmla="*/ 11 h 42"/>
                <a:gd name="T12" fmla="*/ 9 w 66"/>
                <a:gd name="T13" fmla="*/ 42 h 42"/>
                <a:gd name="T14" fmla="*/ 7 w 66"/>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42">
                  <a:moveTo>
                    <a:pt x="7" y="42"/>
                  </a:moveTo>
                  <a:cubicBezTo>
                    <a:pt x="4" y="42"/>
                    <a:pt x="2" y="40"/>
                    <a:pt x="1" y="37"/>
                  </a:cubicBezTo>
                  <a:cubicBezTo>
                    <a:pt x="0" y="34"/>
                    <a:pt x="2" y="31"/>
                    <a:pt x="6" y="30"/>
                  </a:cubicBezTo>
                  <a:cubicBezTo>
                    <a:pt x="24" y="25"/>
                    <a:pt x="41" y="16"/>
                    <a:pt x="55" y="3"/>
                  </a:cubicBezTo>
                  <a:cubicBezTo>
                    <a:pt x="57" y="0"/>
                    <a:pt x="61" y="0"/>
                    <a:pt x="63" y="3"/>
                  </a:cubicBezTo>
                  <a:cubicBezTo>
                    <a:pt x="66" y="5"/>
                    <a:pt x="66" y="9"/>
                    <a:pt x="63" y="11"/>
                  </a:cubicBezTo>
                  <a:cubicBezTo>
                    <a:pt x="48" y="26"/>
                    <a:pt x="29" y="37"/>
                    <a:pt x="9" y="42"/>
                  </a:cubicBezTo>
                  <a:cubicBezTo>
                    <a:pt x="8" y="42"/>
                    <a:pt x="8" y="42"/>
                    <a:pt x="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87">
              <a:extLst>
                <a:ext uri="{FF2B5EF4-FFF2-40B4-BE49-F238E27FC236}">
                  <a16:creationId xmlns:a16="http://schemas.microsoft.com/office/drawing/2014/main" id="{628820FB-2A9B-49E6-8CDC-8E8F00BA61B6}"/>
                </a:ext>
              </a:extLst>
            </p:cNvPr>
            <p:cNvSpPr>
              <a:spLocks/>
            </p:cNvSpPr>
            <p:nvPr/>
          </p:nvSpPr>
          <p:spPr bwMode="auto">
            <a:xfrm>
              <a:off x="3589" y="1724"/>
              <a:ext cx="337" cy="386"/>
            </a:xfrm>
            <a:custGeom>
              <a:avLst/>
              <a:gdLst>
                <a:gd name="T0" fmla="*/ 82 w 141"/>
                <a:gd name="T1" fmla="*/ 162 h 162"/>
                <a:gd name="T2" fmla="*/ 0 w 141"/>
                <a:gd name="T3" fmla="*/ 81 h 162"/>
                <a:gd name="T4" fmla="*/ 70 w 141"/>
                <a:gd name="T5" fmla="*/ 0 h 162"/>
                <a:gd name="T6" fmla="*/ 77 w 141"/>
                <a:gd name="T7" fmla="*/ 5 h 162"/>
                <a:gd name="T8" fmla="*/ 72 w 141"/>
                <a:gd name="T9" fmla="*/ 12 h 162"/>
                <a:gd name="T10" fmla="*/ 12 w 141"/>
                <a:gd name="T11" fmla="*/ 81 h 162"/>
                <a:gd name="T12" fmla="*/ 82 w 141"/>
                <a:gd name="T13" fmla="*/ 150 h 162"/>
                <a:gd name="T14" fmla="*/ 130 w 141"/>
                <a:gd name="T15" fmla="*/ 131 h 162"/>
                <a:gd name="T16" fmla="*/ 139 w 141"/>
                <a:gd name="T17" fmla="*/ 131 h 162"/>
                <a:gd name="T18" fmla="*/ 139 w 141"/>
                <a:gd name="T19" fmla="*/ 139 h 162"/>
                <a:gd name="T20" fmla="*/ 82 w 141"/>
                <a:gd name="T21"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 h="162">
                  <a:moveTo>
                    <a:pt x="82" y="162"/>
                  </a:moveTo>
                  <a:cubicBezTo>
                    <a:pt x="37" y="162"/>
                    <a:pt x="0" y="126"/>
                    <a:pt x="0" y="81"/>
                  </a:cubicBezTo>
                  <a:cubicBezTo>
                    <a:pt x="0" y="41"/>
                    <a:pt x="30" y="6"/>
                    <a:pt x="70" y="0"/>
                  </a:cubicBezTo>
                  <a:cubicBezTo>
                    <a:pt x="73" y="0"/>
                    <a:pt x="76" y="2"/>
                    <a:pt x="77" y="5"/>
                  </a:cubicBezTo>
                  <a:cubicBezTo>
                    <a:pt x="77" y="8"/>
                    <a:pt x="75" y="12"/>
                    <a:pt x="72" y="12"/>
                  </a:cubicBezTo>
                  <a:cubicBezTo>
                    <a:pt x="38" y="17"/>
                    <a:pt x="12" y="47"/>
                    <a:pt x="12" y="81"/>
                  </a:cubicBezTo>
                  <a:cubicBezTo>
                    <a:pt x="12" y="119"/>
                    <a:pt x="43" y="150"/>
                    <a:pt x="82" y="150"/>
                  </a:cubicBezTo>
                  <a:cubicBezTo>
                    <a:pt x="100" y="150"/>
                    <a:pt x="117" y="143"/>
                    <a:pt x="130" y="131"/>
                  </a:cubicBezTo>
                  <a:cubicBezTo>
                    <a:pt x="133" y="128"/>
                    <a:pt x="137" y="128"/>
                    <a:pt x="139" y="131"/>
                  </a:cubicBezTo>
                  <a:cubicBezTo>
                    <a:pt x="141" y="133"/>
                    <a:pt x="141" y="137"/>
                    <a:pt x="139" y="139"/>
                  </a:cubicBezTo>
                  <a:cubicBezTo>
                    <a:pt x="123" y="154"/>
                    <a:pt x="103" y="162"/>
                    <a:pt x="82"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7" name="Freeform 88">
              <a:extLst>
                <a:ext uri="{FF2B5EF4-FFF2-40B4-BE49-F238E27FC236}">
                  <a16:creationId xmlns:a16="http://schemas.microsoft.com/office/drawing/2014/main" id="{5DA7400D-E69C-4B7A-9CDC-500DD27D99A9}"/>
                </a:ext>
              </a:extLst>
            </p:cNvPr>
            <p:cNvSpPr>
              <a:spLocks noEditPoints="1"/>
            </p:cNvSpPr>
            <p:nvPr/>
          </p:nvSpPr>
          <p:spPr bwMode="auto">
            <a:xfrm>
              <a:off x="3639" y="1417"/>
              <a:ext cx="559" cy="841"/>
            </a:xfrm>
            <a:custGeom>
              <a:avLst/>
              <a:gdLst>
                <a:gd name="T0" fmla="*/ 166 w 234"/>
                <a:gd name="T1" fmla="*/ 353 h 353"/>
                <a:gd name="T2" fmla="*/ 146 w 234"/>
                <a:gd name="T3" fmla="*/ 341 h 353"/>
                <a:gd name="T4" fmla="*/ 3 w 234"/>
                <a:gd name="T5" fmla="*/ 54 h 353"/>
                <a:gd name="T6" fmla="*/ 2 w 234"/>
                <a:gd name="T7" fmla="*/ 37 h 353"/>
                <a:gd name="T8" fmla="*/ 13 w 234"/>
                <a:gd name="T9" fmla="*/ 24 h 353"/>
                <a:gd name="T10" fmla="*/ 56 w 234"/>
                <a:gd name="T11" fmla="*/ 3 h 353"/>
                <a:gd name="T12" fmla="*/ 73 w 234"/>
                <a:gd name="T13" fmla="*/ 2 h 353"/>
                <a:gd name="T14" fmla="*/ 85 w 234"/>
                <a:gd name="T15" fmla="*/ 13 h 353"/>
                <a:gd name="T16" fmla="*/ 229 w 234"/>
                <a:gd name="T17" fmla="*/ 299 h 353"/>
                <a:gd name="T18" fmla="*/ 219 w 234"/>
                <a:gd name="T19" fmla="*/ 329 h 353"/>
                <a:gd name="T20" fmla="*/ 175 w 234"/>
                <a:gd name="T21" fmla="*/ 350 h 353"/>
                <a:gd name="T22" fmla="*/ 166 w 234"/>
                <a:gd name="T23" fmla="*/ 353 h 353"/>
                <a:gd name="T24" fmla="*/ 66 w 234"/>
                <a:gd name="T25" fmla="*/ 13 h 353"/>
                <a:gd name="T26" fmla="*/ 61 w 234"/>
                <a:gd name="T27" fmla="*/ 14 h 353"/>
                <a:gd name="T28" fmla="*/ 18 w 234"/>
                <a:gd name="T29" fmla="*/ 35 h 353"/>
                <a:gd name="T30" fmla="*/ 13 w 234"/>
                <a:gd name="T31" fmla="*/ 41 h 353"/>
                <a:gd name="T32" fmla="*/ 13 w 234"/>
                <a:gd name="T33" fmla="*/ 49 h 353"/>
                <a:gd name="T34" fmla="*/ 157 w 234"/>
                <a:gd name="T35" fmla="*/ 335 h 353"/>
                <a:gd name="T36" fmla="*/ 170 w 234"/>
                <a:gd name="T37" fmla="*/ 340 h 353"/>
                <a:gd name="T38" fmla="*/ 213 w 234"/>
                <a:gd name="T39" fmla="*/ 318 h 353"/>
                <a:gd name="T40" fmla="*/ 218 w 234"/>
                <a:gd name="T41" fmla="*/ 305 h 353"/>
                <a:gd name="T42" fmla="*/ 75 w 234"/>
                <a:gd name="T43" fmla="*/ 18 h 353"/>
                <a:gd name="T44" fmla="*/ 66 w 234"/>
                <a:gd name="T45" fmla="*/ 13 h 353"/>
                <a:gd name="T46" fmla="*/ 216 w 234"/>
                <a:gd name="T47" fmla="*/ 323 h 353"/>
                <a:gd name="T48" fmla="*/ 216 w 234"/>
                <a:gd name="T49" fmla="*/ 32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4" h="353">
                  <a:moveTo>
                    <a:pt x="166" y="353"/>
                  </a:moveTo>
                  <a:cubicBezTo>
                    <a:pt x="158" y="353"/>
                    <a:pt x="150" y="348"/>
                    <a:pt x="146" y="341"/>
                  </a:cubicBezTo>
                  <a:cubicBezTo>
                    <a:pt x="3" y="54"/>
                    <a:pt x="3" y="54"/>
                    <a:pt x="3" y="54"/>
                  </a:cubicBezTo>
                  <a:cubicBezTo>
                    <a:pt x="0" y="49"/>
                    <a:pt x="0" y="43"/>
                    <a:pt x="2" y="37"/>
                  </a:cubicBezTo>
                  <a:cubicBezTo>
                    <a:pt x="3" y="32"/>
                    <a:pt x="7" y="27"/>
                    <a:pt x="13" y="24"/>
                  </a:cubicBezTo>
                  <a:cubicBezTo>
                    <a:pt x="56" y="3"/>
                    <a:pt x="56" y="3"/>
                    <a:pt x="56" y="3"/>
                  </a:cubicBezTo>
                  <a:cubicBezTo>
                    <a:pt x="61" y="0"/>
                    <a:pt x="67" y="0"/>
                    <a:pt x="73" y="2"/>
                  </a:cubicBezTo>
                  <a:cubicBezTo>
                    <a:pt x="78" y="4"/>
                    <a:pt x="83" y="7"/>
                    <a:pt x="85" y="13"/>
                  </a:cubicBezTo>
                  <a:cubicBezTo>
                    <a:pt x="229" y="299"/>
                    <a:pt x="229" y="299"/>
                    <a:pt x="229" y="299"/>
                  </a:cubicBezTo>
                  <a:cubicBezTo>
                    <a:pt x="234" y="310"/>
                    <a:pt x="230" y="323"/>
                    <a:pt x="219" y="329"/>
                  </a:cubicBezTo>
                  <a:cubicBezTo>
                    <a:pt x="175" y="350"/>
                    <a:pt x="175" y="350"/>
                    <a:pt x="175" y="350"/>
                  </a:cubicBezTo>
                  <a:cubicBezTo>
                    <a:pt x="172" y="352"/>
                    <a:pt x="169" y="353"/>
                    <a:pt x="166" y="353"/>
                  </a:cubicBezTo>
                  <a:close/>
                  <a:moveTo>
                    <a:pt x="66" y="13"/>
                  </a:moveTo>
                  <a:cubicBezTo>
                    <a:pt x="64" y="13"/>
                    <a:pt x="63" y="13"/>
                    <a:pt x="61" y="14"/>
                  </a:cubicBezTo>
                  <a:cubicBezTo>
                    <a:pt x="18" y="35"/>
                    <a:pt x="18" y="35"/>
                    <a:pt x="18" y="35"/>
                  </a:cubicBezTo>
                  <a:cubicBezTo>
                    <a:pt x="16" y="36"/>
                    <a:pt x="14" y="38"/>
                    <a:pt x="13" y="41"/>
                  </a:cubicBezTo>
                  <a:cubicBezTo>
                    <a:pt x="12" y="43"/>
                    <a:pt x="12" y="46"/>
                    <a:pt x="13" y="49"/>
                  </a:cubicBezTo>
                  <a:cubicBezTo>
                    <a:pt x="157" y="335"/>
                    <a:pt x="157" y="335"/>
                    <a:pt x="157" y="335"/>
                  </a:cubicBezTo>
                  <a:cubicBezTo>
                    <a:pt x="159" y="340"/>
                    <a:pt x="165" y="342"/>
                    <a:pt x="170" y="340"/>
                  </a:cubicBezTo>
                  <a:cubicBezTo>
                    <a:pt x="213" y="318"/>
                    <a:pt x="213" y="318"/>
                    <a:pt x="213" y="318"/>
                  </a:cubicBezTo>
                  <a:cubicBezTo>
                    <a:pt x="218" y="316"/>
                    <a:pt x="220" y="310"/>
                    <a:pt x="218" y="305"/>
                  </a:cubicBezTo>
                  <a:cubicBezTo>
                    <a:pt x="75" y="18"/>
                    <a:pt x="75" y="18"/>
                    <a:pt x="75" y="18"/>
                  </a:cubicBezTo>
                  <a:cubicBezTo>
                    <a:pt x="73" y="15"/>
                    <a:pt x="69" y="13"/>
                    <a:pt x="66" y="13"/>
                  </a:cubicBezTo>
                  <a:close/>
                  <a:moveTo>
                    <a:pt x="216" y="323"/>
                  </a:moveTo>
                  <a:cubicBezTo>
                    <a:pt x="216" y="323"/>
                    <a:pt x="216" y="323"/>
                    <a:pt x="216" y="3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89">
              <a:extLst>
                <a:ext uri="{FF2B5EF4-FFF2-40B4-BE49-F238E27FC236}">
                  <a16:creationId xmlns:a16="http://schemas.microsoft.com/office/drawing/2014/main" id="{D6AE2CC0-D5E7-4F64-9FAB-F87DCDCD0BA7}"/>
                </a:ext>
              </a:extLst>
            </p:cNvPr>
            <p:cNvSpPr>
              <a:spLocks noEditPoints="1"/>
            </p:cNvSpPr>
            <p:nvPr/>
          </p:nvSpPr>
          <p:spPr bwMode="auto">
            <a:xfrm>
              <a:off x="4036" y="2174"/>
              <a:ext cx="162" cy="124"/>
            </a:xfrm>
            <a:custGeom>
              <a:avLst/>
              <a:gdLst>
                <a:gd name="T0" fmla="*/ 18 w 68"/>
                <a:gd name="T1" fmla="*/ 52 h 52"/>
                <a:gd name="T2" fmla="*/ 14 w 68"/>
                <a:gd name="T3" fmla="*/ 52 h 52"/>
                <a:gd name="T4" fmla="*/ 8 w 68"/>
                <a:gd name="T5" fmla="*/ 46 h 52"/>
                <a:gd name="T6" fmla="*/ 3 w 68"/>
                <a:gd name="T7" fmla="*/ 36 h 52"/>
                <a:gd name="T8" fmla="*/ 8 w 68"/>
                <a:gd name="T9" fmla="*/ 22 h 52"/>
                <a:gd name="T10" fmla="*/ 46 w 68"/>
                <a:gd name="T11" fmla="*/ 2 h 52"/>
                <a:gd name="T12" fmla="*/ 60 w 68"/>
                <a:gd name="T13" fmla="*/ 7 h 52"/>
                <a:gd name="T14" fmla="*/ 66 w 68"/>
                <a:gd name="T15" fmla="*/ 18 h 52"/>
                <a:gd name="T16" fmla="*/ 61 w 68"/>
                <a:gd name="T17" fmla="*/ 32 h 52"/>
                <a:gd name="T18" fmla="*/ 22 w 68"/>
                <a:gd name="T19" fmla="*/ 51 h 52"/>
                <a:gd name="T20" fmla="*/ 18 w 68"/>
                <a:gd name="T21" fmla="*/ 52 h 52"/>
                <a:gd name="T22" fmla="*/ 14 w 68"/>
                <a:gd name="T23" fmla="*/ 32 h 52"/>
                <a:gd name="T24" fmla="*/ 18 w 68"/>
                <a:gd name="T25" fmla="*/ 40 h 52"/>
                <a:gd name="T26" fmla="*/ 54 w 68"/>
                <a:gd name="T27" fmla="*/ 22 h 52"/>
                <a:gd name="T28" fmla="*/ 50 w 68"/>
                <a:gd name="T29" fmla="*/ 14 h 52"/>
                <a:gd name="T30" fmla="*/ 14 w 68"/>
                <a:gd name="T31"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52">
                  <a:moveTo>
                    <a:pt x="18" y="52"/>
                  </a:moveTo>
                  <a:cubicBezTo>
                    <a:pt x="17" y="52"/>
                    <a:pt x="15" y="52"/>
                    <a:pt x="14" y="52"/>
                  </a:cubicBezTo>
                  <a:cubicBezTo>
                    <a:pt x="12" y="51"/>
                    <a:pt x="10" y="49"/>
                    <a:pt x="8" y="46"/>
                  </a:cubicBezTo>
                  <a:cubicBezTo>
                    <a:pt x="3" y="36"/>
                    <a:pt x="3" y="36"/>
                    <a:pt x="3" y="36"/>
                  </a:cubicBezTo>
                  <a:cubicBezTo>
                    <a:pt x="0" y="30"/>
                    <a:pt x="3" y="24"/>
                    <a:pt x="8" y="22"/>
                  </a:cubicBezTo>
                  <a:cubicBezTo>
                    <a:pt x="46" y="2"/>
                    <a:pt x="46" y="2"/>
                    <a:pt x="46" y="2"/>
                  </a:cubicBezTo>
                  <a:cubicBezTo>
                    <a:pt x="52" y="0"/>
                    <a:pt x="58" y="2"/>
                    <a:pt x="60" y="7"/>
                  </a:cubicBezTo>
                  <a:cubicBezTo>
                    <a:pt x="66" y="18"/>
                    <a:pt x="66" y="18"/>
                    <a:pt x="66" y="18"/>
                  </a:cubicBezTo>
                  <a:cubicBezTo>
                    <a:pt x="68" y="23"/>
                    <a:pt x="66" y="29"/>
                    <a:pt x="61" y="32"/>
                  </a:cubicBezTo>
                  <a:cubicBezTo>
                    <a:pt x="22" y="51"/>
                    <a:pt x="22" y="51"/>
                    <a:pt x="22" y="51"/>
                  </a:cubicBezTo>
                  <a:cubicBezTo>
                    <a:pt x="21" y="52"/>
                    <a:pt x="19" y="52"/>
                    <a:pt x="18" y="52"/>
                  </a:cubicBezTo>
                  <a:close/>
                  <a:moveTo>
                    <a:pt x="14" y="32"/>
                  </a:moveTo>
                  <a:cubicBezTo>
                    <a:pt x="18" y="40"/>
                    <a:pt x="18" y="40"/>
                    <a:pt x="18" y="40"/>
                  </a:cubicBezTo>
                  <a:cubicBezTo>
                    <a:pt x="54" y="22"/>
                    <a:pt x="54" y="22"/>
                    <a:pt x="54" y="22"/>
                  </a:cubicBezTo>
                  <a:cubicBezTo>
                    <a:pt x="50" y="14"/>
                    <a:pt x="50" y="14"/>
                    <a:pt x="50" y="14"/>
                  </a:cubicBezTo>
                  <a:lnTo>
                    <a:pt x="1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90">
              <a:extLst>
                <a:ext uri="{FF2B5EF4-FFF2-40B4-BE49-F238E27FC236}">
                  <a16:creationId xmlns:a16="http://schemas.microsoft.com/office/drawing/2014/main" id="{872D4E9C-6332-4562-A255-4D20EFDD471F}"/>
                </a:ext>
              </a:extLst>
            </p:cNvPr>
            <p:cNvSpPr>
              <a:spLocks noEditPoints="1"/>
            </p:cNvSpPr>
            <p:nvPr/>
          </p:nvSpPr>
          <p:spPr bwMode="auto">
            <a:xfrm>
              <a:off x="3637" y="1374"/>
              <a:ext cx="160" cy="124"/>
            </a:xfrm>
            <a:custGeom>
              <a:avLst/>
              <a:gdLst>
                <a:gd name="T0" fmla="*/ 17 w 67"/>
                <a:gd name="T1" fmla="*/ 52 h 52"/>
                <a:gd name="T2" fmla="*/ 14 w 67"/>
                <a:gd name="T3" fmla="*/ 52 h 52"/>
                <a:gd name="T4" fmla="*/ 8 w 67"/>
                <a:gd name="T5" fmla="*/ 47 h 52"/>
                <a:gd name="T6" fmla="*/ 2 w 67"/>
                <a:gd name="T7" fmla="*/ 35 h 52"/>
                <a:gd name="T8" fmla="*/ 1 w 67"/>
                <a:gd name="T9" fmla="*/ 27 h 52"/>
                <a:gd name="T10" fmla="*/ 7 w 67"/>
                <a:gd name="T11" fmla="*/ 21 h 52"/>
                <a:gd name="T12" fmla="*/ 45 w 67"/>
                <a:gd name="T13" fmla="*/ 2 h 52"/>
                <a:gd name="T14" fmla="*/ 53 w 67"/>
                <a:gd name="T15" fmla="*/ 1 h 52"/>
                <a:gd name="T16" fmla="*/ 59 w 67"/>
                <a:gd name="T17" fmla="*/ 7 h 52"/>
                <a:gd name="T18" fmla="*/ 65 w 67"/>
                <a:gd name="T19" fmla="*/ 18 h 52"/>
                <a:gd name="T20" fmla="*/ 66 w 67"/>
                <a:gd name="T21" fmla="*/ 26 h 52"/>
                <a:gd name="T22" fmla="*/ 60 w 67"/>
                <a:gd name="T23" fmla="*/ 32 h 52"/>
                <a:gd name="T24" fmla="*/ 22 w 67"/>
                <a:gd name="T25" fmla="*/ 51 h 52"/>
                <a:gd name="T26" fmla="*/ 17 w 67"/>
                <a:gd name="T27" fmla="*/ 52 h 52"/>
                <a:gd name="T28" fmla="*/ 13 w 67"/>
                <a:gd name="T29" fmla="*/ 31 h 52"/>
                <a:gd name="T30" fmla="*/ 18 w 67"/>
                <a:gd name="T31" fmla="*/ 40 h 52"/>
                <a:gd name="T32" fmla="*/ 54 w 67"/>
                <a:gd name="T33" fmla="*/ 22 h 52"/>
                <a:gd name="T34" fmla="*/ 49 w 67"/>
                <a:gd name="T35" fmla="*/ 13 h 52"/>
                <a:gd name="T36" fmla="*/ 13 w 67"/>
                <a:gd name="T37" fmla="*/ 3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52">
                  <a:moveTo>
                    <a:pt x="17" y="52"/>
                  </a:moveTo>
                  <a:cubicBezTo>
                    <a:pt x="16" y="52"/>
                    <a:pt x="15" y="52"/>
                    <a:pt x="14" y="52"/>
                  </a:cubicBezTo>
                  <a:cubicBezTo>
                    <a:pt x="11" y="51"/>
                    <a:pt x="9" y="49"/>
                    <a:pt x="8" y="47"/>
                  </a:cubicBezTo>
                  <a:cubicBezTo>
                    <a:pt x="2" y="35"/>
                    <a:pt x="2" y="35"/>
                    <a:pt x="2" y="35"/>
                  </a:cubicBezTo>
                  <a:cubicBezTo>
                    <a:pt x="1" y="33"/>
                    <a:pt x="0" y="30"/>
                    <a:pt x="1" y="27"/>
                  </a:cubicBezTo>
                  <a:cubicBezTo>
                    <a:pt x="2" y="25"/>
                    <a:pt x="4" y="22"/>
                    <a:pt x="7" y="21"/>
                  </a:cubicBezTo>
                  <a:cubicBezTo>
                    <a:pt x="45" y="2"/>
                    <a:pt x="45" y="2"/>
                    <a:pt x="45" y="2"/>
                  </a:cubicBezTo>
                  <a:cubicBezTo>
                    <a:pt x="48" y="1"/>
                    <a:pt x="51" y="0"/>
                    <a:pt x="53" y="1"/>
                  </a:cubicBezTo>
                  <a:cubicBezTo>
                    <a:pt x="56" y="2"/>
                    <a:pt x="58" y="4"/>
                    <a:pt x="59" y="7"/>
                  </a:cubicBezTo>
                  <a:cubicBezTo>
                    <a:pt x="65" y="18"/>
                    <a:pt x="65" y="18"/>
                    <a:pt x="65" y="18"/>
                  </a:cubicBezTo>
                  <a:cubicBezTo>
                    <a:pt x="66" y="20"/>
                    <a:pt x="67" y="23"/>
                    <a:pt x="66" y="26"/>
                  </a:cubicBezTo>
                  <a:cubicBezTo>
                    <a:pt x="65" y="29"/>
                    <a:pt x="63" y="31"/>
                    <a:pt x="60" y="32"/>
                  </a:cubicBezTo>
                  <a:cubicBezTo>
                    <a:pt x="22" y="51"/>
                    <a:pt x="22" y="51"/>
                    <a:pt x="22" y="51"/>
                  </a:cubicBezTo>
                  <a:cubicBezTo>
                    <a:pt x="20" y="52"/>
                    <a:pt x="19" y="52"/>
                    <a:pt x="17" y="52"/>
                  </a:cubicBezTo>
                  <a:close/>
                  <a:moveTo>
                    <a:pt x="13" y="31"/>
                  </a:moveTo>
                  <a:cubicBezTo>
                    <a:pt x="18" y="40"/>
                    <a:pt x="18" y="40"/>
                    <a:pt x="18" y="40"/>
                  </a:cubicBezTo>
                  <a:cubicBezTo>
                    <a:pt x="54" y="22"/>
                    <a:pt x="54" y="22"/>
                    <a:pt x="54" y="22"/>
                  </a:cubicBezTo>
                  <a:cubicBezTo>
                    <a:pt x="49" y="13"/>
                    <a:pt x="49" y="13"/>
                    <a:pt x="49" y="13"/>
                  </a:cubicBezTo>
                  <a:lnTo>
                    <a:pt x="13"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91">
              <a:extLst>
                <a:ext uri="{FF2B5EF4-FFF2-40B4-BE49-F238E27FC236}">
                  <a16:creationId xmlns:a16="http://schemas.microsoft.com/office/drawing/2014/main" id="{C5BF5CE3-DA2C-4B17-A10F-3631DCA4CD62}"/>
                </a:ext>
              </a:extLst>
            </p:cNvPr>
            <p:cNvSpPr>
              <a:spLocks noEditPoints="1"/>
            </p:cNvSpPr>
            <p:nvPr/>
          </p:nvSpPr>
          <p:spPr bwMode="auto">
            <a:xfrm>
              <a:off x="3988" y="2360"/>
              <a:ext cx="387" cy="250"/>
            </a:xfrm>
            <a:custGeom>
              <a:avLst/>
              <a:gdLst>
                <a:gd name="T0" fmla="*/ 23 w 162"/>
                <a:gd name="T1" fmla="*/ 105 h 105"/>
                <a:gd name="T2" fmla="*/ 10 w 162"/>
                <a:gd name="T3" fmla="*/ 97 h 105"/>
                <a:gd name="T4" fmla="*/ 3 w 162"/>
                <a:gd name="T5" fmla="*/ 84 h 105"/>
                <a:gd name="T6" fmla="*/ 10 w 162"/>
                <a:gd name="T7" fmla="*/ 64 h 105"/>
                <a:gd name="T8" fmla="*/ 133 w 162"/>
                <a:gd name="T9" fmla="*/ 2 h 105"/>
                <a:gd name="T10" fmla="*/ 145 w 162"/>
                <a:gd name="T11" fmla="*/ 2 h 105"/>
                <a:gd name="T12" fmla="*/ 153 w 162"/>
                <a:gd name="T13" fmla="*/ 9 h 105"/>
                <a:gd name="T14" fmla="*/ 160 w 162"/>
                <a:gd name="T15" fmla="*/ 23 h 105"/>
                <a:gd name="T16" fmla="*/ 161 w 162"/>
                <a:gd name="T17" fmla="*/ 34 h 105"/>
                <a:gd name="T18" fmla="*/ 153 w 162"/>
                <a:gd name="T19" fmla="*/ 42 h 105"/>
                <a:gd name="T20" fmla="*/ 30 w 162"/>
                <a:gd name="T21" fmla="*/ 104 h 105"/>
                <a:gd name="T22" fmla="*/ 23 w 162"/>
                <a:gd name="T23" fmla="*/ 105 h 105"/>
                <a:gd name="T24" fmla="*/ 140 w 162"/>
                <a:gd name="T25" fmla="*/ 13 h 105"/>
                <a:gd name="T26" fmla="*/ 139 w 162"/>
                <a:gd name="T27" fmla="*/ 13 h 105"/>
                <a:gd name="T28" fmla="*/ 15 w 162"/>
                <a:gd name="T29" fmla="*/ 75 h 105"/>
                <a:gd name="T30" fmla="*/ 14 w 162"/>
                <a:gd name="T31" fmla="*/ 78 h 105"/>
                <a:gd name="T32" fmla="*/ 21 w 162"/>
                <a:gd name="T33" fmla="*/ 92 h 105"/>
                <a:gd name="T34" fmla="*/ 24 w 162"/>
                <a:gd name="T35" fmla="*/ 93 h 105"/>
                <a:gd name="T36" fmla="*/ 148 w 162"/>
                <a:gd name="T37" fmla="*/ 31 h 105"/>
                <a:gd name="T38" fmla="*/ 149 w 162"/>
                <a:gd name="T39" fmla="*/ 30 h 105"/>
                <a:gd name="T40" fmla="*/ 149 w 162"/>
                <a:gd name="T41" fmla="*/ 28 h 105"/>
                <a:gd name="T42" fmla="*/ 142 w 162"/>
                <a:gd name="T43" fmla="*/ 14 h 105"/>
                <a:gd name="T44" fmla="*/ 141 w 162"/>
                <a:gd name="T45" fmla="*/ 13 h 105"/>
                <a:gd name="T46" fmla="*/ 140 w 162"/>
                <a:gd name="T47" fmla="*/ 1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2" h="105">
                  <a:moveTo>
                    <a:pt x="23" y="105"/>
                  </a:moveTo>
                  <a:cubicBezTo>
                    <a:pt x="18" y="105"/>
                    <a:pt x="13" y="102"/>
                    <a:pt x="10" y="97"/>
                  </a:cubicBezTo>
                  <a:cubicBezTo>
                    <a:pt x="3" y="84"/>
                    <a:pt x="3" y="84"/>
                    <a:pt x="3" y="84"/>
                  </a:cubicBezTo>
                  <a:cubicBezTo>
                    <a:pt x="0" y="76"/>
                    <a:pt x="3" y="68"/>
                    <a:pt x="10" y="64"/>
                  </a:cubicBezTo>
                  <a:cubicBezTo>
                    <a:pt x="133" y="2"/>
                    <a:pt x="133" y="2"/>
                    <a:pt x="133" y="2"/>
                  </a:cubicBezTo>
                  <a:cubicBezTo>
                    <a:pt x="137" y="1"/>
                    <a:pt x="141" y="0"/>
                    <a:pt x="145" y="2"/>
                  </a:cubicBezTo>
                  <a:cubicBezTo>
                    <a:pt x="148" y="3"/>
                    <a:pt x="151" y="5"/>
                    <a:pt x="153" y="9"/>
                  </a:cubicBezTo>
                  <a:cubicBezTo>
                    <a:pt x="160" y="23"/>
                    <a:pt x="160" y="23"/>
                    <a:pt x="160" y="23"/>
                  </a:cubicBezTo>
                  <a:cubicBezTo>
                    <a:pt x="162" y="26"/>
                    <a:pt x="162" y="30"/>
                    <a:pt x="161" y="34"/>
                  </a:cubicBezTo>
                  <a:cubicBezTo>
                    <a:pt x="159" y="37"/>
                    <a:pt x="157" y="40"/>
                    <a:pt x="153" y="42"/>
                  </a:cubicBezTo>
                  <a:cubicBezTo>
                    <a:pt x="30" y="104"/>
                    <a:pt x="30" y="104"/>
                    <a:pt x="30" y="104"/>
                  </a:cubicBezTo>
                  <a:cubicBezTo>
                    <a:pt x="28" y="105"/>
                    <a:pt x="25" y="105"/>
                    <a:pt x="23" y="105"/>
                  </a:cubicBezTo>
                  <a:close/>
                  <a:moveTo>
                    <a:pt x="140" y="13"/>
                  </a:moveTo>
                  <a:cubicBezTo>
                    <a:pt x="140" y="13"/>
                    <a:pt x="139" y="13"/>
                    <a:pt x="139" y="13"/>
                  </a:cubicBezTo>
                  <a:cubicBezTo>
                    <a:pt x="15" y="75"/>
                    <a:pt x="15" y="75"/>
                    <a:pt x="15" y="75"/>
                  </a:cubicBezTo>
                  <a:cubicBezTo>
                    <a:pt x="14" y="75"/>
                    <a:pt x="13" y="77"/>
                    <a:pt x="14" y="78"/>
                  </a:cubicBezTo>
                  <a:cubicBezTo>
                    <a:pt x="21" y="92"/>
                    <a:pt x="21" y="92"/>
                    <a:pt x="21" y="92"/>
                  </a:cubicBezTo>
                  <a:cubicBezTo>
                    <a:pt x="22" y="93"/>
                    <a:pt x="23" y="94"/>
                    <a:pt x="24" y="93"/>
                  </a:cubicBezTo>
                  <a:cubicBezTo>
                    <a:pt x="148" y="31"/>
                    <a:pt x="148" y="31"/>
                    <a:pt x="148" y="31"/>
                  </a:cubicBezTo>
                  <a:cubicBezTo>
                    <a:pt x="149" y="31"/>
                    <a:pt x="149" y="30"/>
                    <a:pt x="149" y="30"/>
                  </a:cubicBezTo>
                  <a:cubicBezTo>
                    <a:pt x="149" y="30"/>
                    <a:pt x="149" y="29"/>
                    <a:pt x="149" y="28"/>
                  </a:cubicBezTo>
                  <a:cubicBezTo>
                    <a:pt x="142" y="14"/>
                    <a:pt x="142" y="14"/>
                    <a:pt x="142" y="14"/>
                  </a:cubicBezTo>
                  <a:cubicBezTo>
                    <a:pt x="142" y="13"/>
                    <a:pt x="141" y="13"/>
                    <a:pt x="141" y="13"/>
                  </a:cubicBezTo>
                  <a:cubicBezTo>
                    <a:pt x="141" y="13"/>
                    <a:pt x="140" y="13"/>
                    <a:pt x="14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Freeform 92">
              <a:extLst>
                <a:ext uri="{FF2B5EF4-FFF2-40B4-BE49-F238E27FC236}">
                  <a16:creationId xmlns:a16="http://schemas.microsoft.com/office/drawing/2014/main" id="{5B154FDB-0D6E-4D39-981F-38C08ABFC3A0}"/>
                </a:ext>
              </a:extLst>
            </p:cNvPr>
            <p:cNvSpPr>
              <a:spLocks noEditPoints="1"/>
            </p:cNvSpPr>
            <p:nvPr/>
          </p:nvSpPr>
          <p:spPr bwMode="auto">
            <a:xfrm>
              <a:off x="4029" y="2477"/>
              <a:ext cx="293" cy="200"/>
            </a:xfrm>
            <a:custGeom>
              <a:avLst/>
              <a:gdLst>
                <a:gd name="T0" fmla="*/ 21 w 123"/>
                <a:gd name="T1" fmla="*/ 84 h 84"/>
                <a:gd name="T2" fmla="*/ 16 w 123"/>
                <a:gd name="T3" fmla="*/ 84 h 84"/>
                <a:gd name="T4" fmla="*/ 8 w 123"/>
                <a:gd name="T5" fmla="*/ 76 h 84"/>
                <a:gd name="T6" fmla="*/ 2 w 123"/>
                <a:gd name="T7" fmla="*/ 65 h 84"/>
                <a:gd name="T8" fmla="*/ 1 w 123"/>
                <a:gd name="T9" fmla="*/ 54 h 84"/>
                <a:gd name="T10" fmla="*/ 8 w 123"/>
                <a:gd name="T11" fmla="*/ 46 h 84"/>
                <a:gd name="T12" fmla="*/ 96 w 123"/>
                <a:gd name="T13" fmla="*/ 2 h 84"/>
                <a:gd name="T14" fmla="*/ 107 w 123"/>
                <a:gd name="T15" fmla="*/ 1 h 84"/>
                <a:gd name="T16" fmla="*/ 115 w 123"/>
                <a:gd name="T17" fmla="*/ 8 h 84"/>
                <a:gd name="T18" fmla="*/ 121 w 123"/>
                <a:gd name="T19" fmla="*/ 20 h 84"/>
                <a:gd name="T20" fmla="*/ 122 w 123"/>
                <a:gd name="T21" fmla="*/ 31 h 84"/>
                <a:gd name="T22" fmla="*/ 114 w 123"/>
                <a:gd name="T23" fmla="*/ 39 h 84"/>
                <a:gd name="T24" fmla="*/ 27 w 123"/>
                <a:gd name="T25" fmla="*/ 83 h 84"/>
                <a:gd name="T26" fmla="*/ 21 w 123"/>
                <a:gd name="T27" fmla="*/ 84 h 84"/>
                <a:gd name="T28" fmla="*/ 102 w 123"/>
                <a:gd name="T29" fmla="*/ 12 h 84"/>
                <a:gd name="T30" fmla="*/ 101 w 123"/>
                <a:gd name="T31" fmla="*/ 13 h 84"/>
                <a:gd name="T32" fmla="*/ 14 w 123"/>
                <a:gd name="T33" fmla="*/ 56 h 84"/>
                <a:gd name="T34" fmla="*/ 13 w 123"/>
                <a:gd name="T35" fmla="*/ 58 h 84"/>
                <a:gd name="T36" fmla="*/ 13 w 123"/>
                <a:gd name="T37" fmla="*/ 60 h 84"/>
                <a:gd name="T38" fmla="*/ 18 w 123"/>
                <a:gd name="T39" fmla="*/ 71 h 84"/>
                <a:gd name="T40" fmla="*/ 20 w 123"/>
                <a:gd name="T41" fmla="*/ 72 h 84"/>
                <a:gd name="T42" fmla="*/ 22 w 123"/>
                <a:gd name="T43" fmla="*/ 72 h 84"/>
                <a:gd name="T44" fmla="*/ 109 w 123"/>
                <a:gd name="T45" fmla="*/ 28 h 84"/>
                <a:gd name="T46" fmla="*/ 110 w 123"/>
                <a:gd name="T47" fmla="*/ 27 h 84"/>
                <a:gd name="T48" fmla="*/ 110 w 123"/>
                <a:gd name="T49" fmla="*/ 25 h 84"/>
                <a:gd name="T50" fmla="*/ 104 w 123"/>
                <a:gd name="T51" fmla="*/ 14 h 84"/>
                <a:gd name="T52" fmla="*/ 103 w 123"/>
                <a:gd name="T53" fmla="*/ 13 h 84"/>
                <a:gd name="T54" fmla="*/ 102 w 123"/>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3" h="84">
                  <a:moveTo>
                    <a:pt x="21" y="84"/>
                  </a:moveTo>
                  <a:cubicBezTo>
                    <a:pt x="19" y="84"/>
                    <a:pt x="17" y="84"/>
                    <a:pt x="16" y="84"/>
                  </a:cubicBezTo>
                  <a:cubicBezTo>
                    <a:pt x="12" y="82"/>
                    <a:pt x="9" y="80"/>
                    <a:pt x="8" y="76"/>
                  </a:cubicBezTo>
                  <a:cubicBezTo>
                    <a:pt x="2" y="65"/>
                    <a:pt x="2" y="65"/>
                    <a:pt x="2" y="65"/>
                  </a:cubicBezTo>
                  <a:cubicBezTo>
                    <a:pt x="0" y="62"/>
                    <a:pt x="0" y="58"/>
                    <a:pt x="1" y="54"/>
                  </a:cubicBezTo>
                  <a:cubicBezTo>
                    <a:pt x="2" y="50"/>
                    <a:pt x="5" y="47"/>
                    <a:pt x="8" y="46"/>
                  </a:cubicBezTo>
                  <a:cubicBezTo>
                    <a:pt x="96" y="2"/>
                    <a:pt x="96" y="2"/>
                    <a:pt x="96" y="2"/>
                  </a:cubicBezTo>
                  <a:cubicBezTo>
                    <a:pt x="99" y="0"/>
                    <a:pt x="103" y="0"/>
                    <a:pt x="107" y="1"/>
                  </a:cubicBezTo>
                  <a:cubicBezTo>
                    <a:pt x="110" y="2"/>
                    <a:pt x="113" y="5"/>
                    <a:pt x="115" y="8"/>
                  </a:cubicBezTo>
                  <a:cubicBezTo>
                    <a:pt x="121" y="20"/>
                    <a:pt x="121" y="20"/>
                    <a:pt x="121" y="20"/>
                  </a:cubicBezTo>
                  <a:cubicBezTo>
                    <a:pt x="123" y="23"/>
                    <a:pt x="123" y="27"/>
                    <a:pt x="122" y="31"/>
                  </a:cubicBezTo>
                  <a:cubicBezTo>
                    <a:pt x="120" y="34"/>
                    <a:pt x="118" y="37"/>
                    <a:pt x="114" y="39"/>
                  </a:cubicBezTo>
                  <a:cubicBezTo>
                    <a:pt x="27" y="83"/>
                    <a:pt x="27" y="83"/>
                    <a:pt x="27" y="83"/>
                  </a:cubicBezTo>
                  <a:cubicBezTo>
                    <a:pt x="25" y="84"/>
                    <a:pt x="23" y="84"/>
                    <a:pt x="21" y="84"/>
                  </a:cubicBezTo>
                  <a:close/>
                  <a:moveTo>
                    <a:pt x="102" y="12"/>
                  </a:moveTo>
                  <a:cubicBezTo>
                    <a:pt x="102" y="12"/>
                    <a:pt x="102" y="12"/>
                    <a:pt x="101" y="13"/>
                  </a:cubicBezTo>
                  <a:cubicBezTo>
                    <a:pt x="14" y="56"/>
                    <a:pt x="14" y="56"/>
                    <a:pt x="14" y="56"/>
                  </a:cubicBezTo>
                  <a:cubicBezTo>
                    <a:pt x="13" y="57"/>
                    <a:pt x="13" y="57"/>
                    <a:pt x="13" y="58"/>
                  </a:cubicBezTo>
                  <a:cubicBezTo>
                    <a:pt x="12" y="58"/>
                    <a:pt x="12" y="59"/>
                    <a:pt x="13" y="60"/>
                  </a:cubicBezTo>
                  <a:cubicBezTo>
                    <a:pt x="18" y="71"/>
                    <a:pt x="18" y="71"/>
                    <a:pt x="18" y="71"/>
                  </a:cubicBezTo>
                  <a:cubicBezTo>
                    <a:pt x="19" y="72"/>
                    <a:pt x="19" y="72"/>
                    <a:pt x="20" y="72"/>
                  </a:cubicBezTo>
                  <a:cubicBezTo>
                    <a:pt x="20" y="72"/>
                    <a:pt x="21" y="72"/>
                    <a:pt x="22" y="72"/>
                  </a:cubicBezTo>
                  <a:cubicBezTo>
                    <a:pt x="109" y="28"/>
                    <a:pt x="109" y="28"/>
                    <a:pt x="109" y="28"/>
                  </a:cubicBezTo>
                  <a:cubicBezTo>
                    <a:pt x="110" y="28"/>
                    <a:pt x="110" y="27"/>
                    <a:pt x="110" y="27"/>
                  </a:cubicBezTo>
                  <a:cubicBezTo>
                    <a:pt x="110" y="27"/>
                    <a:pt x="110" y="26"/>
                    <a:pt x="110" y="25"/>
                  </a:cubicBezTo>
                  <a:cubicBezTo>
                    <a:pt x="104" y="14"/>
                    <a:pt x="104" y="14"/>
                    <a:pt x="104" y="14"/>
                  </a:cubicBezTo>
                  <a:cubicBezTo>
                    <a:pt x="104" y="13"/>
                    <a:pt x="103" y="13"/>
                    <a:pt x="103" y="13"/>
                  </a:cubicBezTo>
                  <a:cubicBezTo>
                    <a:pt x="103" y="12"/>
                    <a:pt x="103" y="12"/>
                    <a:pt x="10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2" name="Freeform 93">
              <a:extLst>
                <a:ext uri="{FF2B5EF4-FFF2-40B4-BE49-F238E27FC236}">
                  <a16:creationId xmlns:a16="http://schemas.microsoft.com/office/drawing/2014/main" id="{E9BA0326-7437-4745-9AFE-287833F0FAE3}"/>
                </a:ext>
              </a:extLst>
            </p:cNvPr>
            <p:cNvSpPr>
              <a:spLocks noEditPoints="1"/>
            </p:cNvSpPr>
            <p:nvPr/>
          </p:nvSpPr>
          <p:spPr bwMode="auto">
            <a:xfrm>
              <a:off x="3608" y="2551"/>
              <a:ext cx="311" cy="309"/>
            </a:xfrm>
            <a:custGeom>
              <a:avLst/>
              <a:gdLst>
                <a:gd name="T0" fmla="*/ 65 w 130"/>
                <a:gd name="T1" fmla="*/ 130 h 130"/>
                <a:gd name="T2" fmla="*/ 0 w 130"/>
                <a:gd name="T3" fmla="*/ 65 h 130"/>
                <a:gd name="T4" fmla="*/ 65 w 130"/>
                <a:gd name="T5" fmla="*/ 0 h 130"/>
                <a:gd name="T6" fmla="*/ 130 w 130"/>
                <a:gd name="T7" fmla="*/ 65 h 130"/>
                <a:gd name="T8" fmla="*/ 65 w 130"/>
                <a:gd name="T9" fmla="*/ 130 h 130"/>
                <a:gd name="T10" fmla="*/ 65 w 130"/>
                <a:gd name="T11" fmla="*/ 12 h 130"/>
                <a:gd name="T12" fmla="*/ 12 w 130"/>
                <a:gd name="T13" fmla="*/ 65 h 130"/>
                <a:gd name="T14" fmla="*/ 65 w 130"/>
                <a:gd name="T15" fmla="*/ 118 h 130"/>
                <a:gd name="T16" fmla="*/ 118 w 130"/>
                <a:gd name="T17" fmla="*/ 65 h 130"/>
                <a:gd name="T18" fmla="*/ 65 w 130"/>
                <a:gd name="T19" fmla="*/ 1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30">
                  <a:moveTo>
                    <a:pt x="65" y="130"/>
                  </a:moveTo>
                  <a:cubicBezTo>
                    <a:pt x="29" y="130"/>
                    <a:pt x="0" y="101"/>
                    <a:pt x="0" y="65"/>
                  </a:cubicBezTo>
                  <a:cubicBezTo>
                    <a:pt x="0" y="29"/>
                    <a:pt x="29" y="0"/>
                    <a:pt x="65" y="0"/>
                  </a:cubicBezTo>
                  <a:cubicBezTo>
                    <a:pt x="101" y="0"/>
                    <a:pt x="130" y="29"/>
                    <a:pt x="130" y="65"/>
                  </a:cubicBezTo>
                  <a:cubicBezTo>
                    <a:pt x="130" y="101"/>
                    <a:pt x="101" y="130"/>
                    <a:pt x="65" y="130"/>
                  </a:cubicBezTo>
                  <a:close/>
                  <a:moveTo>
                    <a:pt x="65" y="12"/>
                  </a:moveTo>
                  <a:cubicBezTo>
                    <a:pt x="36" y="12"/>
                    <a:pt x="12" y="36"/>
                    <a:pt x="12" y="65"/>
                  </a:cubicBezTo>
                  <a:cubicBezTo>
                    <a:pt x="12" y="95"/>
                    <a:pt x="36" y="118"/>
                    <a:pt x="65" y="118"/>
                  </a:cubicBezTo>
                  <a:cubicBezTo>
                    <a:pt x="94" y="118"/>
                    <a:pt x="118" y="95"/>
                    <a:pt x="118" y="65"/>
                  </a:cubicBezTo>
                  <a:cubicBezTo>
                    <a:pt x="118" y="36"/>
                    <a:pt x="94" y="12"/>
                    <a:pt x="6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Oval 94">
              <a:extLst>
                <a:ext uri="{FF2B5EF4-FFF2-40B4-BE49-F238E27FC236}">
                  <a16:creationId xmlns:a16="http://schemas.microsoft.com/office/drawing/2014/main" id="{597E80D9-C3BD-4CEF-BD2B-C0E7F25B0495}"/>
                </a:ext>
              </a:extLst>
            </p:cNvPr>
            <p:cNvSpPr>
              <a:spLocks noChangeArrowheads="1"/>
            </p:cNvSpPr>
            <p:nvPr/>
          </p:nvSpPr>
          <p:spPr bwMode="auto">
            <a:xfrm>
              <a:off x="3685" y="2632"/>
              <a:ext cx="157" cy="1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4" name="Freeform 95">
              <a:extLst>
                <a:ext uri="{FF2B5EF4-FFF2-40B4-BE49-F238E27FC236}">
                  <a16:creationId xmlns:a16="http://schemas.microsoft.com/office/drawing/2014/main" id="{706F0BCB-9A26-4397-A81F-72535A971555}"/>
                </a:ext>
              </a:extLst>
            </p:cNvPr>
            <p:cNvSpPr>
              <a:spLocks/>
            </p:cNvSpPr>
            <p:nvPr/>
          </p:nvSpPr>
          <p:spPr bwMode="auto">
            <a:xfrm>
              <a:off x="3675" y="1803"/>
              <a:ext cx="206" cy="224"/>
            </a:xfrm>
            <a:custGeom>
              <a:avLst/>
              <a:gdLst>
                <a:gd name="T0" fmla="*/ 86 w 86"/>
                <a:gd name="T1" fmla="*/ 74 h 94"/>
                <a:gd name="T2" fmla="*/ 47 w 86"/>
                <a:gd name="T3" fmla="*/ 94 h 94"/>
                <a:gd name="T4" fmla="*/ 0 w 86"/>
                <a:gd name="T5" fmla="*/ 47 h 94"/>
                <a:gd name="T6" fmla="*/ 47 w 86"/>
                <a:gd name="T7" fmla="*/ 0 h 94"/>
                <a:gd name="T8" fmla="*/ 49 w 86"/>
                <a:gd name="T9" fmla="*/ 0 h 94"/>
              </a:gdLst>
              <a:ahLst/>
              <a:cxnLst>
                <a:cxn ang="0">
                  <a:pos x="T0" y="T1"/>
                </a:cxn>
                <a:cxn ang="0">
                  <a:pos x="T2" y="T3"/>
                </a:cxn>
                <a:cxn ang="0">
                  <a:pos x="T4" y="T5"/>
                </a:cxn>
                <a:cxn ang="0">
                  <a:pos x="T6" y="T7"/>
                </a:cxn>
                <a:cxn ang="0">
                  <a:pos x="T8" y="T9"/>
                </a:cxn>
              </a:cxnLst>
              <a:rect l="0" t="0" r="r" b="b"/>
              <a:pathLst>
                <a:path w="86" h="94">
                  <a:moveTo>
                    <a:pt x="86" y="74"/>
                  </a:moveTo>
                  <a:cubicBezTo>
                    <a:pt x="78" y="86"/>
                    <a:pt x="63" y="94"/>
                    <a:pt x="47" y="94"/>
                  </a:cubicBezTo>
                  <a:cubicBezTo>
                    <a:pt x="21" y="94"/>
                    <a:pt x="0" y="73"/>
                    <a:pt x="0" y="47"/>
                  </a:cubicBezTo>
                  <a:cubicBezTo>
                    <a:pt x="0" y="21"/>
                    <a:pt x="21" y="0"/>
                    <a:pt x="47" y="0"/>
                  </a:cubicBezTo>
                  <a:cubicBezTo>
                    <a:pt x="48" y="0"/>
                    <a:pt x="48" y="0"/>
                    <a:pt x="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65" name="Group 548">
            <a:extLst>
              <a:ext uri="{FF2B5EF4-FFF2-40B4-BE49-F238E27FC236}">
                <a16:creationId xmlns:a16="http://schemas.microsoft.com/office/drawing/2014/main" id="{BBD296F9-E664-4287-87A5-C70D83D56133}"/>
              </a:ext>
            </a:extLst>
          </p:cNvPr>
          <p:cNvGrpSpPr>
            <a:grpSpLocks noChangeAspect="1"/>
          </p:cNvGrpSpPr>
          <p:nvPr/>
        </p:nvGrpSpPr>
        <p:grpSpPr bwMode="auto">
          <a:xfrm>
            <a:off x="1072763" y="1847078"/>
            <a:ext cx="473437" cy="465226"/>
            <a:chOff x="6922" y="1723"/>
            <a:chExt cx="346" cy="340"/>
          </a:xfrm>
          <a:solidFill>
            <a:schemeClr val="tx2"/>
          </a:solidFill>
        </p:grpSpPr>
        <p:sp>
          <p:nvSpPr>
            <p:cNvPr id="66" name="Freeform 549">
              <a:extLst>
                <a:ext uri="{FF2B5EF4-FFF2-40B4-BE49-F238E27FC236}">
                  <a16:creationId xmlns:a16="http://schemas.microsoft.com/office/drawing/2014/main" id="{821CC669-E140-42C3-8177-63E2F6F11BD8}"/>
                </a:ext>
              </a:extLst>
            </p:cNvPr>
            <p:cNvSpPr>
              <a:spLocks/>
            </p:cNvSpPr>
            <p:nvPr/>
          </p:nvSpPr>
          <p:spPr bwMode="auto">
            <a:xfrm>
              <a:off x="6984" y="1727"/>
              <a:ext cx="277" cy="275"/>
            </a:xfrm>
            <a:custGeom>
              <a:avLst/>
              <a:gdLst>
                <a:gd name="T0" fmla="*/ 94 w 360"/>
                <a:gd name="T1" fmla="*/ 358 h 358"/>
                <a:gd name="T2" fmla="*/ 90 w 360"/>
                <a:gd name="T3" fmla="*/ 357 h 358"/>
                <a:gd name="T4" fmla="*/ 90 w 360"/>
                <a:gd name="T5" fmla="*/ 348 h 358"/>
                <a:gd name="T6" fmla="*/ 303 w 360"/>
                <a:gd name="T7" fmla="*/ 135 h 358"/>
                <a:gd name="T8" fmla="*/ 312 w 360"/>
                <a:gd name="T9" fmla="*/ 135 h 358"/>
                <a:gd name="T10" fmla="*/ 345 w 360"/>
                <a:gd name="T11" fmla="*/ 167 h 358"/>
                <a:gd name="T12" fmla="*/ 347 w 360"/>
                <a:gd name="T13" fmla="*/ 12 h 358"/>
                <a:gd name="T14" fmla="*/ 193 w 360"/>
                <a:gd name="T15" fmla="*/ 16 h 358"/>
                <a:gd name="T16" fmla="*/ 224 w 360"/>
                <a:gd name="T17" fmla="*/ 48 h 358"/>
                <a:gd name="T18" fmla="*/ 224 w 360"/>
                <a:gd name="T19" fmla="*/ 57 h 358"/>
                <a:gd name="T20" fmla="*/ 11 w 360"/>
                <a:gd name="T21" fmla="*/ 270 h 358"/>
                <a:gd name="T22" fmla="*/ 2 w 360"/>
                <a:gd name="T23" fmla="*/ 270 h 358"/>
                <a:gd name="T24" fmla="*/ 2 w 360"/>
                <a:gd name="T25" fmla="*/ 261 h 358"/>
                <a:gd name="T26" fmla="*/ 212 w 360"/>
                <a:gd name="T27" fmla="*/ 52 h 358"/>
                <a:gd name="T28" fmla="*/ 175 w 360"/>
                <a:gd name="T29" fmla="*/ 14 h 358"/>
                <a:gd name="T30" fmla="*/ 174 w 360"/>
                <a:gd name="T31" fmla="*/ 8 h 358"/>
                <a:gd name="T32" fmla="*/ 179 w 360"/>
                <a:gd name="T33" fmla="*/ 4 h 358"/>
                <a:gd name="T34" fmla="*/ 353 w 360"/>
                <a:gd name="T35" fmla="*/ 0 h 358"/>
                <a:gd name="T36" fmla="*/ 358 w 360"/>
                <a:gd name="T37" fmla="*/ 2 h 358"/>
                <a:gd name="T38" fmla="*/ 360 w 360"/>
                <a:gd name="T39" fmla="*/ 6 h 358"/>
                <a:gd name="T40" fmla="*/ 357 w 360"/>
                <a:gd name="T41" fmla="*/ 181 h 358"/>
                <a:gd name="T42" fmla="*/ 353 w 360"/>
                <a:gd name="T43" fmla="*/ 187 h 358"/>
                <a:gd name="T44" fmla="*/ 346 w 360"/>
                <a:gd name="T45" fmla="*/ 186 h 358"/>
                <a:gd name="T46" fmla="*/ 308 w 360"/>
                <a:gd name="T47" fmla="*/ 147 h 358"/>
                <a:gd name="T48" fmla="*/ 99 w 360"/>
                <a:gd name="T49" fmla="*/ 357 h 358"/>
                <a:gd name="T50" fmla="*/ 94 w 360"/>
                <a:gd name="T51"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0" h="358">
                  <a:moveTo>
                    <a:pt x="94" y="358"/>
                  </a:moveTo>
                  <a:cubicBezTo>
                    <a:pt x="93" y="358"/>
                    <a:pt x="91" y="358"/>
                    <a:pt x="90" y="357"/>
                  </a:cubicBezTo>
                  <a:cubicBezTo>
                    <a:pt x="88" y="354"/>
                    <a:pt x="88" y="350"/>
                    <a:pt x="90" y="348"/>
                  </a:cubicBezTo>
                  <a:cubicBezTo>
                    <a:pt x="303" y="135"/>
                    <a:pt x="303" y="135"/>
                    <a:pt x="303" y="135"/>
                  </a:cubicBezTo>
                  <a:cubicBezTo>
                    <a:pt x="306" y="132"/>
                    <a:pt x="309" y="132"/>
                    <a:pt x="312" y="135"/>
                  </a:cubicBezTo>
                  <a:cubicBezTo>
                    <a:pt x="345" y="167"/>
                    <a:pt x="345" y="167"/>
                    <a:pt x="345" y="167"/>
                  </a:cubicBezTo>
                  <a:cubicBezTo>
                    <a:pt x="347" y="12"/>
                    <a:pt x="347" y="12"/>
                    <a:pt x="347" y="12"/>
                  </a:cubicBezTo>
                  <a:cubicBezTo>
                    <a:pt x="193" y="16"/>
                    <a:pt x="193" y="16"/>
                    <a:pt x="193" y="16"/>
                  </a:cubicBezTo>
                  <a:cubicBezTo>
                    <a:pt x="224" y="48"/>
                    <a:pt x="224" y="48"/>
                    <a:pt x="224" y="48"/>
                  </a:cubicBezTo>
                  <a:cubicBezTo>
                    <a:pt x="227" y="51"/>
                    <a:pt x="227" y="54"/>
                    <a:pt x="224" y="57"/>
                  </a:cubicBezTo>
                  <a:cubicBezTo>
                    <a:pt x="11" y="270"/>
                    <a:pt x="11" y="270"/>
                    <a:pt x="11" y="270"/>
                  </a:cubicBezTo>
                  <a:cubicBezTo>
                    <a:pt x="9" y="272"/>
                    <a:pt x="5" y="272"/>
                    <a:pt x="2" y="270"/>
                  </a:cubicBezTo>
                  <a:cubicBezTo>
                    <a:pt x="0" y="267"/>
                    <a:pt x="0" y="263"/>
                    <a:pt x="2" y="261"/>
                  </a:cubicBezTo>
                  <a:cubicBezTo>
                    <a:pt x="212" y="52"/>
                    <a:pt x="212" y="52"/>
                    <a:pt x="212" y="52"/>
                  </a:cubicBezTo>
                  <a:cubicBezTo>
                    <a:pt x="175" y="14"/>
                    <a:pt x="175" y="14"/>
                    <a:pt x="175" y="14"/>
                  </a:cubicBezTo>
                  <a:cubicBezTo>
                    <a:pt x="173" y="13"/>
                    <a:pt x="173" y="10"/>
                    <a:pt x="174" y="8"/>
                  </a:cubicBezTo>
                  <a:cubicBezTo>
                    <a:pt x="174" y="6"/>
                    <a:pt x="177" y="4"/>
                    <a:pt x="179" y="4"/>
                  </a:cubicBezTo>
                  <a:cubicBezTo>
                    <a:pt x="353" y="0"/>
                    <a:pt x="353" y="0"/>
                    <a:pt x="353" y="0"/>
                  </a:cubicBezTo>
                  <a:cubicBezTo>
                    <a:pt x="355" y="0"/>
                    <a:pt x="357" y="1"/>
                    <a:pt x="358" y="2"/>
                  </a:cubicBezTo>
                  <a:cubicBezTo>
                    <a:pt x="359" y="3"/>
                    <a:pt x="360" y="5"/>
                    <a:pt x="360" y="6"/>
                  </a:cubicBezTo>
                  <a:cubicBezTo>
                    <a:pt x="357" y="181"/>
                    <a:pt x="357" y="181"/>
                    <a:pt x="357" y="181"/>
                  </a:cubicBezTo>
                  <a:cubicBezTo>
                    <a:pt x="357" y="184"/>
                    <a:pt x="355" y="186"/>
                    <a:pt x="353" y="187"/>
                  </a:cubicBezTo>
                  <a:cubicBezTo>
                    <a:pt x="351" y="188"/>
                    <a:pt x="348" y="187"/>
                    <a:pt x="346" y="186"/>
                  </a:cubicBezTo>
                  <a:cubicBezTo>
                    <a:pt x="308" y="147"/>
                    <a:pt x="308" y="147"/>
                    <a:pt x="308" y="147"/>
                  </a:cubicBezTo>
                  <a:cubicBezTo>
                    <a:pt x="99" y="357"/>
                    <a:pt x="99" y="357"/>
                    <a:pt x="99" y="357"/>
                  </a:cubicBezTo>
                  <a:cubicBezTo>
                    <a:pt x="97" y="358"/>
                    <a:pt x="96" y="358"/>
                    <a:pt x="94" y="3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7" name="Freeform 550">
              <a:extLst>
                <a:ext uri="{FF2B5EF4-FFF2-40B4-BE49-F238E27FC236}">
                  <a16:creationId xmlns:a16="http://schemas.microsoft.com/office/drawing/2014/main" id="{D8CCB9D4-18DC-44BC-B782-BC88F9E84F47}"/>
                </a:ext>
              </a:extLst>
            </p:cNvPr>
            <p:cNvSpPr>
              <a:spLocks noEditPoints="1"/>
            </p:cNvSpPr>
            <p:nvPr/>
          </p:nvSpPr>
          <p:spPr bwMode="auto">
            <a:xfrm>
              <a:off x="6922" y="1723"/>
              <a:ext cx="168" cy="168"/>
            </a:xfrm>
            <a:custGeom>
              <a:avLst/>
              <a:gdLst>
                <a:gd name="T0" fmla="*/ 58 w 218"/>
                <a:gd name="T1" fmla="*/ 218 h 218"/>
                <a:gd name="T2" fmla="*/ 54 w 218"/>
                <a:gd name="T3" fmla="*/ 216 h 218"/>
                <a:gd name="T4" fmla="*/ 2 w 218"/>
                <a:gd name="T5" fmla="*/ 164 h 218"/>
                <a:gd name="T6" fmla="*/ 0 w 218"/>
                <a:gd name="T7" fmla="*/ 160 h 218"/>
                <a:gd name="T8" fmla="*/ 2 w 218"/>
                <a:gd name="T9" fmla="*/ 156 h 218"/>
                <a:gd name="T10" fmla="*/ 124 w 218"/>
                <a:gd name="T11" fmla="*/ 34 h 218"/>
                <a:gd name="T12" fmla="*/ 104 w 218"/>
                <a:gd name="T13" fmla="*/ 13 h 218"/>
                <a:gd name="T14" fmla="*/ 103 w 218"/>
                <a:gd name="T15" fmla="*/ 6 h 218"/>
                <a:gd name="T16" fmla="*/ 108 w 218"/>
                <a:gd name="T17" fmla="*/ 3 h 218"/>
                <a:gd name="T18" fmla="*/ 212 w 218"/>
                <a:gd name="T19" fmla="*/ 0 h 218"/>
                <a:gd name="T20" fmla="*/ 216 w 218"/>
                <a:gd name="T21" fmla="*/ 2 h 218"/>
                <a:gd name="T22" fmla="*/ 218 w 218"/>
                <a:gd name="T23" fmla="*/ 6 h 218"/>
                <a:gd name="T24" fmla="*/ 216 w 218"/>
                <a:gd name="T25" fmla="*/ 110 h 218"/>
                <a:gd name="T26" fmla="*/ 212 w 218"/>
                <a:gd name="T27" fmla="*/ 116 h 218"/>
                <a:gd name="T28" fmla="*/ 206 w 218"/>
                <a:gd name="T29" fmla="*/ 114 h 218"/>
                <a:gd name="T30" fmla="*/ 184 w 218"/>
                <a:gd name="T31" fmla="*/ 94 h 218"/>
                <a:gd name="T32" fmla="*/ 62 w 218"/>
                <a:gd name="T33" fmla="*/ 216 h 218"/>
                <a:gd name="T34" fmla="*/ 58 w 218"/>
                <a:gd name="T35" fmla="*/ 218 h 218"/>
                <a:gd name="T36" fmla="*/ 14 w 218"/>
                <a:gd name="T37" fmla="*/ 160 h 218"/>
                <a:gd name="T38" fmla="*/ 58 w 218"/>
                <a:gd name="T39" fmla="*/ 203 h 218"/>
                <a:gd name="T40" fmla="*/ 180 w 218"/>
                <a:gd name="T41" fmla="*/ 81 h 218"/>
                <a:gd name="T42" fmla="*/ 189 w 218"/>
                <a:gd name="T43" fmla="*/ 81 h 218"/>
                <a:gd name="T44" fmla="*/ 204 w 218"/>
                <a:gd name="T45" fmla="*/ 96 h 218"/>
                <a:gd name="T46" fmla="*/ 206 w 218"/>
                <a:gd name="T47" fmla="*/ 12 h 218"/>
                <a:gd name="T48" fmla="*/ 122 w 218"/>
                <a:gd name="T49" fmla="*/ 14 h 218"/>
                <a:gd name="T50" fmla="*/ 137 w 218"/>
                <a:gd name="T51" fmla="*/ 30 h 218"/>
                <a:gd name="T52" fmla="*/ 137 w 218"/>
                <a:gd name="T53" fmla="*/ 38 h 218"/>
                <a:gd name="T54" fmla="*/ 14 w 218"/>
                <a:gd name="T55" fmla="*/ 16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8" h="218">
                  <a:moveTo>
                    <a:pt x="58" y="218"/>
                  </a:moveTo>
                  <a:cubicBezTo>
                    <a:pt x="56" y="218"/>
                    <a:pt x="55" y="217"/>
                    <a:pt x="54" y="216"/>
                  </a:cubicBezTo>
                  <a:cubicBezTo>
                    <a:pt x="2" y="164"/>
                    <a:pt x="2" y="164"/>
                    <a:pt x="2" y="164"/>
                  </a:cubicBezTo>
                  <a:cubicBezTo>
                    <a:pt x="1" y="163"/>
                    <a:pt x="0" y="162"/>
                    <a:pt x="0" y="160"/>
                  </a:cubicBezTo>
                  <a:cubicBezTo>
                    <a:pt x="0" y="158"/>
                    <a:pt x="1" y="157"/>
                    <a:pt x="2" y="156"/>
                  </a:cubicBezTo>
                  <a:cubicBezTo>
                    <a:pt x="124" y="34"/>
                    <a:pt x="124" y="34"/>
                    <a:pt x="124" y="34"/>
                  </a:cubicBezTo>
                  <a:cubicBezTo>
                    <a:pt x="104" y="13"/>
                    <a:pt x="104" y="13"/>
                    <a:pt x="104" y="13"/>
                  </a:cubicBezTo>
                  <a:cubicBezTo>
                    <a:pt x="102" y="11"/>
                    <a:pt x="102" y="9"/>
                    <a:pt x="103" y="6"/>
                  </a:cubicBezTo>
                  <a:cubicBezTo>
                    <a:pt x="104" y="4"/>
                    <a:pt x="106" y="3"/>
                    <a:pt x="108" y="3"/>
                  </a:cubicBezTo>
                  <a:cubicBezTo>
                    <a:pt x="212" y="0"/>
                    <a:pt x="212" y="0"/>
                    <a:pt x="212" y="0"/>
                  </a:cubicBezTo>
                  <a:cubicBezTo>
                    <a:pt x="213" y="0"/>
                    <a:pt x="215" y="1"/>
                    <a:pt x="216" y="2"/>
                  </a:cubicBezTo>
                  <a:cubicBezTo>
                    <a:pt x="217" y="3"/>
                    <a:pt x="218" y="5"/>
                    <a:pt x="218" y="6"/>
                  </a:cubicBezTo>
                  <a:cubicBezTo>
                    <a:pt x="216" y="110"/>
                    <a:pt x="216" y="110"/>
                    <a:pt x="216" y="110"/>
                  </a:cubicBezTo>
                  <a:cubicBezTo>
                    <a:pt x="216" y="113"/>
                    <a:pt x="214" y="115"/>
                    <a:pt x="212" y="116"/>
                  </a:cubicBezTo>
                  <a:cubicBezTo>
                    <a:pt x="210" y="117"/>
                    <a:pt x="207" y="116"/>
                    <a:pt x="206" y="114"/>
                  </a:cubicBezTo>
                  <a:cubicBezTo>
                    <a:pt x="184" y="94"/>
                    <a:pt x="184" y="94"/>
                    <a:pt x="184" y="94"/>
                  </a:cubicBezTo>
                  <a:cubicBezTo>
                    <a:pt x="62" y="216"/>
                    <a:pt x="62" y="216"/>
                    <a:pt x="62" y="216"/>
                  </a:cubicBezTo>
                  <a:cubicBezTo>
                    <a:pt x="61" y="217"/>
                    <a:pt x="59" y="218"/>
                    <a:pt x="58" y="218"/>
                  </a:cubicBezTo>
                  <a:close/>
                  <a:moveTo>
                    <a:pt x="14" y="160"/>
                  </a:moveTo>
                  <a:cubicBezTo>
                    <a:pt x="58" y="203"/>
                    <a:pt x="58" y="203"/>
                    <a:pt x="58" y="203"/>
                  </a:cubicBezTo>
                  <a:cubicBezTo>
                    <a:pt x="180" y="81"/>
                    <a:pt x="180" y="81"/>
                    <a:pt x="180" y="81"/>
                  </a:cubicBezTo>
                  <a:cubicBezTo>
                    <a:pt x="182" y="79"/>
                    <a:pt x="186" y="79"/>
                    <a:pt x="189" y="81"/>
                  </a:cubicBezTo>
                  <a:cubicBezTo>
                    <a:pt x="204" y="96"/>
                    <a:pt x="204" y="96"/>
                    <a:pt x="204" y="96"/>
                  </a:cubicBezTo>
                  <a:cubicBezTo>
                    <a:pt x="206" y="12"/>
                    <a:pt x="206" y="12"/>
                    <a:pt x="206" y="12"/>
                  </a:cubicBezTo>
                  <a:cubicBezTo>
                    <a:pt x="122" y="14"/>
                    <a:pt x="122" y="14"/>
                    <a:pt x="122" y="14"/>
                  </a:cubicBezTo>
                  <a:cubicBezTo>
                    <a:pt x="137" y="30"/>
                    <a:pt x="137" y="30"/>
                    <a:pt x="137" y="30"/>
                  </a:cubicBezTo>
                  <a:cubicBezTo>
                    <a:pt x="139" y="32"/>
                    <a:pt x="139" y="36"/>
                    <a:pt x="137" y="38"/>
                  </a:cubicBezTo>
                  <a:lnTo>
                    <a:pt x="14"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8" name="Freeform 551">
              <a:extLst>
                <a:ext uri="{FF2B5EF4-FFF2-40B4-BE49-F238E27FC236}">
                  <a16:creationId xmlns:a16="http://schemas.microsoft.com/office/drawing/2014/main" id="{04989FAF-F5DA-4B22-9202-CFAC9A53A3D5}"/>
                </a:ext>
              </a:extLst>
            </p:cNvPr>
            <p:cNvSpPr>
              <a:spLocks noEditPoints="1"/>
            </p:cNvSpPr>
            <p:nvPr/>
          </p:nvSpPr>
          <p:spPr bwMode="auto">
            <a:xfrm>
              <a:off x="7100" y="1896"/>
              <a:ext cx="168" cy="167"/>
            </a:xfrm>
            <a:custGeom>
              <a:avLst/>
              <a:gdLst>
                <a:gd name="T0" fmla="*/ 58 w 218"/>
                <a:gd name="T1" fmla="*/ 217 h 217"/>
                <a:gd name="T2" fmla="*/ 54 w 218"/>
                <a:gd name="T3" fmla="*/ 216 h 217"/>
                <a:gd name="T4" fmla="*/ 2 w 218"/>
                <a:gd name="T5" fmla="*/ 164 h 217"/>
                <a:gd name="T6" fmla="*/ 0 w 218"/>
                <a:gd name="T7" fmla="*/ 160 h 217"/>
                <a:gd name="T8" fmla="*/ 2 w 218"/>
                <a:gd name="T9" fmla="*/ 156 h 217"/>
                <a:gd name="T10" fmla="*/ 124 w 218"/>
                <a:gd name="T11" fmla="*/ 33 h 217"/>
                <a:gd name="T12" fmla="*/ 104 w 218"/>
                <a:gd name="T13" fmla="*/ 13 h 217"/>
                <a:gd name="T14" fmla="*/ 103 w 218"/>
                <a:gd name="T15" fmla="*/ 6 h 217"/>
                <a:gd name="T16" fmla="*/ 108 w 218"/>
                <a:gd name="T17" fmla="*/ 2 h 217"/>
                <a:gd name="T18" fmla="*/ 212 w 218"/>
                <a:gd name="T19" fmla="*/ 0 h 217"/>
                <a:gd name="T20" fmla="*/ 216 w 218"/>
                <a:gd name="T21" fmla="*/ 2 h 217"/>
                <a:gd name="T22" fmla="*/ 218 w 218"/>
                <a:gd name="T23" fmla="*/ 6 h 217"/>
                <a:gd name="T24" fmla="*/ 216 w 218"/>
                <a:gd name="T25" fmla="*/ 110 h 217"/>
                <a:gd name="T26" fmla="*/ 213 w 218"/>
                <a:gd name="T27" fmla="*/ 116 h 217"/>
                <a:gd name="T28" fmla="*/ 206 w 218"/>
                <a:gd name="T29" fmla="*/ 114 h 217"/>
                <a:gd name="T30" fmla="*/ 185 w 218"/>
                <a:gd name="T31" fmla="*/ 93 h 217"/>
                <a:gd name="T32" fmla="*/ 63 w 218"/>
                <a:gd name="T33" fmla="*/ 216 h 217"/>
                <a:gd name="T34" fmla="*/ 58 w 218"/>
                <a:gd name="T35" fmla="*/ 217 h 217"/>
                <a:gd name="T36" fmla="*/ 15 w 218"/>
                <a:gd name="T37" fmla="*/ 160 h 217"/>
                <a:gd name="T38" fmla="*/ 58 w 218"/>
                <a:gd name="T39" fmla="*/ 203 h 217"/>
                <a:gd name="T40" fmla="*/ 180 w 218"/>
                <a:gd name="T41" fmla="*/ 81 h 217"/>
                <a:gd name="T42" fmla="*/ 189 w 218"/>
                <a:gd name="T43" fmla="*/ 81 h 217"/>
                <a:gd name="T44" fmla="*/ 204 w 218"/>
                <a:gd name="T45" fmla="*/ 96 h 217"/>
                <a:gd name="T46" fmla="*/ 206 w 218"/>
                <a:gd name="T47" fmla="*/ 12 h 217"/>
                <a:gd name="T48" fmla="*/ 122 w 218"/>
                <a:gd name="T49" fmla="*/ 14 h 217"/>
                <a:gd name="T50" fmla="*/ 137 w 218"/>
                <a:gd name="T51" fmla="*/ 29 h 217"/>
                <a:gd name="T52" fmla="*/ 137 w 218"/>
                <a:gd name="T53" fmla="*/ 38 h 217"/>
                <a:gd name="T54" fmla="*/ 15 w 218"/>
                <a:gd name="T55" fmla="*/ 16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8" h="217">
                  <a:moveTo>
                    <a:pt x="58" y="217"/>
                  </a:moveTo>
                  <a:cubicBezTo>
                    <a:pt x="57" y="217"/>
                    <a:pt x="55" y="217"/>
                    <a:pt x="54" y="216"/>
                  </a:cubicBezTo>
                  <a:cubicBezTo>
                    <a:pt x="2" y="164"/>
                    <a:pt x="2" y="164"/>
                    <a:pt x="2" y="164"/>
                  </a:cubicBezTo>
                  <a:cubicBezTo>
                    <a:pt x="1" y="163"/>
                    <a:pt x="0" y="161"/>
                    <a:pt x="0" y="160"/>
                  </a:cubicBezTo>
                  <a:cubicBezTo>
                    <a:pt x="0" y="158"/>
                    <a:pt x="1" y="157"/>
                    <a:pt x="2" y="156"/>
                  </a:cubicBezTo>
                  <a:cubicBezTo>
                    <a:pt x="124" y="33"/>
                    <a:pt x="124" y="33"/>
                    <a:pt x="124" y="33"/>
                  </a:cubicBezTo>
                  <a:cubicBezTo>
                    <a:pt x="104" y="13"/>
                    <a:pt x="104" y="13"/>
                    <a:pt x="104" y="13"/>
                  </a:cubicBezTo>
                  <a:cubicBezTo>
                    <a:pt x="103" y="11"/>
                    <a:pt x="102" y="8"/>
                    <a:pt x="103" y="6"/>
                  </a:cubicBezTo>
                  <a:cubicBezTo>
                    <a:pt x="104" y="4"/>
                    <a:pt x="106" y="3"/>
                    <a:pt x="108" y="2"/>
                  </a:cubicBezTo>
                  <a:cubicBezTo>
                    <a:pt x="212" y="0"/>
                    <a:pt x="212" y="0"/>
                    <a:pt x="212" y="0"/>
                  </a:cubicBezTo>
                  <a:cubicBezTo>
                    <a:pt x="214" y="0"/>
                    <a:pt x="215" y="1"/>
                    <a:pt x="216" y="2"/>
                  </a:cubicBezTo>
                  <a:cubicBezTo>
                    <a:pt x="217" y="3"/>
                    <a:pt x="218" y="5"/>
                    <a:pt x="218" y="6"/>
                  </a:cubicBezTo>
                  <a:cubicBezTo>
                    <a:pt x="216" y="110"/>
                    <a:pt x="216" y="110"/>
                    <a:pt x="216" y="110"/>
                  </a:cubicBezTo>
                  <a:cubicBezTo>
                    <a:pt x="216" y="112"/>
                    <a:pt x="215" y="115"/>
                    <a:pt x="213" y="116"/>
                  </a:cubicBezTo>
                  <a:cubicBezTo>
                    <a:pt x="210" y="116"/>
                    <a:pt x="208" y="116"/>
                    <a:pt x="206" y="114"/>
                  </a:cubicBezTo>
                  <a:cubicBezTo>
                    <a:pt x="185" y="93"/>
                    <a:pt x="185" y="93"/>
                    <a:pt x="185" y="93"/>
                  </a:cubicBezTo>
                  <a:cubicBezTo>
                    <a:pt x="63" y="216"/>
                    <a:pt x="63" y="216"/>
                    <a:pt x="63" y="216"/>
                  </a:cubicBezTo>
                  <a:cubicBezTo>
                    <a:pt x="61" y="217"/>
                    <a:pt x="60" y="217"/>
                    <a:pt x="58" y="217"/>
                  </a:cubicBezTo>
                  <a:close/>
                  <a:moveTo>
                    <a:pt x="15" y="160"/>
                  </a:moveTo>
                  <a:cubicBezTo>
                    <a:pt x="58" y="203"/>
                    <a:pt x="58" y="203"/>
                    <a:pt x="58" y="203"/>
                  </a:cubicBezTo>
                  <a:cubicBezTo>
                    <a:pt x="180" y="81"/>
                    <a:pt x="180" y="81"/>
                    <a:pt x="180" y="81"/>
                  </a:cubicBezTo>
                  <a:cubicBezTo>
                    <a:pt x="183" y="78"/>
                    <a:pt x="187" y="78"/>
                    <a:pt x="189" y="81"/>
                  </a:cubicBezTo>
                  <a:cubicBezTo>
                    <a:pt x="204" y="96"/>
                    <a:pt x="204" y="96"/>
                    <a:pt x="204" y="96"/>
                  </a:cubicBezTo>
                  <a:cubicBezTo>
                    <a:pt x="206" y="12"/>
                    <a:pt x="206" y="12"/>
                    <a:pt x="206" y="12"/>
                  </a:cubicBezTo>
                  <a:cubicBezTo>
                    <a:pt x="122" y="14"/>
                    <a:pt x="122" y="14"/>
                    <a:pt x="122" y="14"/>
                  </a:cubicBezTo>
                  <a:cubicBezTo>
                    <a:pt x="137" y="29"/>
                    <a:pt x="137" y="29"/>
                    <a:pt x="137" y="29"/>
                  </a:cubicBezTo>
                  <a:cubicBezTo>
                    <a:pt x="139" y="32"/>
                    <a:pt x="139" y="35"/>
                    <a:pt x="137" y="38"/>
                  </a:cubicBezTo>
                  <a:lnTo>
                    <a:pt x="15"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9" name="Freeform 552">
              <a:extLst>
                <a:ext uri="{FF2B5EF4-FFF2-40B4-BE49-F238E27FC236}">
                  <a16:creationId xmlns:a16="http://schemas.microsoft.com/office/drawing/2014/main" id="{4682E3E7-3534-4E62-965F-B9AD694778AD}"/>
                </a:ext>
              </a:extLst>
            </p:cNvPr>
            <p:cNvSpPr>
              <a:spLocks/>
            </p:cNvSpPr>
            <p:nvPr/>
          </p:nvSpPr>
          <p:spPr bwMode="auto">
            <a:xfrm>
              <a:off x="6957" y="1934"/>
              <a:ext cx="90" cy="87"/>
            </a:xfrm>
            <a:custGeom>
              <a:avLst/>
              <a:gdLst>
                <a:gd name="T0" fmla="*/ 7 w 116"/>
                <a:gd name="T1" fmla="*/ 113 h 113"/>
                <a:gd name="T2" fmla="*/ 2 w 116"/>
                <a:gd name="T3" fmla="*/ 111 h 113"/>
                <a:gd name="T4" fmla="*/ 3 w 116"/>
                <a:gd name="T5" fmla="*/ 103 h 113"/>
                <a:gd name="T6" fmla="*/ 105 w 116"/>
                <a:gd name="T7" fmla="*/ 2 h 113"/>
                <a:gd name="T8" fmla="*/ 114 w 116"/>
                <a:gd name="T9" fmla="*/ 2 h 113"/>
                <a:gd name="T10" fmla="*/ 114 w 116"/>
                <a:gd name="T11" fmla="*/ 10 h 113"/>
                <a:gd name="T12" fmla="*/ 11 w 116"/>
                <a:gd name="T13" fmla="*/ 111 h 113"/>
                <a:gd name="T14" fmla="*/ 7 w 116"/>
                <a:gd name="T15" fmla="*/ 113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13">
                  <a:moveTo>
                    <a:pt x="7" y="113"/>
                  </a:moveTo>
                  <a:cubicBezTo>
                    <a:pt x="5" y="113"/>
                    <a:pt x="4" y="112"/>
                    <a:pt x="2" y="111"/>
                  </a:cubicBezTo>
                  <a:cubicBezTo>
                    <a:pt x="0" y="109"/>
                    <a:pt x="0" y="105"/>
                    <a:pt x="3" y="103"/>
                  </a:cubicBezTo>
                  <a:cubicBezTo>
                    <a:pt x="105" y="2"/>
                    <a:pt x="105" y="2"/>
                    <a:pt x="105" y="2"/>
                  </a:cubicBezTo>
                  <a:cubicBezTo>
                    <a:pt x="108" y="0"/>
                    <a:pt x="112" y="0"/>
                    <a:pt x="114" y="2"/>
                  </a:cubicBezTo>
                  <a:cubicBezTo>
                    <a:pt x="116" y="4"/>
                    <a:pt x="116" y="8"/>
                    <a:pt x="114" y="10"/>
                  </a:cubicBezTo>
                  <a:cubicBezTo>
                    <a:pt x="11" y="111"/>
                    <a:pt x="11" y="111"/>
                    <a:pt x="11" y="111"/>
                  </a:cubicBezTo>
                  <a:cubicBezTo>
                    <a:pt x="10" y="112"/>
                    <a:pt x="8" y="113"/>
                    <a:pt x="7"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0" name="Freeform 553">
              <a:extLst>
                <a:ext uri="{FF2B5EF4-FFF2-40B4-BE49-F238E27FC236}">
                  <a16:creationId xmlns:a16="http://schemas.microsoft.com/office/drawing/2014/main" id="{31FB648B-4206-4DE2-A2FF-DDB20A817D75}"/>
                </a:ext>
              </a:extLst>
            </p:cNvPr>
            <p:cNvSpPr>
              <a:spLocks/>
            </p:cNvSpPr>
            <p:nvPr/>
          </p:nvSpPr>
          <p:spPr bwMode="auto">
            <a:xfrm>
              <a:off x="6964" y="1947"/>
              <a:ext cx="30" cy="27"/>
            </a:xfrm>
            <a:custGeom>
              <a:avLst/>
              <a:gdLst>
                <a:gd name="T0" fmla="*/ 6 w 38"/>
                <a:gd name="T1" fmla="*/ 35 h 35"/>
                <a:gd name="T2" fmla="*/ 2 w 38"/>
                <a:gd name="T3" fmla="*/ 33 h 35"/>
                <a:gd name="T4" fmla="*/ 2 w 38"/>
                <a:gd name="T5" fmla="*/ 24 h 35"/>
                <a:gd name="T6" fmla="*/ 27 w 38"/>
                <a:gd name="T7" fmla="*/ 2 h 35"/>
                <a:gd name="T8" fmla="*/ 35 w 38"/>
                <a:gd name="T9" fmla="*/ 2 h 35"/>
                <a:gd name="T10" fmla="*/ 35 w 38"/>
                <a:gd name="T11" fmla="*/ 11 h 35"/>
                <a:gd name="T12" fmla="*/ 10 w 38"/>
                <a:gd name="T13" fmla="*/ 33 h 35"/>
                <a:gd name="T14" fmla="*/ 6 w 38"/>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5">
                  <a:moveTo>
                    <a:pt x="6" y="35"/>
                  </a:moveTo>
                  <a:cubicBezTo>
                    <a:pt x="5" y="35"/>
                    <a:pt x="3" y="34"/>
                    <a:pt x="2" y="33"/>
                  </a:cubicBezTo>
                  <a:cubicBezTo>
                    <a:pt x="0" y="30"/>
                    <a:pt x="0" y="27"/>
                    <a:pt x="2" y="24"/>
                  </a:cubicBezTo>
                  <a:cubicBezTo>
                    <a:pt x="27" y="2"/>
                    <a:pt x="27" y="2"/>
                    <a:pt x="27" y="2"/>
                  </a:cubicBezTo>
                  <a:cubicBezTo>
                    <a:pt x="29" y="0"/>
                    <a:pt x="33" y="0"/>
                    <a:pt x="35" y="2"/>
                  </a:cubicBezTo>
                  <a:cubicBezTo>
                    <a:pt x="38" y="5"/>
                    <a:pt x="38" y="8"/>
                    <a:pt x="35" y="11"/>
                  </a:cubicBezTo>
                  <a:cubicBezTo>
                    <a:pt x="10" y="33"/>
                    <a:pt x="10" y="33"/>
                    <a:pt x="10" y="33"/>
                  </a:cubicBezTo>
                  <a:cubicBezTo>
                    <a:pt x="9" y="34"/>
                    <a:pt x="8" y="35"/>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1" name="Freeform 554">
              <a:extLst>
                <a:ext uri="{FF2B5EF4-FFF2-40B4-BE49-F238E27FC236}">
                  <a16:creationId xmlns:a16="http://schemas.microsoft.com/office/drawing/2014/main" id="{A5814634-53BA-4B1E-AE50-FE766327B6F3}"/>
                </a:ext>
              </a:extLst>
            </p:cNvPr>
            <p:cNvSpPr>
              <a:spLocks/>
            </p:cNvSpPr>
            <p:nvPr/>
          </p:nvSpPr>
          <p:spPr bwMode="auto">
            <a:xfrm>
              <a:off x="7011" y="1966"/>
              <a:ext cx="44" cy="43"/>
            </a:xfrm>
            <a:custGeom>
              <a:avLst/>
              <a:gdLst>
                <a:gd name="T0" fmla="*/ 6 w 56"/>
                <a:gd name="T1" fmla="*/ 56 h 56"/>
                <a:gd name="T2" fmla="*/ 2 w 56"/>
                <a:gd name="T3" fmla="*/ 54 h 56"/>
                <a:gd name="T4" fmla="*/ 2 w 56"/>
                <a:gd name="T5" fmla="*/ 45 h 56"/>
                <a:gd name="T6" fmla="*/ 45 w 56"/>
                <a:gd name="T7" fmla="*/ 3 h 56"/>
                <a:gd name="T8" fmla="*/ 54 w 56"/>
                <a:gd name="T9" fmla="*/ 3 h 56"/>
                <a:gd name="T10" fmla="*/ 54 w 56"/>
                <a:gd name="T11" fmla="*/ 11 h 56"/>
                <a:gd name="T12" fmla="*/ 10 w 56"/>
                <a:gd name="T13" fmla="*/ 54 h 56"/>
                <a:gd name="T14" fmla="*/ 6 w 56"/>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6">
                  <a:moveTo>
                    <a:pt x="6" y="56"/>
                  </a:moveTo>
                  <a:cubicBezTo>
                    <a:pt x="5" y="56"/>
                    <a:pt x="3" y="55"/>
                    <a:pt x="2" y="54"/>
                  </a:cubicBezTo>
                  <a:cubicBezTo>
                    <a:pt x="0" y="51"/>
                    <a:pt x="0" y="48"/>
                    <a:pt x="2" y="45"/>
                  </a:cubicBezTo>
                  <a:cubicBezTo>
                    <a:pt x="45" y="3"/>
                    <a:pt x="45" y="3"/>
                    <a:pt x="45" y="3"/>
                  </a:cubicBezTo>
                  <a:cubicBezTo>
                    <a:pt x="48" y="0"/>
                    <a:pt x="52" y="0"/>
                    <a:pt x="54" y="3"/>
                  </a:cubicBezTo>
                  <a:cubicBezTo>
                    <a:pt x="56" y="5"/>
                    <a:pt x="56" y="9"/>
                    <a:pt x="54" y="11"/>
                  </a:cubicBezTo>
                  <a:cubicBezTo>
                    <a:pt x="10" y="54"/>
                    <a:pt x="10" y="54"/>
                    <a:pt x="10" y="54"/>
                  </a:cubicBezTo>
                  <a:cubicBezTo>
                    <a:pt x="9" y="55"/>
                    <a:pt x="8" y="56"/>
                    <a:pt x="6"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521674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1A63BB-6F24-419F-AA15-6944411CE775}"/>
              </a:ext>
            </a:extLst>
          </p:cNvPr>
          <p:cNvSpPr>
            <a:spLocks noGrp="1"/>
          </p:cNvSpPr>
          <p:nvPr>
            <p:ph type="title"/>
          </p:nvPr>
        </p:nvSpPr>
        <p:spPr>
          <a:xfrm>
            <a:off x="900000" y="720000"/>
            <a:ext cx="8557008" cy="774491"/>
          </a:xfrm>
        </p:spPr>
        <p:txBody>
          <a:bodyPr/>
          <a:lstStyle/>
          <a:p>
            <a:r>
              <a:rPr lang="de-DE" dirty="0"/>
              <a:t>Teilnahme IPCEI | Motivation</a:t>
            </a:r>
          </a:p>
        </p:txBody>
      </p:sp>
      <p:sp>
        <p:nvSpPr>
          <p:cNvPr id="3" name="Foliennummernplatzhalter 2">
            <a:extLst>
              <a:ext uri="{FF2B5EF4-FFF2-40B4-BE49-F238E27FC236}">
                <a16:creationId xmlns:a16="http://schemas.microsoft.com/office/drawing/2014/main" id="{873E52FA-967B-43E6-84F6-8F51BD590FBC}"/>
              </a:ext>
            </a:extLst>
          </p:cNvPr>
          <p:cNvSpPr>
            <a:spLocks noGrp="1"/>
          </p:cNvSpPr>
          <p:nvPr>
            <p:ph type="sldNum" sz="quarter" idx="10"/>
          </p:nvPr>
        </p:nvSpPr>
        <p:spPr>
          <a:xfrm>
            <a:off x="912286" y="6374816"/>
            <a:ext cx="10484464" cy="221932"/>
          </a:xfrm>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smtClean="0">
                <a:solidFill>
                  <a:schemeClr val="accent5"/>
                </a:solidFill>
              </a:rPr>
              <a:pPr algn="l" rtl="0"/>
              <a:t>7</a:t>
            </a:fld>
            <a:r>
              <a:rPr lang="en-GB" sz="1000" b="0" i="0" u="none" baseline="0">
                <a:solidFill>
                  <a:schemeClr val="accent5"/>
                </a:solidFill>
              </a:rPr>
              <a:t> </a:t>
            </a:r>
          </a:p>
        </p:txBody>
      </p:sp>
      <p:sp>
        <p:nvSpPr>
          <p:cNvPr id="4" name="Textplatzhalter 3">
            <a:extLst>
              <a:ext uri="{FF2B5EF4-FFF2-40B4-BE49-F238E27FC236}">
                <a16:creationId xmlns:a16="http://schemas.microsoft.com/office/drawing/2014/main" id="{0E2F8A3A-A9FC-49F3-986E-04497D889E11}"/>
              </a:ext>
            </a:extLst>
          </p:cNvPr>
          <p:cNvSpPr>
            <a:spLocks noGrp="1"/>
          </p:cNvSpPr>
          <p:nvPr>
            <p:ph type="body" sz="quarter" idx="15"/>
          </p:nvPr>
        </p:nvSpPr>
        <p:spPr>
          <a:xfrm>
            <a:off x="1877568" y="1783946"/>
            <a:ext cx="9777857" cy="4535487"/>
          </a:xfrm>
        </p:spPr>
        <p:txBody>
          <a:bodyPr anchor="ctr"/>
          <a:lstStyle/>
          <a:p>
            <a:pPr marL="0" indent="0">
              <a:spcBef>
                <a:spcPts val="3000"/>
              </a:spcBef>
              <a:buNone/>
            </a:pPr>
            <a:r>
              <a:rPr lang="de-DE" u="none" dirty="0">
                <a:solidFill>
                  <a:schemeClr val="tx1"/>
                </a:solidFill>
              </a:rPr>
              <a:t>Aufbau von Marktpositionen in strategisch wichtigen Feldern, deren Erschließung ohne Förderung unwirtschaftlich wäre</a:t>
            </a:r>
          </a:p>
          <a:p>
            <a:pPr marL="0" indent="0">
              <a:spcBef>
                <a:spcPts val="3000"/>
              </a:spcBef>
              <a:buNone/>
            </a:pPr>
            <a:r>
              <a:rPr lang="de-DE" u="none" dirty="0">
                <a:solidFill>
                  <a:schemeClr val="tx1"/>
                </a:solidFill>
              </a:rPr>
              <a:t>Zugang zu einem europäischen Netzwerk und Integration in europäische Wertschöpfungsketten</a:t>
            </a:r>
          </a:p>
          <a:p>
            <a:pPr marL="0" indent="0">
              <a:spcBef>
                <a:spcPts val="3000"/>
              </a:spcBef>
              <a:buNone/>
            </a:pPr>
            <a:r>
              <a:rPr lang="de-DE" u="none" dirty="0">
                <a:solidFill>
                  <a:schemeClr val="tx1"/>
                </a:solidFill>
              </a:rPr>
              <a:t>Staatliche Beihilfen, die den durch die AGVO freigestellten Förderrahmen übersteigen </a:t>
            </a:r>
          </a:p>
          <a:p>
            <a:pPr marL="0" indent="0">
              <a:spcBef>
                <a:spcPts val="3000"/>
              </a:spcBef>
              <a:buNone/>
            </a:pPr>
            <a:r>
              <a:rPr lang="de-DE" u="none" dirty="0">
                <a:solidFill>
                  <a:schemeClr val="tx1"/>
                </a:solidFill>
              </a:rPr>
              <a:t>Stringente Prüfung und Erhalt von Fördermitteln als Qualitätssiegel für Investoren</a:t>
            </a:r>
          </a:p>
          <a:p>
            <a:pPr marL="0" indent="0">
              <a:spcBef>
                <a:spcPts val="3000"/>
              </a:spcBef>
              <a:buNone/>
            </a:pPr>
            <a:r>
              <a:rPr lang="de-DE" u="none" dirty="0">
                <a:solidFill>
                  <a:schemeClr val="tx1"/>
                </a:solidFill>
              </a:rPr>
              <a:t>Stärkung der Sichtbarkeit und Reputation</a:t>
            </a:r>
          </a:p>
        </p:txBody>
      </p:sp>
      <p:grpSp>
        <p:nvGrpSpPr>
          <p:cNvPr id="36" name="Group 504">
            <a:extLst>
              <a:ext uri="{FF2B5EF4-FFF2-40B4-BE49-F238E27FC236}">
                <a16:creationId xmlns:a16="http://schemas.microsoft.com/office/drawing/2014/main" id="{ACD537C0-4EE7-4E0F-BD4E-2CD1B5A5547B}"/>
              </a:ext>
            </a:extLst>
          </p:cNvPr>
          <p:cNvGrpSpPr>
            <a:grpSpLocks noChangeAspect="1"/>
          </p:cNvGrpSpPr>
          <p:nvPr/>
        </p:nvGrpSpPr>
        <p:grpSpPr bwMode="auto">
          <a:xfrm>
            <a:off x="1069942" y="4221088"/>
            <a:ext cx="475200" cy="408446"/>
            <a:chOff x="5539" y="1716"/>
            <a:chExt cx="420" cy="361"/>
          </a:xfrm>
          <a:solidFill>
            <a:schemeClr val="tx2"/>
          </a:solidFill>
        </p:grpSpPr>
        <p:sp>
          <p:nvSpPr>
            <p:cNvPr id="37" name="Freeform 505">
              <a:extLst>
                <a:ext uri="{FF2B5EF4-FFF2-40B4-BE49-F238E27FC236}">
                  <a16:creationId xmlns:a16="http://schemas.microsoft.com/office/drawing/2014/main" id="{5455CF59-6719-4513-8A6B-8E2242CB23EB}"/>
                </a:ext>
              </a:extLst>
            </p:cNvPr>
            <p:cNvSpPr>
              <a:spLocks/>
            </p:cNvSpPr>
            <p:nvPr/>
          </p:nvSpPr>
          <p:spPr bwMode="auto">
            <a:xfrm>
              <a:off x="5539" y="1744"/>
              <a:ext cx="247" cy="39"/>
            </a:xfrm>
            <a:custGeom>
              <a:avLst/>
              <a:gdLst>
                <a:gd name="T0" fmla="*/ 150 w 300"/>
                <a:gd name="T1" fmla="*/ 47 h 47"/>
                <a:gd name="T2" fmla="*/ 0 w 300"/>
                <a:gd name="T3" fmla="*/ 6 h 47"/>
                <a:gd name="T4" fmla="*/ 6 w 300"/>
                <a:gd name="T5" fmla="*/ 0 h 47"/>
                <a:gd name="T6" fmla="*/ 12 w 300"/>
                <a:gd name="T7" fmla="*/ 6 h 47"/>
                <a:gd name="T8" fmla="*/ 150 w 300"/>
                <a:gd name="T9" fmla="*/ 35 h 47"/>
                <a:gd name="T10" fmla="*/ 288 w 300"/>
                <a:gd name="T11" fmla="*/ 6 h 47"/>
                <a:gd name="T12" fmla="*/ 294 w 300"/>
                <a:gd name="T13" fmla="*/ 0 h 47"/>
                <a:gd name="T14" fmla="*/ 300 w 300"/>
                <a:gd name="T15" fmla="*/ 6 h 47"/>
                <a:gd name="T16" fmla="*/ 150 w 300"/>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 h="47">
                  <a:moveTo>
                    <a:pt x="150" y="47"/>
                  </a:moveTo>
                  <a:cubicBezTo>
                    <a:pt x="90" y="47"/>
                    <a:pt x="0" y="36"/>
                    <a:pt x="0" y="6"/>
                  </a:cubicBezTo>
                  <a:cubicBezTo>
                    <a:pt x="0" y="3"/>
                    <a:pt x="3" y="0"/>
                    <a:pt x="6" y="0"/>
                  </a:cubicBezTo>
                  <a:cubicBezTo>
                    <a:pt x="9" y="0"/>
                    <a:pt x="12" y="3"/>
                    <a:pt x="12" y="6"/>
                  </a:cubicBezTo>
                  <a:cubicBezTo>
                    <a:pt x="12" y="16"/>
                    <a:pt x="59" y="35"/>
                    <a:pt x="150" y="35"/>
                  </a:cubicBezTo>
                  <a:cubicBezTo>
                    <a:pt x="240" y="35"/>
                    <a:pt x="288" y="16"/>
                    <a:pt x="288" y="6"/>
                  </a:cubicBezTo>
                  <a:cubicBezTo>
                    <a:pt x="288" y="3"/>
                    <a:pt x="290" y="0"/>
                    <a:pt x="294" y="0"/>
                  </a:cubicBezTo>
                  <a:cubicBezTo>
                    <a:pt x="297" y="0"/>
                    <a:pt x="300" y="3"/>
                    <a:pt x="300" y="6"/>
                  </a:cubicBezTo>
                  <a:cubicBezTo>
                    <a:pt x="300" y="36"/>
                    <a:pt x="210" y="47"/>
                    <a:pt x="150"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506">
              <a:extLst>
                <a:ext uri="{FF2B5EF4-FFF2-40B4-BE49-F238E27FC236}">
                  <a16:creationId xmlns:a16="http://schemas.microsoft.com/office/drawing/2014/main" id="{25105B90-DC64-4050-B238-B70754E1688A}"/>
                </a:ext>
              </a:extLst>
            </p:cNvPr>
            <p:cNvSpPr>
              <a:spLocks/>
            </p:cNvSpPr>
            <p:nvPr/>
          </p:nvSpPr>
          <p:spPr bwMode="auto">
            <a:xfrm>
              <a:off x="5539" y="1716"/>
              <a:ext cx="246" cy="347"/>
            </a:xfrm>
            <a:custGeom>
              <a:avLst/>
              <a:gdLst>
                <a:gd name="T0" fmla="*/ 150 w 299"/>
                <a:gd name="T1" fmla="*/ 421 h 421"/>
                <a:gd name="T2" fmla="*/ 0 w 299"/>
                <a:gd name="T3" fmla="*/ 381 h 421"/>
                <a:gd name="T4" fmla="*/ 0 w 299"/>
                <a:gd name="T5" fmla="*/ 377 h 421"/>
                <a:gd name="T6" fmla="*/ 0 w 299"/>
                <a:gd name="T7" fmla="*/ 44 h 421"/>
                <a:gd name="T8" fmla="*/ 0 w 299"/>
                <a:gd name="T9" fmla="*/ 40 h 421"/>
                <a:gd name="T10" fmla="*/ 150 w 299"/>
                <a:gd name="T11" fmla="*/ 0 h 421"/>
                <a:gd name="T12" fmla="*/ 299 w 299"/>
                <a:gd name="T13" fmla="*/ 40 h 421"/>
                <a:gd name="T14" fmla="*/ 299 w 299"/>
                <a:gd name="T15" fmla="*/ 44 h 421"/>
                <a:gd name="T16" fmla="*/ 299 w 299"/>
                <a:gd name="T17" fmla="*/ 167 h 421"/>
                <a:gd name="T18" fmla="*/ 293 w 299"/>
                <a:gd name="T19" fmla="*/ 173 h 421"/>
                <a:gd name="T20" fmla="*/ 287 w 299"/>
                <a:gd name="T21" fmla="*/ 167 h 421"/>
                <a:gd name="T22" fmla="*/ 287 w 299"/>
                <a:gd name="T23" fmla="*/ 43 h 421"/>
                <a:gd name="T24" fmla="*/ 287 w 299"/>
                <a:gd name="T25" fmla="*/ 41 h 421"/>
                <a:gd name="T26" fmla="*/ 287 w 299"/>
                <a:gd name="T27" fmla="*/ 40 h 421"/>
                <a:gd name="T28" fmla="*/ 150 w 299"/>
                <a:gd name="T29" fmla="*/ 12 h 421"/>
                <a:gd name="T30" fmla="*/ 12 w 299"/>
                <a:gd name="T31" fmla="*/ 40 h 421"/>
                <a:gd name="T32" fmla="*/ 12 w 299"/>
                <a:gd name="T33" fmla="*/ 41 h 421"/>
                <a:gd name="T34" fmla="*/ 12 w 299"/>
                <a:gd name="T35" fmla="*/ 43 h 421"/>
                <a:gd name="T36" fmla="*/ 12 w 299"/>
                <a:gd name="T37" fmla="*/ 378 h 421"/>
                <a:gd name="T38" fmla="*/ 12 w 299"/>
                <a:gd name="T39" fmla="*/ 380 h 421"/>
                <a:gd name="T40" fmla="*/ 12 w 299"/>
                <a:gd name="T41" fmla="*/ 381 h 421"/>
                <a:gd name="T42" fmla="*/ 150 w 299"/>
                <a:gd name="T43" fmla="*/ 409 h 421"/>
                <a:gd name="T44" fmla="*/ 269 w 299"/>
                <a:gd name="T45" fmla="*/ 394 h 421"/>
                <a:gd name="T46" fmla="*/ 277 w 299"/>
                <a:gd name="T47" fmla="*/ 397 h 421"/>
                <a:gd name="T48" fmla="*/ 273 w 299"/>
                <a:gd name="T49" fmla="*/ 405 h 421"/>
                <a:gd name="T50" fmla="*/ 150 w 299"/>
                <a:gd name="T51" fmla="*/ 421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9" h="421">
                  <a:moveTo>
                    <a:pt x="150" y="421"/>
                  </a:moveTo>
                  <a:cubicBezTo>
                    <a:pt x="89" y="421"/>
                    <a:pt x="0" y="410"/>
                    <a:pt x="0" y="381"/>
                  </a:cubicBezTo>
                  <a:cubicBezTo>
                    <a:pt x="0" y="380"/>
                    <a:pt x="0" y="378"/>
                    <a:pt x="0" y="377"/>
                  </a:cubicBezTo>
                  <a:cubicBezTo>
                    <a:pt x="0" y="44"/>
                    <a:pt x="0" y="44"/>
                    <a:pt x="0" y="44"/>
                  </a:cubicBezTo>
                  <a:cubicBezTo>
                    <a:pt x="0" y="43"/>
                    <a:pt x="0" y="41"/>
                    <a:pt x="0" y="40"/>
                  </a:cubicBezTo>
                  <a:cubicBezTo>
                    <a:pt x="0" y="11"/>
                    <a:pt x="89" y="0"/>
                    <a:pt x="150" y="0"/>
                  </a:cubicBezTo>
                  <a:cubicBezTo>
                    <a:pt x="210" y="0"/>
                    <a:pt x="299" y="11"/>
                    <a:pt x="299" y="40"/>
                  </a:cubicBezTo>
                  <a:cubicBezTo>
                    <a:pt x="299" y="41"/>
                    <a:pt x="299" y="43"/>
                    <a:pt x="299" y="44"/>
                  </a:cubicBezTo>
                  <a:cubicBezTo>
                    <a:pt x="299" y="167"/>
                    <a:pt x="299" y="167"/>
                    <a:pt x="299" y="167"/>
                  </a:cubicBezTo>
                  <a:cubicBezTo>
                    <a:pt x="299" y="170"/>
                    <a:pt x="296" y="173"/>
                    <a:pt x="293" y="173"/>
                  </a:cubicBezTo>
                  <a:cubicBezTo>
                    <a:pt x="290" y="173"/>
                    <a:pt x="287" y="170"/>
                    <a:pt x="287" y="167"/>
                  </a:cubicBezTo>
                  <a:cubicBezTo>
                    <a:pt x="287" y="43"/>
                    <a:pt x="287" y="43"/>
                    <a:pt x="287" y="43"/>
                  </a:cubicBezTo>
                  <a:cubicBezTo>
                    <a:pt x="287" y="42"/>
                    <a:pt x="287" y="42"/>
                    <a:pt x="287" y="41"/>
                  </a:cubicBezTo>
                  <a:cubicBezTo>
                    <a:pt x="287" y="41"/>
                    <a:pt x="287" y="40"/>
                    <a:pt x="287" y="40"/>
                  </a:cubicBezTo>
                  <a:cubicBezTo>
                    <a:pt x="287" y="30"/>
                    <a:pt x="240" y="12"/>
                    <a:pt x="150" y="12"/>
                  </a:cubicBezTo>
                  <a:cubicBezTo>
                    <a:pt x="59" y="12"/>
                    <a:pt x="12" y="30"/>
                    <a:pt x="12" y="40"/>
                  </a:cubicBezTo>
                  <a:cubicBezTo>
                    <a:pt x="12" y="40"/>
                    <a:pt x="12" y="41"/>
                    <a:pt x="12" y="41"/>
                  </a:cubicBezTo>
                  <a:cubicBezTo>
                    <a:pt x="12" y="42"/>
                    <a:pt x="12" y="42"/>
                    <a:pt x="12" y="43"/>
                  </a:cubicBezTo>
                  <a:cubicBezTo>
                    <a:pt x="12" y="378"/>
                    <a:pt x="12" y="378"/>
                    <a:pt x="12" y="378"/>
                  </a:cubicBezTo>
                  <a:cubicBezTo>
                    <a:pt x="12" y="379"/>
                    <a:pt x="12" y="379"/>
                    <a:pt x="12" y="380"/>
                  </a:cubicBezTo>
                  <a:cubicBezTo>
                    <a:pt x="12" y="380"/>
                    <a:pt x="12" y="381"/>
                    <a:pt x="12" y="381"/>
                  </a:cubicBezTo>
                  <a:cubicBezTo>
                    <a:pt x="12" y="391"/>
                    <a:pt x="59" y="409"/>
                    <a:pt x="150" y="409"/>
                  </a:cubicBezTo>
                  <a:cubicBezTo>
                    <a:pt x="198" y="409"/>
                    <a:pt x="243" y="403"/>
                    <a:pt x="269" y="394"/>
                  </a:cubicBezTo>
                  <a:cubicBezTo>
                    <a:pt x="272" y="392"/>
                    <a:pt x="275" y="394"/>
                    <a:pt x="277" y="397"/>
                  </a:cubicBezTo>
                  <a:cubicBezTo>
                    <a:pt x="278" y="400"/>
                    <a:pt x="276" y="404"/>
                    <a:pt x="273" y="405"/>
                  </a:cubicBezTo>
                  <a:cubicBezTo>
                    <a:pt x="246" y="415"/>
                    <a:pt x="200" y="421"/>
                    <a:pt x="150" y="4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507">
              <a:extLst>
                <a:ext uri="{FF2B5EF4-FFF2-40B4-BE49-F238E27FC236}">
                  <a16:creationId xmlns:a16="http://schemas.microsoft.com/office/drawing/2014/main" id="{E73701A6-94D3-4450-8310-F40D21AECE7D}"/>
                </a:ext>
              </a:extLst>
            </p:cNvPr>
            <p:cNvSpPr>
              <a:spLocks/>
            </p:cNvSpPr>
            <p:nvPr/>
          </p:nvSpPr>
          <p:spPr bwMode="auto">
            <a:xfrm>
              <a:off x="5539" y="1785"/>
              <a:ext cx="247" cy="38"/>
            </a:xfrm>
            <a:custGeom>
              <a:avLst/>
              <a:gdLst>
                <a:gd name="T0" fmla="*/ 150 w 300"/>
                <a:gd name="T1" fmla="*/ 47 h 47"/>
                <a:gd name="T2" fmla="*/ 0 w 300"/>
                <a:gd name="T3" fmla="*/ 6 h 47"/>
                <a:gd name="T4" fmla="*/ 6 w 300"/>
                <a:gd name="T5" fmla="*/ 0 h 47"/>
                <a:gd name="T6" fmla="*/ 12 w 300"/>
                <a:gd name="T7" fmla="*/ 6 h 47"/>
                <a:gd name="T8" fmla="*/ 150 w 300"/>
                <a:gd name="T9" fmla="*/ 35 h 47"/>
                <a:gd name="T10" fmla="*/ 288 w 300"/>
                <a:gd name="T11" fmla="*/ 6 h 47"/>
                <a:gd name="T12" fmla="*/ 294 w 300"/>
                <a:gd name="T13" fmla="*/ 0 h 47"/>
                <a:gd name="T14" fmla="*/ 300 w 300"/>
                <a:gd name="T15" fmla="*/ 6 h 47"/>
                <a:gd name="T16" fmla="*/ 150 w 300"/>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 h="47">
                  <a:moveTo>
                    <a:pt x="150" y="47"/>
                  </a:moveTo>
                  <a:cubicBezTo>
                    <a:pt x="90" y="47"/>
                    <a:pt x="0" y="36"/>
                    <a:pt x="0" y="6"/>
                  </a:cubicBezTo>
                  <a:cubicBezTo>
                    <a:pt x="0" y="3"/>
                    <a:pt x="3" y="0"/>
                    <a:pt x="6" y="0"/>
                  </a:cubicBezTo>
                  <a:cubicBezTo>
                    <a:pt x="9" y="0"/>
                    <a:pt x="12" y="3"/>
                    <a:pt x="12" y="6"/>
                  </a:cubicBezTo>
                  <a:cubicBezTo>
                    <a:pt x="12" y="16"/>
                    <a:pt x="59" y="35"/>
                    <a:pt x="150" y="35"/>
                  </a:cubicBezTo>
                  <a:cubicBezTo>
                    <a:pt x="240" y="35"/>
                    <a:pt x="288" y="16"/>
                    <a:pt x="288" y="6"/>
                  </a:cubicBezTo>
                  <a:cubicBezTo>
                    <a:pt x="288" y="3"/>
                    <a:pt x="290" y="0"/>
                    <a:pt x="294" y="0"/>
                  </a:cubicBezTo>
                  <a:cubicBezTo>
                    <a:pt x="297" y="0"/>
                    <a:pt x="300" y="3"/>
                    <a:pt x="300" y="6"/>
                  </a:cubicBezTo>
                  <a:cubicBezTo>
                    <a:pt x="300" y="36"/>
                    <a:pt x="210" y="47"/>
                    <a:pt x="150"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508">
              <a:extLst>
                <a:ext uri="{FF2B5EF4-FFF2-40B4-BE49-F238E27FC236}">
                  <a16:creationId xmlns:a16="http://schemas.microsoft.com/office/drawing/2014/main" id="{4B8D70C5-BA75-46E9-8A53-619CEE35EB47}"/>
                </a:ext>
              </a:extLst>
            </p:cNvPr>
            <p:cNvSpPr>
              <a:spLocks/>
            </p:cNvSpPr>
            <p:nvPr/>
          </p:nvSpPr>
          <p:spPr bwMode="auto">
            <a:xfrm>
              <a:off x="5539" y="1825"/>
              <a:ext cx="247" cy="39"/>
            </a:xfrm>
            <a:custGeom>
              <a:avLst/>
              <a:gdLst>
                <a:gd name="T0" fmla="*/ 150 w 300"/>
                <a:gd name="T1" fmla="*/ 47 h 47"/>
                <a:gd name="T2" fmla="*/ 0 w 300"/>
                <a:gd name="T3" fmla="*/ 6 h 47"/>
                <a:gd name="T4" fmla="*/ 6 w 300"/>
                <a:gd name="T5" fmla="*/ 0 h 47"/>
                <a:gd name="T6" fmla="*/ 12 w 300"/>
                <a:gd name="T7" fmla="*/ 6 h 47"/>
                <a:gd name="T8" fmla="*/ 150 w 300"/>
                <a:gd name="T9" fmla="*/ 35 h 47"/>
                <a:gd name="T10" fmla="*/ 288 w 300"/>
                <a:gd name="T11" fmla="*/ 6 h 47"/>
                <a:gd name="T12" fmla="*/ 294 w 300"/>
                <a:gd name="T13" fmla="*/ 0 h 47"/>
                <a:gd name="T14" fmla="*/ 300 w 300"/>
                <a:gd name="T15" fmla="*/ 6 h 47"/>
                <a:gd name="T16" fmla="*/ 150 w 300"/>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0" h="47">
                  <a:moveTo>
                    <a:pt x="150" y="47"/>
                  </a:moveTo>
                  <a:cubicBezTo>
                    <a:pt x="90" y="47"/>
                    <a:pt x="0" y="36"/>
                    <a:pt x="0" y="6"/>
                  </a:cubicBezTo>
                  <a:cubicBezTo>
                    <a:pt x="0" y="3"/>
                    <a:pt x="3" y="0"/>
                    <a:pt x="6" y="0"/>
                  </a:cubicBezTo>
                  <a:cubicBezTo>
                    <a:pt x="9" y="0"/>
                    <a:pt x="12" y="3"/>
                    <a:pt x="12" y="6"/>
                  </a:cubicBezTo>
                  <a:cubicBezTo>
                    <a:pt x="12" y="16"/>
                    <a:pt x="59" y="35"/>
                    <a:pt x="150" y="35"/>
                  </a:cubicBezTo>
                  <a:cubicBezTo>
                    <a:pt x="240" y="35"/>
                    <a:pt x="288" y="16"/>
                    <a:pt x="288" y="6"/>
                  </a:cubicBezTo>
                  <a:cubicBezTo>
                    <a:pt x="288" y="3"/>
                    <a:pt x="290" y="0"/>
                    <a:pt x="294" y="0"/>
                  </a:cubicBezTo>
                  <a:cubicBezTo>
                    <a:pt x="297" y="0"/>
                    <a:pt x="300" y="3"/>
                    <a:pt x="300" y="6"/>
                  </a:cubicBezTo>
                  <a:cubicBezTo>
                    <a:pt x="300" y="36"/>
                    <a:pt x="210" y="47"/>
                    <a:pt x="150"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509">
              <a:extLst>
                <a:ext uri="{FF2B5EF4-FFF2-40B4-BE49-F238E27FC236}">
                  <a16:creationId xmlns:a16="http://schemas.microsoft.com/office/drawing/2014/main" id="{F9574D7F-82E7-44DE-8120-8516E2B7F2D4}"/>
                </a:ext>
              </a:extLst>
            </p:cNvPr>
            <p:cNvSpPr>
              <a:spLocks/>
            </p:cNvSpPr>
            <p:nvPr/>
          </p:nvSpPr>
          <p:spPr bwMode="auto">
            <a:xfrm>
              <a:off x="5539" y="1865"/>
              <a:ext cx="204" cy="39"/>
            </a:xfrm>
            <a:custGeom>
              <a:avLst/>
              <a:gdLst>
                <a:gd name="T0" fmla="*/ 150 w 248"/>
                <a:gd name="T1" fmla="*/ 47 h 47"/>
                <a:gd name="T2" fmla="*/ 0 w 248"/>
                <a:gd name="T3" fmla="*/ 6 h 47"/>
                <a:gd name="T4" fmla="*/ 6 w 248"/>
                <a:gd name="T5" fmla="*/ 0 h 47"/>
                <a:gd name="T6" fmla="*/ 12 w 248"/>
                <a:gd name="T7" fmla="*/ 6 h 47"/>
                <a:gd name="T8" fmla="*/ 150 w 248"/>
                <a:gd name="T9" fmla="*/ 35 h 47"/>
                <a:gd name="T10" fmla="*/ 240 w 248"/>
                <a:gd name="T11" fmla="*/ 27 h 47"/>
                <a:gd name="T12" fmla="*/ 247 w 248"/>
                <a:gd name="T13" fmla="*/ 32 h 47"/>
                <a:gd name="T14" fmla="*/ 242 w 248"/>
                <a:gd name="T15" fmla="*/ 39 h 47"/>
                <a:gd name="T16" fmla="*/ 150 w 248"/>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 h="47">
                  <a:moveTo>
                    <a:pt x="150" y="47"/>
                  </a:moveTo>
                  <a:cubicBezTo>
                    <a:pt x="90" y="47"/>
                    <a:pt x="0" y="36"/>
                    <a:pt x="0" y="6"/>
                  </a:cubicBezTo>
                  <a:cubicBezTo>
                    <a:pt x="0" y="3"/>
                    <a:pt x="3" y="0"/>
                    <a:pt x="6" y="0"/>
                  </a:cubicBezTo>
                  <a:cubicBezTo>
                    <a:pt x="9" y="0"/>
                    <a:pt x="12" y="3"/>
                    <a:pt x="12" y="6"/>
                  </a:cubicBezTo>
                  <a:cubicBezTo>
                    <a:pt x="12" y="16"/>
                    <a:pt x="59" y="35"/>
                    <a:pt x="150" y="35"/>
                  </a:cubicBezTo>
                  <a:cubicBezTo>
                    <a:pt x="183" y="35"/>
                    <a:pt x="215" y="32"/>
                    <a:pt x="240" y="27"/>
                  </a:cubicBezTo>
                  <a:cubicBezTo>
                    <a:pt x="243" y="26"/>
                    <a:pt x="246" y="28"/>
                    <a:pt x="247" y="32"/>
                  </a:cubicBezTo>
                  <a:cubicBezTo>
                    <a:pt x="248" y="35"/>
                    <a:pt x="245" y="38"/>
                    <a:pt x="242" y="39"/>
                  </a:cubicBezTo>
                  <a:cubicBezTo>
                    <a:pt x="216" y="44"/>
                    <a:pt x="183" y="47"/>
                    <a:pt x="150"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510">
              <a:extLst>
                <a:ext uri="{FF2B5EF4-FFF2-40B4-BE49-F238E27FC236}">
                  <a16:creationId xmlns:a16="http://schemas.microsoft.com/office/drawing/2014/main" id="{319448F4-C1CC-4484-A1A4-CDF868992AC7}"/>
                </a:ext>
              </a:extLst>
            </p:cNvPr>
            <p:cNvSpPr>
              <a:spLocks/>
            </p:cNvSpPr>
            <p:nvPr/>
          </p:nvSpPr>
          <p:spPr bwMode="auto">
            <a:xfrm>
              <a:off x="5539" y="1906"/>
              <a:ext cx="188" cy="39"/>
            </a:xfrm>
            <a:custGeom>
              <a:avLst/>
              <a:gdLst>
                <a:gd name="T0" fmla="*/ 150 w 229"/>
                <a:gd name="T1" fmla="*/ 47 h 47"/>
                <a:gd name="T2" fmla="*/ 0 w 229"/>
                <a:gd name="T3" fmla="*/ 6 h 47"/>
                <a:gd name="T4" fmla="*/ 6 w 229"/>
                <a:gd name="T5" fmla="*/ 0 h 47"/>
                <a:gd name="T6" fmla="*/ 12 w 229"/>
                <a:gd name="T7" fmla="*/ 6 h 47"/>
                <a:gd name="T8" fmla="*/ 150 w 229"/>
                <a:gd name="T9" fmla="*/ 35 h 47"/>
                <a:gd name="T10" fmla="*/ 222 w 229"/>
                <a:gd name="T11" fmla="*/ 30 h 47"/>
                <a:gd name="T12" fmla="*/ 229 w 229"/>
                <a:gd name="T13" fmla="*/ 35 h 47"/>
                <a:gd name="T14" fmla="*/ 224 w 229"/>
                <a:gd name="T15" fmla="*/ 42 h 47"/>
                <a:gd name="T16" fmla="*/ 150 w 229"/>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47">
                  <a:moveTo>
                    <a:pt x="150" y="47"/>
                  </a:moveTo>
                  <a:cubicBezTo>
                    <a:pt x="90" y="47"/>
                    <a:pt x="0" y="36"/>
                    <a:pt x="0" y="6"/>
                  </a:cubicBezTo>
                  <a:cubicBezTo>
                    <a:pt x="0" y="3"/>
                    <a:pt x="3" y="0"/>
                    <a:pt x="6" y="0"/>
                  </a:cubicBezTo>
                  <a:cubicBezTo>
                    <a:pt x="9" y="0"/>
                    <a:pt x="12" y="3"/>
                    <a:pt x="12" y="6"/>
                  </a:cubicBezTo>
                  <a:cubicBezTo>
                    <a:pt x="12" y="16"/>
                    <a:pt x="59" y="35"/>
                    <a:pt x="150" y="35"/>
                  </a:cubicBezTo>
                  <a:cubicBezTo>
                    <a:pt x="175" y="35"/>
                    <a:pt x="200" y="33"/>
                    <a:pt x="222" y="30"/>
                  </a:cubicBezTo>
                  <a:cubicBezTo>
                    <a:pt x="225" y="29"/>
                    <a:pt x="228" y="32"/>
                    <a:pt x="229" y="35"/>
                  </a:cubicBezTo>
                  <a:cubicBezTo>
                    <a:pt x="229" y="38"/>
                    <a:pt x="227" y="41"/>
                    <a:pt x="224" y="42"/>
                  </a:cubicBezTo>
                  <a:cubicBezTo>
                    <a:pt x="201" y="45"/>
                    <a:pt x="176" y="47"/>
                    <a:pt x="150"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511">
              <a:extLst>
                <a:ext uri="{FF2B5EF4-FFF2-40B4-BE49-F238E27FC236}">
                  <a16:creationId xmlns:a16="http://schemas.microsoft.com/office/drawing/2014/main" id="{4091E413-59CB-4E37-A85E-E2F9629F686B}"/>
                </a:ext>
              </a:extLst>
            </p:cNvPr>
            <p:cNvSpPr>
              <a:spLocks/>
            </p:cNvSpPr>
            <p:nvPr/>
          </p:nvSpPr>
          <p:spPr bwMode="auto">
            <a:xfrm>
              <a:off x="5539" y="1946"/>
              <a:ext cx="189" cy="39"/>
            </a:xfrm>
            <a:custGeom>
              <a:avLst/>
              <a:gdLst>
                <a:gd name="T0" fmla="*/ 150 w 230"/>
                <a:gd name="T1" fmla="*/ 47 h 47"/>
                <a:gd name="T2" fmla="*/ 0 w 230"/>
                <a:gd name="T3" fmla="*/ 6 h 47"/>
                <a:gd name="T4" fmla="*/ 6 w 230"/>
                <a:gd name="T5" fmla="*/ 0 h 47"/>
                <a:gd name="T6" fmla="*/ 12 w 230"/>
                <a:gd name="T7" fmla="*/ 6 h 47"/>
                <a:gd name="T8" fmla="*/ 150 w 230"/>
                <a:gd name="T9" fmla="*/ 35 h 47"/>
                <a:gd name="T10" fmla="*/ 222 w 230"/>
                <a:gd name="T11" fmla="*/ 30 h 47"/>
                <a:gd name="T12" fmla="*/ 229 w 230"/>
                <a:gd name="T13" fmla="*/ 35 h 47"/>
                <a:gd name="T14" fmla="*/ 224 w 230"/>
                <a:gd name="T15" fmla="*/ 42 h 47"/>
                <a:gd name="T16" fmla="*/ 150 w 230"/>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0" h="47">
                  <a:moveTo>
                    <a:pt x="150" y="47"/>
                  </a:moveTo>
                  <a:cubicBezTo>
                    <a:pt x="90" y="47"/>
                    <a:pt x="0" y="36"/>
                    <a:pt x="0" y="6"/>
                  </a:cubicBezTo>
                  <a:cubicBezTo>
                    <a:pt x="0" y="3"/>
                    <a:pt x="3" y="0"/>
                    <a:pt x="6" y="0"/>
                  </a:cubicBezTo>
                  <a:cubicBezTo>
                    <a:pt x="9" y="0"/>
                    <a:pt x="12" y="3"/>
                    <a:pt x="12" y="6"/>
                  </a:cubicBezTo>
                  <a:cubicBezTo>
                    <a:pt x="12" y="16"/>
                    <a:pt x="59" y="35"/>
                    <a:pt x="150" y="35"/>
                  </a:cubicBezTo>
                  <a:cubicBezTo>
                    <a:pt x="175" y="35"/>
                    <a:pt x="201" y="33"/>
                    <a:pt x="222" y="30"/>
                  </a:cubicBezTo>
                  <a:cubicBezTo>
                    <a:pt x="226" y="29"/>
                    <a:pt x="229" y="32"/>
                    <a:pt x="229" y="35"/>
                  </a:cubicBezTo>
                  <a:cubicBezTo>
                    <a:pt x="230" y="38"/>
                    <a:pt x="227" y="41"/>
                    <a:pt x="224" y="42"/>
                  </a:cubicBezTo>
                  <a:cubicBezTo>
                    <a:pt x="202" y="45"/>
                    <a:pt x="176" y="47"/>
                    <a:pt x="150"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512">
              <a:extLst>
                <a:ext uri="{FF2B5EF4-FFF2-40B4-BE49-F238E27FC236}">
                  <a16:creationId xmlns:a16="http://schemas.microsoft.com/office/drawing/2014/main" id="{0E0B50E4-BD4A-481E-896D-99374D793D51}"/>
                </a:ext>
              </a:extLst>
            </p:cNvPr>
            <p:cNvSpPr>
              <a:spLocks/>
            </p:cNvSpPr>
            <p:nvPr/>
          </p:nvSpPr>
          <p:spPr bwMode="auto">
            <a:xfrm>
              <a:off x="5539" y="1987"/>
              <a:ext cx="202" cy="38"/>
            </a:xfrm>
            <a:custGeom>
              <a:avLst/>
              <a:gdLst>
                <a:gd name="T0" fmla="*/ 150 w 246"/>
                <a:gd name="T1" fmla="*/ 47 h 47"/>
                <a:gd name="T2" fmla="*/ 0 w 246"/>
                <a:gd name="T3" fmla="*/ 6 h 47"/>
                <a:gd name="T4" fmla="*/ 6 w 246"/>
                <a:gd name="T5" fmla="*/ 0 h 47"/>
                <a:gd name="T6" fmla="*/ 12 w 246"/>
                <a:gd name="T7" fmla="*/ 6 h 47"/>
                <a:gd name="T8" fmla="*/ 150 w 246"/>
                <a:gd name="T9" fmla="*/ 35 h 47"/>
                <a:gd name="T10" fmla="*/ 238 w 246"/>
                <a:gd name="T11" fmla="*/ 27 h 47"/>
                <a:gd name="T12" fmla="*/ 245 w 246"/>
                <a:gd name="T13" fmla="*/ 32 h 47"/>
                <a:gd name="T14" fmla="*/ 240 w 246"/>
                <a:gd name="T15" fmla="*/ 39 h 47"/>
                <a:gd name="T16" fmla="*/ 150 w 246"/>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6" h="47">
                  <a:moveTo>
                    <a:pt x="150" y="47"/>
                  </a:moveTo>
                  <a:cubicBezTo>
                    <a:pt x="90" y="47"/>
                    <a:pt x="0" y="36"/>
                    <a:pt x="0" y="6"/>
                  </a:cubicBezTo>
                  <a:cubicBezTo>
                    <a:pt x="0" y="3"/>
                    <a:pt x="3" y="0"/>
                    <a:pt x="6" y="0"/>
                  </a:cubicBezTo>
                  <a:cubicBezTo>
                    <a:pt x="9" y="0"/>
                    <a:pt x="12" y="3"/>
                    <a:pt x="12" y="6"/>
                  </a:cubicBezTo>
                  <a:cubicBezTo>
                    <a:pt x="12" y="16"/>
                    <a:pt x="59" y="35"/>
                    <a:pt x="150" y="35"/>
                  </a:cubicBezTo>
                  <a:cubicBezTo>
                    <a:pt x="182" y="35"/>
                    <a:pt x="213" y="32"/>
                    <a:pt x="238" y="27"/>
                  </a:cubicBezTo>
                  <a:cubicBezTo>
                    <a:pt x="241" y="27"/>
                    <a:pt x="245" y="29"/>
                    <a:pt x="245" y="32"/>
                  </a:cubicBezTo>
                  <a:cubicBezTo>
                    <a:pt x="246" y="35"/>
                    <a:pt x="244" y="38"/>
                    <a:pt x="240" y="39"/>
                  </a:cubicBezTo>
                  <a:cubicBezTo>
                    <a:pt x="214" y="44"/>
                    <a:pt x="183" y="47"/>
                    <a:pt x="150"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513">
              <a:extLst>
                <a:ext uri="{FF2B5EF4-FFF2-40B4-BE49-F238E27FC236}">
                  <a16:creationId xmlns:a16="http://schemas.microsoft.com/office/drawing/2014/main" id="{5F143874-6FAF-4033-848B-9C636BCB01AD}"/>
                </a:ext>
              </a:extLst>
            </p:cNvPr>
            <p:cNvSpPr>
              <a:spLocks noEditPoints="1"/>
            </p:cNvSpPr>
            <p:nvPr/>
          </p:nvSpPr>
          <p:spPr bwMode="auto">
            <a:xfrm>
              <a:off x="5717" y="1834"/>
              <a:ext cx="242" cy="243"/>
            </a:xfrm>
            <a:custGeom>
              <a:avLst/>
              <a:gdLst>
                <a:gd name="T0" fmla="*/ 147 w 294"/>
                <a:gd name="T1" fmla="*/ 295 h 295"/>
                <a:gd name="T2" fmla="*/ 0 w 294"/>
                <a:gd name="T3" fmla="*/ 148 h 295"/>
                <a:gd name="T4" fmla="*/ 147 w 294"/>
                <a:gd name="T5" fmla="*/ 0 h 295"/>
                <a:gd name="T6" fmla="*/ 294 w 294"/>
                <a:gd name="T7" fmla="*/ 148 h 295"/>
                <a:gd name="T8" fmla="*/ 147 w 294"/>
                <a:gd name="T9" fmla="*/ 295 h 295"/>
                <a:gd name="T10" fmla="*/ 147 w 294"/>
                <a:gd name="T11" fmla="*/ 12 h 295"/>
                <a:gd name="T12" fmla="*/ 12 w 294"/>
                <a:gd name="T13" fmla="*/ 148 h 295"/>
                <a:gd name="T14" fmla="*/ 147 w 294"/>
                <a:gd name="T15" fmla="*/ 283 h 295"/>
                <a:gd name="T16" fmla="*/ 282 w 294"/>
                <a:gd name="T17" fmla="*/ 148 h 295"/>
                <a:gd name="T18" fmla="*/ 147 w 294"/>
                <a:gd name="T19" fmla="*/ 12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4" h="295">
                  <a:moveTo>
                    <a:pt x="147" y="295"/>
                  </a:moveTo>
                  <a:cubicBezTo>
                    <a:pt x="66" y="295"/>
                    <a:pt x="0" y="229"/>
                    <a:pt x="0" y="148"/>
                  </a:cubicBezTo>
                  <a:cubicBezTo>
                    <a:pt x="0" y="67"/>
                    <a:pt x="66" y="0"/>
                    <a:pt x="147" y="0"/>
                  </a:cubicBezTo>
                  <a:cubicBezTo>
                    <a:pt x="228" y="0"/>
                    <a:pt x="294" y="67"/>
                    <a:pt x="294" y="148"/>
                  </a:cubicBezTo>
                  <a:cubicBezTo>
                    <a:pt x="294" y="229"/>
                    <a:pt x="228" y="295"/>
                    <a:pt x="147" y="295"/>
                  </a:cubicBezTo>
                  <a:close/>
                  <a:moveTo>
                    <a:pt x="147" y="12"/>
                  </a:moveTo>
                  <a:cubicBezTo>
                    <a:pt x="72" y="12"/>
                    <a:pt x="12" y="73"/>
                    <a:pt x="12" y="148"/>
                  </a:cubicBezTo>
                  <a:cubicBezTo>
                    <a:pt x="12" y="222"/>
                    <a:pt x="72" y="283"/>
                    <a:pt x="147" y="283"/>
                  </a:cubicBezTo>
                  <a:cubicBezTo>
                    <a:pt x="222" y="283"/>
                    <a:pt x="282" y="222"/>
                    <a:pt x="282" y="148"/>
                  </a:cubicBezTo>
                  <a:cubicBezTo>
                    <a:pt x="282" y="73"/>
                    <a:pt x="222" y="12"/>
                    <a:pt x="14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514">
              <a:extLst>
                <a:ext uri="{FF2B5EF4-FFF2-40B4-BE49-F238E27FC236}">
                  <a16:creationId xmlns:a16="http://schemas.microsoft.com/office/drawing/2014/main" id="{735F31CC-72EF-4C0F-8D4E-771056877B15}"/>
                </a:ext>
              </a:extLst>
            </p:cNvPr>
            <p:cNvSpPr>
              <a:spLocks/>
            </p:cNvSpPr>
            <p:nvPr/>
          </p:nvSpPr>
          <p:spPr bwMode="auto">
            <a:xfrm>
              <a:off x="5778" y="1895"/>
              <a:ext cx="88" cy="121"/>
            </a:xfrm>
            <a:custGeom>
              <a:avLst/>
              <a:gdLst>
                <a:gd name="T0" fmla="*/ 106 w 106"/>
                <a:gd name="T1" fmla="*/ 138 h 147"/>
                <a:gd name="T2" fmla="*/ 74 w 106"/>
                <a:gd name="T3" fmla="*/ 147 h 147"/>
                <a:gd name="T4" fmla="*/ 29 w 106"/>
                <a:gd name="T5" fmla="*/ 128 h 147"/>
                <a:gd name="T6" fmla="*/ 14 w 106"/>
                <a:gd name="T7" fmla="*/ 90 h 147"/>
                <a:gd name="T8" fmla="*/ 0 w 106"/>
                <a:gd name="T9" fmla="*/ 90 h 147"/>
                <a:gd name="T10" fmla="*/ 0 w 106"/>
                <a:gd name="T11" fmla="*/ 79 h 147"/>
                <a:gd name="T12" fmla="*/ 13 w 106"/>
                <a:gd name="T13" fmla="*/ 79 h 147"/>
                <a:gd name="T14" fmla="*/ 13 w 106"/>
                <a:gd name="T15" fmla="*/ 76 h 147"/>
                <a:gd name="T16" fmla="*/ 13 w 106"/>
                <a:gd name="T17" fmla="*/ 66 h 147"/>
                <a:gd name="T18" fmla="*/ 0 w 106"/>
                <a:gd name="T19" fmla="*/ 66 h 147"/>
                <a:gd name="T20" fmla="*/ 0 w 106"/>
                <a:gd name="T21" fmla="*/ 55 h 147"/>
                <a:gd name="T22" fmla="*/ 15 w 106"/>
                <a:gd name="T23" fmla="*/ 55 h 147"/>
                <a:gd name="T24" fmla="*/ 32 w 106"/>
                <a:gd name="T25" fmla="*/ 19 h 147"/>
                <a:gd name="T26" fmla="*/ 76 w 106"/>
                <a:gd name="T27" fmla="*/ 0 h 147"/>
                <a:gd name="T28" fmla="*/ 105 w 106"/>
                <a:gd name="T29" fmla="*/ 7 h 147"/>
                <a:gd name="T30" fmla="*/ 100 w 106"/>
                <a:gd name="T31" fmla="*/ 22 h 147"/>
                <a:gd name="T32" fmla="*/ 76 w 106"/>
                <a:gd name="T33" fmla="*/ 16 h 147"/>
                <a:gd name="T34" fmla="*/ 47 w 106"/>
                <a:gd name="T35" fmla="*/ 28 h 147"/>
                <a:gd name="T36" fmla="*/ 34 w 106"/>
                <a:gd name="T37" fmla="*/ 55 h 147"/>
                <a:gd name="T38" fmla="*/ 95 w 106"/>
                <a:gd name="T39" fmla="*/ 55 h 147"/>
                <a:gd name="T40" fmla="*/ 95 w 106"/>
                <a:gd name="T41" fmla="*/ 66 h 147"/>
                <a:gd name="T42" fmla="*/ 32 w 106"/>
                <a:gd name="T43" fmla="*/ 66 h 147"/>
                <a:gd name="T44" fmla="*/ 32 w 106"/>
                <a:gd name="T45" fmla="*/ 75 h 147"/>
                <a:gd name="T46" fmla="*/ 32 w 106"/>
                <a:gd name="T47" fmla="*/ 79 h 147"/>
                <a:gd name="T48" fmla="*/ 95 w 106"/>
                <a:gd name="T49" fmla="*/ 79 h 147"/>
                <a:gd name="T50" fmla="*/ 95 w 106"/>
                <a:gd name="T51" fmla="*/ 90 h 147"/>
                <a:gd name="T52" fmla="*/ 33 w 106"/>
                <a:gd name="T53" fmla="*/ 90 h 147"/>
                <a:gd name="T54" fmla="*/ 45 w 106"/>
                <a:gd name="T55" fmla="*/ 119 h 147"/>
                <a:gd name="T56" fmla="*/ 76 w 106"/>
                <a:gd name="T57" fmla="*/ 131 h 147"/>
                <a:gd name="T58" fmla="*/ 103 w 106"/>
                <a:gd name="T59" fmla="*/ 124 h 147"/>
                <a:gd name="T60" fmla="*/ 106 w 106"/>
                <a:gd name="T61" fmla="*/ 13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147">
                  <a:moveTo>
                    <a:pt x="106" y="138"/>
                  </a:moveTo>
                  <a:cubicBezTo>
                    <a:pt x="100" y="143"/>
                    <a:pt x="88" y="147"/>
                    <a:pt x="74" y="147"/>
                  </a:cubicBezTo>
                  <a:cubicBezTo>
                    <a:pt x="56" y="147"/>
                    <a:pt x="40" y="140"/>
                    <a:pt x="29" y="128"/>
                  </a:cubicBezTo>
                  <a:cubicBezTo>
                    <a:pt x="21" y="119"/>
                    <a:pt x="16" y="106"/>
                    <a:pt x="14" y="90"/>
                  </a:cubicBezTo>
                  <a:cubicBezTo>
                    <a:pt x="0" y="90"/>
                    <a:pt x="0" y="90"/>
                    <a:pt x="0" y="90"/>
                  </a:cubicBezTo>
                  <a:cubicBezTo>
                    <a:pt x="0" y="79"/>
                    <a:pt x="0" y="79"/>
                    <a:pt x="0" y="79"/>
                  </a:cubicBezTo>
                  <a:cubicBezTo>
                    <a:pt x="13" y="79"/>
                    <a:pt x="13" y="79"/>
                    <a:pt x="13" y="79"/>
                  </a:cubicBezTo>
                  <a:cubicBezTo>
                    <a:pt x="13" y="78"/>
                    <a:pt x="13" y="77"/>
                    <a:pt x="13" y="76"/>
                  </a:cubicBezTo>
                  <a:cubicBezTo>
                    <a:pt x="13" y="73"/>
                    <a:pt x="13" y="69"/>
                    <a:pt x="13" y="66"/>
                  </a:cubicBezTo>
                  <a:cubicBezTo>
                    <a:pt x="0" y="66"/>
                    <a:pt x="0" y="66"/>
                    <a:pt x="0" y="66"/>
                  </a:cubicBezTo>
                  <a:cubicBezTo>
                    <a:pt x="0" y="55"/>
                    <a:pt x="0" y="55"/>
                    <a:pt x="0" y="55"/>
                  </a:cubicBezTo>
                  <a:cubicBezTo>
                    <a:pt x="15" y="55"/>
                    <a:pt x="15" y="55"/>
                    <a:pt x="15" y="55"/>
                  </a:cubicBezTo>
                  <a:cubicBezTo>
                    <a:pt x="17" y="40"/>
                    <a:pt x="24" y="27"/>
                    <a:pt x="32" y="19"/>
                  </a:cubicBezTo>
                  <a:cubicBezTo>
                    <a:pt x="44" y="7"/>
                    <a:pt x="58" y="0"/>
                    <a:pt x="76" y="0"/>
                  </a:cubicBezTo>
                  <a:cubicBezTo>
                    <a:pt x="89" y="0"/>
                    <a:pt x="99" y="4"/>
                    <a:pt x="105" y="7"/>
                  </a:cubicBezTo>
                  <a:cubicBezTo>
                    <a:pt x="100" y="22"/>
                    <a:pt x="100" y="22"/>
                    <a:pt x="100" y="22"/>
                  </a:cubicBezTo>
                  <a:cubicBezTo>
                    <a:pt x="95" y="19"/>
                    <a:pt x="86" y="16"/>
                    <a:pt x="76" y="16"/>
                  </a:cubicBezTo>
                  <a:cubicBezTo>
                    <a:pt x="64" y="16"/>
                    <a:pt x="55" y="20"/>
                    <a:pt x="47" y="28"/>
                  </a:cubicBezTo>
                  <a:cubicBezTo>
                    <a:pt x="41" y="34"/>
                    <a:pt x="36" y="44"/>
                    <a:pt x="34" y="55"/>
                  </a:cubicBezTo>
                  <a:cubicBezTo>
                    <a:pt x="95" y="55"/>
                    <a:pt x="95" y="55"/>
                    <a:pt x="95" y="55"/>
                  </a:cubicBezTo>
                  <a:cubicBezTo>
                    <a:pt x="95" y="66"/>
                    <a:pt x="95" y="66"/>
                    <a:pt x="95" y="66"/>
                  </a:cubicBezTo>
                  <a:cubicBezTo>
                    <a:pt x="32" y="66"/>
                    <a:pt x="32" y="66"/>
                    <a:pt x="32" y="66"/>
                  </a:cubicBezTo>
                  <a:cubicBezTo>
                    <a:pt x="32" y="69"/>
                    <a:pt x="32" y="72"/>
                    <a:pt x="32" y="75"/>
                  </a:cubicBezTo>
                  <a:cubicBezTo>
                    <a:pt x="32" y="77"/>
                    <a:pt x="32" y="78"/>
                    <a:pt x="32" y="79"/>
                  </a:cubicBezTo>
                  <a:cubicBezTo>
                    <a:pt x="95" y="79"/>
                    <a:pt x="95" y="79"/>
                    <a:pt x="95" y="79"/>
                  </a:cubicBezTo>
                  <a:cubicBezTo>
                    <a:pt x="95" y="90"/>
                    <a:pt x="95" y="90"/>
                    <a:pt x="95" y="90"/>
                  </a:cubicBezTo>
                  <a:cubicBezTo>
                    <a:pt x="33" y="90"/>
                    <a:pt x="33" y="90"/>
                    <a:pt x="33" y="90"/>
                  </a:cubicBezTo>
                  <a:cubicBezTo>
                    <a:pt x="35" y="103"/>
                    <a:pt x="39" y="112"/>
                    <a:pt x="45" y="119"/>
                  </a:cubicBezTo>
                  <a:cubicBezTo>
                    <a:pt x="53" y="127"/>
                    <a:pt x="64" y="131"/>
                    <a:pt x="76" y="131"/>
                  </a:cubicBezTo>
                  <a:cubicBezTo>
                    <a:pt x="87" y="131"/>
                    <a:pt x="98" y="127"/>
                    <a:pt x="103" y="124"/>
                  </a:cubicBezTo>
                  <a:lnTo>
                    <a:pt x="106"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47" name="Group 78">
            <a:extLst>
              <a:ext uri="{FF2B5EF4-FFF2-40B4-BE49-F238E27FC236}">
                <a16:creationId xmlns:a16="http://schemas.microsoft.com/office/drawing/2014/main" id="{6B893D20-1DF9-4CC4-A005-28CED4425446}"/>
              </a:ext>
            </a:extLst>
          </p:cNvPr>
          <p:cNvGrpSpPr>
            <a:grpSpLocks noChangeAspect="1"/>
          </p:cNvGrpSpPr>
          <p:nvPr/>
        </p:nvGrpSpPr>
        <p:grpSpPr bwMode="auto">
          <a:xfrm>
            <a:off x="1027668" y="2184539"/>
            <a:ext cx="475200" cy="487805"/>
            <a:chOff x="3789" y="695"/>
            <a:chExt cx="377" cy="387"/>
          </a:xfrm>
          <a:solidFill>
            <a:schemeClr val="tx2"/>
          </a:solidFill>
        </p:grpSpPr>
        <p:sp>
          <p:nvSpPr>
            <p:cNvPr id="48" name="Freeform 79">
              <a:extLst>
                <a:ext uri="{FF2B5EF4-FFF2-40B4-BE49-F238E27FC236}">
                  <a16:creationId xmlns:a16="http://schemas.microsoft.com/office/drawing/2014/main" id="{0A2C39CC-1503-4974-9F1E-9CA39CD15601}"/>
                </a:ext>
              </a:extLst>
            </p:cNvPr>
            <p:cNvSpPr>
              <a:spLocks/>
            </p:cNvSpPr>
            <p:nvPr/>
          </p:nvSpPr>
          <p:spPr bwMode="auto">
            <a:xfrm>
              <a:off x="3789" y="731"/>
              <a:ext cx="351" cy="351"/>
            </a:xfrm>
            <a:custGeom>
              <a:avLst/>
              <a:gdLst>
                <a:gd name="T0" fmla="*/ 210 w 420"/>
                <a:gd name="T1" fmla="*/ 420 h 420"/>
                <a:gd name="T2" fmla="*/ 0 w 420"/>
                <a:gd name="T3" fmla="*/ 210 h 420"/>
                <a:gd name="T4" fmla="*/ 210 w 420"/>
                <a:gd name="T5" fmla="*/ 0 h 420"/>
                <a:gd name="T6" fmla="*/ 307 w 420"/>
                <a:gd name="T7" fmla="*/ 24 h 420"/>
                <a:gd name="T8" fmla="*/ 310 w 420"/>
                <a:gd name="T9" fmla="*/ 32 h 420"/>
                <a:gd name="T10" fmla="*/ 301 w 420"/>
                <a:gd name="T11" fmla="*/ 35 h 420"/>
                <a:gd name="T12" fmla="*/ 210 w 420"/>
                <a:gd name="T13" fmla="*/ 12 h 420"/>
                <a:gd name="T14" fmla="*/ 12 w 420"/>
                <a:gd name="T15" fmla="*/ 210 h 420"/>
                <a:gd name="T16" fmla="*/ 210 w 420"/>
                <a:gd name="T17" fmla="*/ 408 h 420"/>
                <a:gd name="T18" fmla="*/ 408 w 420"/>
                <a:gd name="T19" fmla="*/ 210 h 420"/>
                <a:gd name="T20" fmla="*/ 377 w 420"/>
                <a:gd name="T21" fmla="*/ 104 h 420"/>
                <a:gd name="T22" fmla="*/ 379 w 420"/>
                <a:gd name="T23" fmla="*/ 96 h 420"/>
                <a:gd name="T24" fmla="*/ 387 w 420"/>
                <a:gd name="T25" fmla="*/ 97 h 420"/>
                <a:gd name="T26" fmla="*/ 420 w 420"/>
                <a:gd name="T27" fmla="*/ 210 h 420"/>
                <a:gd name="T28" fmla="*/ 210 w 420"/>
                <a:gd name="T29"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420">
                  <a:moveTo>
                    <a:pt x="210" y="420"/>
                  </a:moveTo>
                  <a:cubicBezTo>
                    <a:pt x="94" y="420"/>
                    <a:pt x="0" y="326"/>
                    <a:pt x="0" y="210"/>
                  </a:cubicBezTo>
                  <a:cubicBezTo>
                    <a:pt x="0" y="94"/>
                    <a:pt x="94" y="0"/>
                    <a:pt x="210" y="0"/>
                  </a:cubicBezTo>
                  <a:cubicBezTo>
                    <a:pt x="244" y="0"/>
                    <a:pt x="277" y="8"/>
                    <a:pt x="307" y="24"/>
                  </a:cubicBezTo>
                  <a:cubicBezTo>
                    <a:pt x="310" y="25"/>
                    <a:pt x="311" y="29"/>
                    <a:pt x="310" y="32"/>
                  </a:cubicBezTo>
                  <a:cubicBezTo>
                    <a:pt x="308" y="35"/>
                    <a:pt x="304" y="36"/>
                    <a:pt x="301" y="35"/>
                  </a:cubicBezTo>
                  <a:cubicBezTo>
                    <a:pt x="273" y="20"/>
                    <a:pt x="242" y="12"/>
                    <a:pt x="210" y="12"/>
                  </a:cubicBezTo>
                  <a:cubicBezTo>
                    <a:pt x="101" y="12"/>
                    <a:pt x="12" y="101"/>
                    <a:pt x="12" y="210"/>
                  </a:cubicBezTo>
                  <a:cubicBezTo>
                    <a:pt x="12" y="319"/>
                    <a:pt x="101" y="408"/>
                    <a:pt x="210" y="408"/>
                  </a:cubicBezTo>
                  <a:cubicBezTo>
                    <a:pt x="319" y="408"/>
                    <a:pt x="408" y="319"/>
                    <a:pt x="408" y="210"/>
                  </a:cubicBezTo>
                  <a:cubicBezTo>
                    <a:pt x="408" y="172"/>
                    <a:pt x="397" y="136"/>
                    <a:pt x="377" y="104"/>
                  </a:cubicBezTo>
                  <a:cubicBezTo>
                    <a:pt x="375" y="101"/>
                    <a:pt x="376" y="97"/>
                    <a:pt x="379" y="96"/>
                  </a:cubicBezTo>
                  <a:cubicBezTo>
                    <a:pt x="382" y="94"/>
                    <a:pt x="385" y="95"/>
                    <a:pt x="387" y="97"/>
                  </a:cubicBezTo>
                  <a:cubicBezTo>
                    <a:pt x="408" y="131"/>
                    <a:pt x="420" y="170"/>
                    <a:pt x="420" y="210"/>
                  </a:cubicBezTo>
                  <a:cubicBezTo>
                    <a:pt x="420" y="326"/>
                    <a:pt x="326" y="420"/>
                    <a:pt x="210" y="4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80">
              <a:extLst>
                <a:ext uri="{FF2B5EF4-FFF2-40B4-BE49-F238E27FC236}">
                  <a16:creationId xmlns:a16="http://schemas.microsoft.com/office/drawing/2014/main" id="{0E77B914-A216-4A13-8DC9-01C6D9427ECF}"/>
                </a:ext>
              </a:extLst>
            </p:cNvPr>
            <p:cNvSpPr>
              <a:spLocks/>
            </p:cNvSpPr>
            <p:nvPr/>
          </p:nvSpPr>
          <p:spPr bwMode="auto">
            <a:xfrm>
              <a:off x="3840" y="782"/>
              <a:ext cx="249" cy="249"/>
            </a:xfrm>
            <a:custGeom>
              <a:avLst/>
              <a:gdLst>
                <a:gd name="T0" fmla="*/ 149 w 298"/>
                <a:gd name="T1" fmla="*/ 298 h 298"/>
                <a:gd name="T2" fmla="*/ 0 w 298"/>
                <a:gd name="T3" fmla="*/ 149 h 298"/>
                <a:gd name="T4" fmla="*/ 149 w 298"/>
                <a:gd name="T5" fmla="*/ 0 h 298"/>
                <a:gd name="T6" fmla="*/ 229 w 298"/>
                <a:gd name="T7" fmla="*/ 23 h 298"/>
                <a:gd name="T8" fmla="*/ 231 w 298"/>
                <a:gd name="T9" fmla="*/ 31 h 298"/>
                <a:gd name="T10" fmla="*/ 222 w 298"/>
                <a:gd name="T11" fmla="*/ 33 h 298"/>
                <a:gd name="T12" fmla="*/ 149 w 298"/>
                <a:gd name="T13" fmla="*/ 12 h 298"/>
                <a:gd name="T14" fmla="*/ 12 w 298"/>
                <a:gd name="T15" fmla="*/ 149 h 298"/>
                <a:gd name="T16" fmla="*/ 149 w 298"/>
                <a:gd name="T17" fmla="*/ 286 h 298"/>
                <a:gd name="T18" fmla="*/ 286 w 298"/>
                <a:gd name="T19" fmla="*/ 149 h 298"/>
                <a:gd name="T20" fmla="*/ 258 w 298"/>
                <a:gd name="T21" fmla="*/ 66 h 298"/>
                <a:gd name="T22" fmla="*/ 259 w 298"/>
                <a:gd name="T23" fmla="*/ 57 h 298"/>
                <a:gd name="T24" fmla="*/ 268 w 298"/>
                <a:gd name="T25" fmla="*/ 58 h 298"/>
                <a:gd name="T26" fmla="*/ 298 w 298"/>
                <a:gd name="T27" fmla="*/ 149 h 298"/>
                <a:gd name="T28" fmla="*/ 149 w 298"/>
                <a:gd name="T29"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8" h="298">
                  <a:moveTo>
                    <a:pt x="149" y="298"/>
                  </a:moveTo>
                  <a:cubicBezTo>
                    <a:pt x="67" y="298"/>
                    <a:pt x="0" y="231"/>
                    <a:pt x="0" y="149"/>
                  </a:cubicBezTo>
                  <a:cubicBezTo>
                    <a:pt x="0" y="67"/>
                    <a:pt x="67" y="0"/>
                    <a:pt x="149" y="0"/>
                  </a:cubicBezTo>
                  <a:cubicBezTo>
                    <a:pt x="177" y="0"/>
                    <a:pt x="205" y="8"/>
                    <a:pt x="229" y="23"/>
                  </a:cubicBezTo>
                  <a:cubicBezTo>
                    <a:pt x="232" y="25"/>
                    <a:pt x="232" y="28"/>
                    <a:pt x="231" y="31"/>
                  </a:cubicBezTo>
                  <a:cubicBezTo>
                    <a:pt x="229" y="34"/>
                    <a:pt x="225" y="35"/>
                    <a:pt x="222" y="33"/>
                  </a:cubicBezTo>
                  <a:cubicBezTo>
                    <a:pt x="200" y="19"/>
                    <a:pt x="175" y="12"/>
                    <a:pt x="149" y="12"/>
                  </a:cubicBezTo>
                  <a:cubicBezTo>
                    <a:pt x="73" y="12"/>
                    <a:pt x="12" y="73"/>
                    <a:pt x="12" y="149"/>
                  </a:cubicBezTo>
                  <a:cubicBezTo>
                    <a:pt x="12" y="225"/>
                    <a:pt x="73" y="286"/>
                    <a:pt x="149" y="286"/>
                  </a:cubicBezTo>
                  <a:cubicBezTo>
                    <a:pt x="225" y="286"/>
                    <a:pt x="286" y="225"/>
                    <a:pt x="286" y="149"/>
                  </a:cubicBezTo>
                  <a:cubicBezTo>
                    <a:pt x="286" y="119"/>
                    <a:pt x="277" y="90"/>
                    <a:pt x="258" y="66"/>
                  </a:cubicBezTo>
                  <a:cubicBezTo>
                    <a:pt x="256" y="63"/>
                    <a:pt x="257" y="59"/>
                    <a:pt x="259" y="57"/>
                  </a:cubicBezTo>
                  <a:cubicBezTo>
                    <a:pt x="262" y="55"/>
                    <a:pt x="266" y="56"/>
                    <a:pt x="268" y="58"/>
                  </a:cubicBezTo>
                  <a:cubicBezTo>
                    <a:pt x="288" y="85"/>
                    <a:pt x="298" y="116"/>
                    <a:pt x="298" y="149"/>
                  </a:cubicBezTo>
                  <a:cubicBezTo>
                    <a:pt x="298" y="231"/>
                    <a:pt x="231" y="298"/>
                    <a:pt x="149" y="2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81">
              <a:extLst>
                <a:ext uri="{FF2B5EF4-FFF2-40B4-BE49-F238E27FC236}">
                  <a16:creationId xmlns:a16="http://schemas.microsoft.com/office/drawing/2014/main" id="{742BF9E7-EA16-4361-A210-53BB5731D9B6}"/>
                </a:ext>
              </a:extLst>
            </p:cNvPr>
            <p:cNvSpPr>
              <a:spLocks noEditPoints="1"/>
            </p:cNvSpPr>
            <p:nvPr/>
          </p:nvSpPr>
          <p:spPr bwMode="auto">
            <a:xfrm>
              <a:off x="3887" y="829"/>
              <a:ext cx="155" cy="155"/>
            </a:xfrm>
            <a:custGeom>
              <a:avLst/>
              <a:gdLst>
                <a:gd name="T0" fmla="*/ 93 w 186"/>
                <a:gd name="T1" fmla="*/ 186 h 186"/>
                <a:gd name="T2" fmla="*/ 0 w 186"/>
                <a:gd name="T3" fmla="*/ 93 h 186"/>
                <a:gd name="T4" fmla="*/ 93 w 186"/>
                <a:gd name="T5" fmla="*/ 0 h 186"/>
                <a:gd name="T6" fmla="*/ 186 w 186"/>
                <a:gd name="T7" fmla="*/ 93 h 186"/>
                <a:gd name="T8" fmla="*/ 93 w 186"/>
                <a:gd name="T9" fmla="*/ 186 h 186"/>
                <a:gd name="T10" fmla="*/ 93 w 186"/>
                <a:gd name="T11" fmla="*/ 12 h 186"/>
                <a:gd name="T12" fmla="*/ 12 w 186"/>
                <a:gd name="T13" fmla="*/ 93 h 186"/>
                <a:gd name="T14" fmla="*/ 93 w 186"/>
                <a:gd name="T15" fmla="*/ 174 h 186"/>
                <a:gd name="T16" fmla="*/ 174 w 186"/>
                <a:gd name="T17" fmla="*/ 93 h 186"/>
                <a:gd name="T18" fmla="*/ 93 w 186"/>
                <a:gd name="T19" fmla="*/ 1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186">
                  <a:moveTo>
                    <a:pt x="93" y="186"/>
                  </a:moveTo>
                  <a:cubicBezTo>
                    <a:pt x="42" y="186"/>
                    <a:pt x="0" y="144"/>
                    <a:pt x="0" y="93"/>
                  </a:cubicBezTo>
                  <a:cubicBezTo>
                    <a:pt x="0" y="42"/>
                    <a:pt x="42" y="0"/>
                    <a:pt x="93" y="0"/>
                  </a:cubicBezTo>
                  <a:cubicBezTo>
                    <a:pt x="144" y="0"/>
                    <a:pt x="186" y="42"/>
                    <a:pt x="186" y="93"/>
                  </a:cubicBezTo>
                  <a:cubicBezTo>
                    <a:pt x="186" y="144"/>
                    <a:pt x="144" y="186"/>
                    <a:pt x="93" y="186"/>
                  </a:cubicBezTo>
                  <a:close/>
                  <a:moveTo>
                    <a:pt x="93" y="12"/>
                  </a:moveTo>
                  <a:cubicBezTo>
                    <a:pt x="48" y="12"/>
                    <a:pt x="12" y="48"/>
                    <a:pt x="12" y="93"/>
                  </a:cubicBezTo>
                  <a:cubicBezTo>
                    <a:pt x="12" y="138"/>
                    <a:pt x="48" y="174"/>
                    <a:pt x="93" y="174"/>
                  </a:cubicBezTo>
                  <a:cubicBezTo>
                    <a:pt x="138" y="174"/>
                    <a:pt x="174" y="138"/>
                    <a:pt x="174" y="93"/>
                  </a:cubicBezTo>
                  <a:cubicBezTo>
                    <a:pt x="174" y="48"/>
                    <a:pt x="138" y="12"/>
                    <a:pt x="9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Oval 82">
              <a:extLst>
                <a:ext uri="{FF2B5EF4-FFF2-40B4-BE49-F238E27FC236}">
                  <a16:creationId xmlns:a16="http://schemas.microsoft.com/office/drawing/2014/main" id="{B11A51EA-0536-4BEB-AAC6-670A094421DE}"/>
                </a:ext>
              </a:extLst>
            </p:cNvPr>
            <p:cNvSpPr>
              <a:spLocks noChangeArrowheads="1"/>
            </p:cNvSpPr>
            <p:nvPr/>
          </p:nvSpPr>
          <p:spPr bwMode="auto">
            <a:xfrm>
              <a:off x="3941" y="883"/>
              <a:ext cx="47" cy="4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83">
              <a:extLst>
                <a:ext uri="{FF2B5EF4-FFF2-40B4-BE49-F238E27FC236}">
                  <a16:creationId xmlns:a16="http://schemas.microsoft.com/office/drawing/2014/main" id="{B9011898-CFC8-4673-A0B7-74AD1C7A0395}"/>
                </a:ext>
              </a:extLst>
            </p:cNvPr>
            <p:cNvSpPr>
              <a:spLocks noEditPoints="1"/>
            </p:cNvSpPr>
            <p:nvPr/>
          </p:nvSpPr>
          <p:spPr bwMode="auto">
            <a:xfrm>
              <a:off x="3936" y="878"/>
              <a:ext cx="57" cy="57"/>
            </a:xfrm>
            <a:custGeom>
              <a:avLst/>
              <a:gdLst>
                <a:gd name="T0" fmla="*/ 34 w 68"/>
                <a:gd name="T1" fmla="*/ 68 h 68"/>
                <a:gd name="T2" fmla="*/ 0 w 68"/>
                <a:gd name="T3" fmla="*/ 34 h 68"/>
                <a:gd name="T4" fmla="*/ 34 w 68"/>
                <a:gd name="T5" fmla="*/ 0 h 68"/>
                <a:gd name="T6" fmla="*/ 68 w 68"/>
                <a:gd name="T7" fmla="*/ 34 h 68"/>
                <a:gd name="T8" fmla="*/ 34 w 68"/>
                <a:gd name="T9" fmla="*/ 68 h 68"/>
                <a:gd name="T10" fmla="*/ 34 w 68"/>
                <a:gd name="T11" fmla="*/ 12 h 68"/>
                <a:gd name="T12" fmla="*/ 12 w 68"/>
                <a:gd name="T13" fmla="*/ 34 h 68"/>
                <a:gd name="T14" fmla="*/ 34 w 68"/>
                <a:gd name="T15" fmla="*/ 56 h 68"/>
                <a:gd name="T16" fmla="*/ 56 w 68"/>
                <a:gd name="T17" fmla="*/ 34 h 68"/>
                <a:gd name="T18" fmla="*/ 34 w 68"/>
                <a:gd name="T19" fmla="*/ 1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68"/>
                  </a:moveTo>
                  <a:cubicBezTo>
                    <a:pt x="15" y="68"/>
                    <a:pt x="0" y="53"/>
                    <a:pt x="0" y="34"/>
                  </a:cubicBezTo>
                  <a:cubicBezTo>
                    <a:pt x="0" y="15"/>
                    <a:pt x="15" y="0"/>
                    <a:pt x="34" y="0"/>
                  </a:cubicBezTo>
                  <a:cubicBezTo>
                    <a:pt x="52" y="0"/>
                    <a:pt x="68" y="15"/>
                    <a:pt x="68" y="34"/>
                  </a:cubicBezTo>
                  <a:cubicBezTo>
                    <a:pt x="68" y="53"/>
                    <a:pt x="52" y="68"/>
                    <a:pt x="34" y="68"/>
                  </a:cubicBezTo>
                  <a:close/>
                  <a:moveTo>
                    <a:pt x="34" y="12"/>
                  </a:moveTo>
                  <a:cubicBezTo>
                    <a:pt x="22" y="12"/>
                    <a:pt x="12" y="22"/>
                    <a:pt x="12" y="34"/>
                  </a:cubicBezTo>
                  <a:cubicBezTo>
                    <a:pt x="12" y="46"/>
                    <a:pt x="22" y="56"/>
                    <a:pt x="34" y="56"/>
                  </a:cubicBezTo>
                  <a:cubicBezTo>
                    <a:pt x="46" y="56"/>
                    <a:pt x="56" y="46"/>
                    <a:pt x="56" y="34"/>
                  </a:cubicBezTo>
                  <a:cubicBezTo>
                    <a:pt x="56" y="22"/>
                    <a:pt x="46" y="12"/>
                    <a:pt x="3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Line 84">
              <a:extLst>
                <a:ext uri="{FF2B5EF4-FFF2-40B4-BE49-F238E27FC236}">
                  <a16:creationId xmlns:a16="http://schemas.microsoft.com/office/drawing/2014/main" id="{100C7D4A-7ABB-4CBB-841B-DB8907AF2EC3}"/>
                </a:ext>
              </a:extLst>
            </p:cNvPr>
            <p:cNvSpPr>
              <a:spLocks noChangeShapeType="1"/>
            </p:cNvSpPr>
            <p:nvPr/>
          </p:nvSpPr>
          <p:spPr bwMode="auto">
            <a:xfrm>
              <a:off x="4078" y="83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Line 85">
              <a:extLst>
                <a:ext uri="{FF2B5EF4-FFF2-40B4-BE49-F238E27FC236}">
                  <a16:creationId xmlns:a16="http://schemas.microsoft.com/office/drawing/2014/main" id="{A7FDF443-6826-47AA-A715-B6DF44D96E14}"/>
                </a:ext>
              </a:extLst>
            </p:cNvPr>
            <p:cNvSpPr>
              <a:spLocks noChangeShapeType="1"/>
            </p:cNvSpPr>
            <p:nvPr/>
          </p:nvSpPr>
          <p:spPr bwMode="auto">
            <a:xfrm>
              <a:off x="4078" y="838"/>
              <a:ext cx="0" cy="0"/>
            </a:xfrm>
            <a:prstGeom prst="line">
              <a:avLst/>
            </a:prstGeom>
            <a:grpFill/>
            <a:ln w="15875" cap="rnd">
              <a:solidFill>
                <a:srgbClr val="1D1D1B"/>
              </a:solidFill>
              <a:prstDash val="solid"/>
              <a:round/>
              <a:headEnd/>
              <a:tailEnd/>
            </a:ln>
            <a:extLst/>
          </p:spPr>
          <p:txBody>
            <a:bodyPr vert="horz" wrap="square" lIns="91440" tIns="45720" rIns="91440" bIns="45720" numCol="1" anchor="t" anchorCtr="0" compatLnSpc="1">
              <a:prstTxWarp prst="textNoShape">
                <a:avLst/>
              </a:prstTxWarp>
            </a:bodyPr>
            <a:lstStyle/>
            <a:p>
              <a:endParaRPr lang="de-DE"/>
            </a:p>
          </p:txBody>
        </p:sp>
        <p:sp>
          <p:nvSpPr>
            <p:cNvPr id="55" name="Freeform 86">
              <a:extLst>
                <a:ext uri="{FF2B5EF4-FFF2-40B4-BE49-F238E27FC236}">
                  <a16:creationId xmlns:a16="http://schemas.microsoft.com/office/drawing/2014/main" id="{B3916FDC-6567-490B-9748-C0908F4E2B85}"/>
                </a:ext>
              </a:extLst>
            </p:cNvPr>
            <p:cNvSpPr>
              <a:spLocks noEditPoints="1"/>
            </p:cNvSpPr>
            <p:nvPr/>
          </p:nvSpPr>
          <p:spPr bwMode="auto">
            <a:xfrm>
              <a:off x="4023" y="695"/>
              <a:ext cx="143" cy="147"/>
            </a:xfrm>
            <a:custGeom>
              <a:avLst/>
              <a:gdLst>
                <a:gd name="T0" fmla="*/ 6 w 171"/>
                <a:gd name="T1" fmla="*/ 176 h 176"/>
                <a:gd name="T2" fmla="*/ 2 w 171"/>
                <a:gd name="T3" fmla="*/ 174 h 176"/>
                <a:gd name="T4" fmla="*/ 0 w 171"/>
                <a:gd name="T5" fmla="*/ 170 h 176"/>
                <a:gd name="T6" fmla="*/ 5 w 171"/>
                <a:gd name="T7" fmla="*/ 89 h 176"/>
                <a:gd name="T8" fmla="*/ 7 w 171"/>
                <a:gd name="T9" fmla="*/ 85 h 176"/>
                <a:gd name="T10" fmla="*/ 87 w 171"/>
                <a:gd name="T11" fmla="*/ 2 h 176"/>
                <a:gd name="T12" fmla="*/ 93 w 171"/>
                <a:gd name="T13" fmla="*/ 1 h 176"/>
                <a:gd name="T14" fmla="*/ 97 w 171"/>
                <a:gd name="T15" fmla="*/ 6 h 176"/>
                <a:gd name="T16" fmla="*/ 104 w 171"/>
                <a:gd name="T17" fmla="*/ 69 h 176"/>
                <a:gd name="T18" fmla="*/ 165 w 171"/>
                <a:gd name="T19" fmla="*/ 71 h 176"/>
                <a:gd name="T20" fmla="*/ 170 w 171"/>
                <a:gd name="T21" fmla="*/ 75 h 176"/>
                <a:gd name="T22" fmla="*/ 169 w 171"/>
                <a:gd name="T23" fmla="*/ 81 h 176"/>
                <a:gd name="T24" fmla="*/ 89 w 171"/>
                <a:gd name="T25" fmla="*/ 164 h 176"/>
                <a:gd name="T26" fmla="*/ 85 w 171"/>
                <a:gd name="T27" fmla="*/ 166 h 176"/>
                <a:gd name="T28" fmla="*/ 7 w 171"/>
                <a:gd name="T29" fmla="*/ 176 h 176"/>
                <a:gd name="T30" fmla="*/ 6 w 171"/>
                <a:gd name="T31" fmla="*/ 176 h 176"/>
                <a:gd name="T32" fmla="*/ 17 w 171"/>
                <a:gd name="T33" fmla="*/ 92 h 176"/>
                <a:gd name="T34" fmla="*/ 13 w 171"/>
                <a:gd name="T35" fmla="*/ 163 h 176"/>
                <a:gd name="T36" fmla="*/ 81 w 171"/>
                <a:gd name="T37" fmla="*/ 155 h 176"/>
                <a:gd name="T38" fmla="*/ 151 w 171"/>
                <a:gd name="T39" fmla="*/ 83 h 176"/>
                <a:gd name="T40" fmla="*/ 98 w 171"/>
                <a:gd name="T41" fmla="*/ 81 h 176"/>
                <a:gd name="T42" fmla="*/ 92 w 171"/>
                <a:gd name="T43" fmla="*/ 75 h 176"/>
                <a:gd name="T44" fmla="*/ 87 w 171"/>
                <a:gd name="T45" fmla="*/ 20 h 176"/>
                <a:gd name="T46" fmla="*/ 17 w 171"/>
                <a:gd name="T47" fmla="*/ 9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1" h="176">
                  <a:moveTo>
                    <a:pt x="6" y="176"/>
                  </a:moveTo>
                  <a:cubicBezTo>
                    <a:pt x="5" y="176"/>
                    <a:pt x="3" y="176"/>
                    <a:pt x="2" y="174"/>
                  </a:cubicBezTo>
                  <a:cubicBezTo>
                    <a:pt x="1" y="173"/>
                    <a:pt x="0" y="172"/>
                    <a:pt x="0" y="170"/>
                  </a:cubicBezTo>
                  <a:cubicBezTo>
                    <a:pt x="5" y="89"/>
                    <a:pt x="5" y="89"/>
                    <a:pt x="5" y="89"/>
                  </a:cubicBezTo>
                  <a:cubicBezTo>
                    <a:pt x="5" y="88"/>
                    <a:pt x="6" y="86"/>
                    <a:pt x="7" y="85"/>
                  </a:cubicBezTo>
                  <a:cubicBezTo>
                    <a:pt x="87" y="2"/>
                    <a:pt x="87" y="2"/>
                    <a:pt x="87" y="2"/>
                  </a:cubicBezTo>
                  <a:cubicBezTo>
                    <a:pt x="88" y="1"/>
                    <a:pt x="91" y="0"/>
                    <a:pt x="93" y="1"/>
                  </a:cubicBezTo>
                  <a:cubicBezTo>
                    <a:pt x="95" y="2"/>
                    <a:pt x="97" y="3"/>
                    <a:pt x="97" y="6"/>
                  </a:cubicBezTo>
                  <a:cubicBezTo>
                    <a:pt x="104" y="69"/>
                    <a:pt x="104" y="69"/>
                    <a:pt x="104" y="69"/>
                  </a:cubicBezTo>
                  <a:cubicBezTo>
                    <a:pt x="165" y="71"/>
                    <a:pt x="165" y="71"/>
                    <a:pt x="165" y="71"/>
                  </a:cubicBezTo>
                  <a:cubicBezTo>
                    <a:pt x="167" y="71"/>
                    <a:pt x="169" y="73"/>
                    <a:pt x="170" y="75"/>
                  </a:cubicBezTo>
                  <a:cubicBezTo>
                    <a:pt x="171" y="77"/>
                    <a:pt x="170" y="80"/>
                    <a:pt x="169" y="81"/>
                  </a:cubicBezTo>
                  <a:cubicBezTo>
                    <a:pt x="89" y="164"/>
                    <a:pt x="89" y="164"/>
                    <a:pt x="89" y="164"/>
                  </a:cubicBezTo>
                  <a:cubicBezTo>
                    <a:pt x="88" y="165"/>
                    <a:pt x="86" y="166"/>
                    <a:pt x="85" y="166"/>
                  </a:cubicBezTo>
                  <a:cubicBezTo>
                    <a:pt x="7" y="176"/>
                    <a:pt x="7" y="176"/>
                    <a:pt x="7" y="176"/>
                  </a:cubicBezTo>
                  <a:cubicBezTo>
                    <a:pt x="7" y="176"/>
                    <a:pt x="7" y="176"/>
                    <a:pt x="6" y="176"/>
                  </a:cubicBezTo>
                  <a:close/>
                  <a:moveTo>
                    <a:pt x="17" y="92"/>
                  </a:moveTo>
                  <a:cubicBezTo>
                    <a:pt x="13" y="163"/>
                    <a:pt x="13" y="163"/>
                    <a:pt x="13" y="163"/>
                  </a:cubicBezTo>
                  <a:cubicBezTo>
                    <a:pt x="81" y="155"/>
                    <a:pt x="81" y="155"/>
                    <a:pt x="81" y="155"/>
                  </a:cubicBezTo>
                  <a:cubicBezTo>
                    <a:pt x="151" y="83"/>
                    <a:pt x="151" y="83"/>
                    <a:pt x="151" y="83"/>
                  </a:cubicBezTo>
                  <a:cubicBezTo>
                    <a:pt x="98" y="81"/>
                    <a:pt x="98" y="81"/>
                    <a:pt x="98" y="81"/>
                  </a:cubicBezTo>
                  <a:cubicBezTo>
                    <a:pt x="95" y="81"/>
                    <a:pt x="93" y="78"/>
                    <a:pt x="92" y="75"/>
                  </a:cubicBezTo>
                  <a:cubicBezTo>
                    <a:pt x="87" y="20"/>
                    <a:pt x="87" y="20"/>
                    <a:pt x="87" y="20"/>
                  </a:cubicBezTo>
                  <a:lnTo>
                    <a:pt x="17"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87">
              <a:extLst>
                <a:ext uri="{FF2B5EF4-FFF2-40B4-BE49-F238E27FC236}">
                  <a16:creationId xmlns:a16="http://schemas.microsoft.com/office/drawing/2014/main" id="{7496129A-1802-4723-8BC5-2C518D2045D1}"/>
                </a:ext>
              </a:extLst>
            </p:cNvPr>
            <p:cNvSpPr>
              <a:spLocks/>
            </p:cNvSpPr>
            <p:nvPr/>
          </p:nvSpPr>
          <p:spPr bwMode="auto">
            <a:xfrm>
              <a:off x="3956" y="752"/>
              <a:ext cx="155" cy="161"/>
            </a:xfrm>
            <a:custGeom>
              <a:avLst/>
              <a:gdLst>
                <a:gd name="T0" fmla="*/ 7 w 185"/>
                <a:gd name="T1" fmla="*/ 193 h 193"/>
                <a:gd name="T2" fmla="*/ 2 w 185"/>
                <a:gd name="T3" fmla="*/ 191 h 193"/>
                <a:gd name="T4" fmla="*/ 2 w 185"/>
                <a:gd name="T5" fmla="*/ 183 h 193"/>
                <a:gd name="T6" fmla="*/ 174 w 185"/>
                <a:gd name="T7" fmla="*/ 3 h 193"/>
                <a:gd name="T8" fmla="*/ 182 w 185"/>
                <a:gd name="T9" fmla="*/ 2 h 193"/>
                <a:gd name="T10" fmla="*/ 183 w 185"/>
                <a:gd name="T11" fmla="*/ 11 h 193"/>
                <a:gd name="T12" fmla="*/ 11 w 185"/>
                <a:gd name="T13" fmla="*/ 191 h 193"/>
                <a:gd name="T14" fmla="*/ 7 w 185"/>
                <a:gd name="T15" fmla="*/ 193 h 1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193">
                  <a:moveTo>
                    <a:pt x="7" y="193"/>
                  </a:moveTo>
                  <a:cubicBezTo>
                    <a:pt x="5" y="193"/>
                    <a:pt x="4" y="192"/>
                    <a:pt x="2" y="191"/>
                  </a:cubicBezTo>
                  <a:cubicBezTo>
                    <a:pt x="0" y="189"/>
                    <a:pt x="0" y="185"/>
                    <a:pt x="2" y="183"/>
                  </a:cubicBezTo>
                  <a:cubicBezTo>
                    <a:pt x="174" y="3"/>
                    <a:pt x="174" y="3"/>
                    <a:pt x="174" y="3"/>
                  </a:cubicBezTo>
                  <a:cubicBezTo>
                    <a:pt x="176" y="0"/>
                    <a:pt x="180" y="0"/>
                    <a:pt x="182" y="2"/>
                  </a:cubicBezTo>
                  <a:cubicBezTo>
                    <a:pt x="185" y="5"/>
                    <a:pt x="185" y="9"/>
                    <a:pt x="183" y="11"/>
                  </a:cubicBezTo>
                  <a:cubicBezTo>
                    <a:pt x="11" y="191"/>
                    <a:pt x="11" y="191"/>
                    <a:pt x="11" y="191"/>
                  </a:cubicBezTo>
                  <a:cubicBezTo>
                    <a:pt x="10" y="192"/>
                    <a:pt x="8" y="193"/>
                    <a:pt x="7"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57" name="Group 127">
            <a:extLst>
              <a:ext uri="{FF2B5EF4-FFF2-40B4-BE49-F238E27FC236}">
                <a16:creationId xmlns:a16="http://schemas.microsoft.com/office/drawing/2014/main" id="{22C9DE60-D873-444C-BA30-31762594DEDC}"/>
              </a:ext>
            </a:extLst>
          </p:cNvPr>
          <p:cNvGrpSpPr>
            <a:grpSpLocks noChangeAspect="1"/>
          </p:cNvGrpSpPr>
          <p:nvPr/>
        </p:nvGrpSpPr>
        <p:grpSpPr bwMode="auto">
          <a:xfrm>
            <a:off x="1004773" y="5013176"/>
            <a:ext cx="475200" cy="499039"/>
            <a:chOff x="5957" y="757"/>
            <a:chExt cx="299" cy="314"/>
          </a:xfrm>
          <a:solidFill>
            <a:schemeClr val="tx2"/>
          </a:solidFill>
        </p:grpSpPr>
        <p:sp>
          <p:nvSpPr>
            <p:cNvPr id="58" name="Freeform 128">
              <a:extLst>
                <a:ext uri="{FF2B5EF4-FFF2-40B4-BE49-F238E27FC236}">
                  <a16:creationId xmlns:a16="http://schemas.microsoft.com/office/drawing/2014/main" id="{79303D61-B165-48E6-AB61-5CBDCDA97136}"/>
                </a:ext>
              </a:extLst>
            </p:cNvPr>
            <p:cNvSpPr>
              <a:spLocks/>
            </p:cNvSpPr>
            <p:nvPr/>
          </p:nvSpPr>
          <p:spPr bwMode="auto">
            <a:xfrm>
              <a:off x="6038" y="910"/>
              <a:ext cx="128" cy="122"/>
            </a:xfrm>
            <a:custGeom>
              <a:avLst/>
              <a:gdLst>
                <a:gd name="T0" fmla="*/ 44 w 128"/>
                <a:gd name="T1" fmla="*/ 40 h 122"/>
                <a:gd name="T2" fmla="*/ 63 w 128"/>
                <a:gd name="T3" fmla="*/ 0 h 122"/>
                <a:gd name="T4" fmla="*/ 83 w 128"/>
                <a:gd name="T5" fmla="*/ 40 h 122"/>
                <a:gd name="T6" fmla="*/ 128 w 128"/>
                <a:gd name="T7" fmla="*/ 46 h 122"/>
                <a:gd name="T8" fmla="*/ 97 w 128"/>
                <a:gd name="T9" fmla="*/ 77 h 122"/>
                <a:gd name="T10" fmla="*/ 105 w 128"/>
                <a:gd name="T11" fmla="*/ 121 h 122"/>
                <a:gd name="T12" fmla="*/ 65 w 128"/>
                <a:gd name="T13" fmla="*/ 101 h 122"/>
                <a:gd name="T14" fmla="*/ 26 w 128"/>
                <a:gd name="T15" fmla="*/ 122 h 122"/>
                <a:gd name="T16" fmla="*/ 33 w 128"/>
                <a:gd name="T17" fmla="*/ 78 h 122"/>
                <a:gd name="T18" fmla="*/ 0 w 128"/>
                <a:gd name="T19" fmla="*/ 48 h 122"/>
                <a:gd name="T20" fmla="*/ 44 w 128"/>
                <a:gd name="T21" fmla="*/ 4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22">
                  <a:moveTo>
                    <a:pt x="44" y="40"/>
                  </a:moveTo>
                  <a:lnTo>
                    <a:pt x="63" y="0"/>
                  </a:lnTo>
                  <a:lnTo>
                    <a:pt x="83" y="40"/>
                  </a:lnTo>
                  <a:lnTo>
                    <a:pt x="128" y="46"/>
                  </a:lnTo>
                  <a:lnTo>
                    <a:pt x="97" y="77"/>
                  </a:lnTo>
                  <a:lnTo>
                    <a:pt x="105" y="121"/>
                  </a:lnTo>
                  <a:lnTo>
                    <a:pt x="65" y="101"/>
                  </a:lnTo>
                  <a:lnTo>
                    <a:pt x="26" y="122"/>
                  </a:lnTo>
                  <a:lnTo>
                    <a:pt x="33" y="78"/>
                  </a:lnTo>
                  <a:lnTo>
                    <a:pt x="0" y="48"/>
                  </a:lnTo>
                  <a:lnTo>
                    <a:pt x="44"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129">
              <a:extLst>
                <a:ext uri="{FF2B5EF4-FFF2-40B4-BE49-F238E27FC236}">
                  <a16:creationId xmlns:a16="http://schemas.microsoft.com/office/drawing/2014/main" id="{7E18756A-5B6E-4D83-8BFF-3DDAF3944D8B}"/>
                </a:ext>
              </a:extLst>
            </p:cNvPr>
            <p:cNvSpPr>
              <a:spLocks noEditPoints="1"/>
            </p:cNvSpPr>
            <p:nvPr/>
          </p:nvSpPr>
          <p:spPr bwMode="auto">
            <a:xfrm>
              <a:off x="5957" y="757"/>
              <a:ext cx="299" cy="314"/>
            </a:xfrm>
            <a:custGeom>
              <a:avLst/>
              <a:gdLst>
                <a:gd name="T0" fmla="*/ 221 w 459"/>
                <a:gd name="T1" fmla="*/ 483 h 483"/>
                <a:gd name="T2" fmla="*/ 73 w 459"/>
                <a:gd name="T3" fmla="*/ 335 h 483"/>
                <a:gd name="T4" fmla="*/ 106 w 459"/>
                <a:gd name="T5" fmla="*/ 241 h 483"/>
                <a:gd name="T6" fmla="*/ 1 w 459"/>
                <a:gd name="T7" fmla="*/ 51 h 483"/>
                <a:gd name="T8" fmla="*/ 0 w 459"/>
                <a:gd name="T9" fmla="*/ 47 h 483"/>
                <a:gd name="T10" fmla="*/ 4 w 459"/>
                <a:gd name="T11" fmla="*/ 43 h 483"/>
                <a:gd name="T12" fmla="*/ 34 w 459"/>
                <a:gd name="T13" fmla="*/ 29 h 483"/>
                <a:gd name="T14" fmla="*/ 46 w 459"/>
                <a:gd name="T15" fmla="*/ 22 h 483"/>
                <a:gd name="T16" fmla="*/ 79 w 459"/>
                <a:gd name="T17" fmla="*/ 1 h 483"/>
                <a:gd name="T18" fmla="*/ 84 w 459"/>
                <a:gd name="T19" fmla="*/ 0 h 483"/>
                <a:gd name="T20" fmla="*/ 88 w 459"/>
                <a:gd name="T21" fmla="*/ 3 h 483"/>
                <a:gd name="T22" fmla="*/ 191 w 459"/>
                <a:gd name="T23" fmla="*/ 190 h 483"/>
                <a:gd name="T24" fmla="*/ 266 w 459"/>
                <a:gd name="T25" fmla="*/ 193 h 483"/>
                <a:gd name="T26" fmla="*/ 371 w 459"/>
                <a:gd name="T27" fmla="*/ 3 h 483"/>
                <a:gd name="T28" fmla="*/ 375 w 459"/>
                <a:gd name="T29" fmla="*/ 0 h 483"/>
                <a:gd name="T30" fmla="*/ 380 w 459"/>
                <a:gd name="T31" fmla="*/ 1 h 483"/>
                <a:gd name="T32" fmla="*/ 413 w 459"/>
                <a:gd name="T33" fmla="*/ 22 h 483"/>
                <a:gd name="T34" fmla="*/ 422 w 459"/>
                <a:gd name="T35" fmla="*/ 27 h 483"/>
                <a:gd name="T36" fmla="*/ 456 w 459"/>
                <a:gd name="T37" fmla="*/ 43 h 483"/>
                <a:gd name="T38" fmla="*/ 459 w 459"/>
                <a:gd name="T39" fmla="*/ 47 h 483"/>
                <a:gd name="T40" fmla="*/ 458 w 459"/>
                <a:gd name="T41" fmla="*/ 51 h 483"/>
                <a:gd name="T42" fmla="*/ 346 w 459"/>
                <a:gd name="T43" fmla="*/ 255 h 483"/>
                <a:gd name="T44" fmla="*/ 369 w 459"/>
                <a:gd name="T45" fmla="*/ 335 h 483"/>
                <a:gd name="T46" fmla="*/ 221 w 459"/>
                <a:gd name="T47" fmla="*/ 483 h 483"/>
                <a:gd name="T48" fmla="*/ 14 w 459"/>
                <a:gd name="T49" fmla="*/ 51 h 483"/>
                <a:gd name="T50" fmla="*/ 119 w 459"/>
                <a:gd name="T51" fmla="*/ 239 h 483"/>
                <a:gd name="T52" fmla="*/ 118 w 459"/>
                <a:gd name="T53" fmla="*/ 246 h 483"/>
                <a:gd name="T54" fmla="*/ 85 w 459"/>
                <a:gd name="T55" fmla="*/ 335 h 483"/>
                <a:gd name="T56" fmla="*/ 221 w 459"/>
                <a:gd name="T57" fmla="*/ 471 h 483"/>
                <a:gd name="T58" fmla="*/ 357 w 459"/>
                <a:gd name="T59" fmla="*/ 335 h 483"/>
                <a:gd name="T60" fmla="*/ 334 w 459"/>
                <a:gd name="T61" fmla="*/ 258 h 483"/>
                <a:gd name="T62" fmla="*/ 333 w 459"/>
                <a:gd name="T63" fmla="*/ 252 h 483"/>
                <a:gd name="T64" fmla="*/ 445 w 459"/>
                <a:gd name="T65" fmla="*/ 51 h 483"/>
                <a:gd name="T66" fmla="*/ 416 w 459"/>
                <a:gd name="T67" fmla="*/ 38 h 483"/>
                <a:gd name="T68" fmla="*/ 416 w 459"/>
                <a:gd name="T69" fmla="*/ 37 h 483"/>
                <a:gd name="T70" fmla="*/ 407 w 459"/>
                <a:gd name="T71" fmla="*/ 32 h 483"/>
                <a:gd name="T72" fmla="*/ 407 w 459"/>
                <a:gd name="T73" fmla="*/ 32 h 483"/>
                <a:gd name="T74" fmla="*/ 379 w 459"/>
                <a:gd name="T75" fmla="*/ 15 h 483"/>
                <a:gd name="T76" fmla="*/ 274 w 459"/>
                <a:gd name="T77" fmla="*/ 204 h 483"/>
                <a:gd name="T78" fmla="*/ 267 w 459"/>
                <a:gd name="T79" fmla="*/ 206 h 483"/>
                <a:gd name="T80" fmla="*/ 189 w 459"/>
                <a:gd name="T81" fmla="*/ 202 h 483"/>
                <a:gd name="T82" fmla="*/ 183 w 459"/>
                <a:gd name="T83" fmla="*/ 199 h 483"/>
                <a:gd name="T84" fmla="*/ 80 w 459"/>
                <a:gd name="T85" fmla="*/ 15 h 483"/>
                <a:gd name="T86" fmla="*/ 52 w 459"/>
                <a:gd name="T87" fmla="*/ 32 h 483"/>
                <a:gd name="T88" fmla="*/ 40 w 459"/>
                <a:gd name="T89" fmla="*/ 39 h 483"/>
                <a:gd name="T90" fmla="*/ 40 w 459"/>
                <a:gd name="T91" fmla="*/ 40 h 483"/>
                <a:gd name="T92" fmla="*/ 14 w 459"/>
                <a:gd name="T93" fmla="*/ 51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483">
                  <a:moveTo>
                    <a:pt x="221" y="483"/>
                  </a:moveTo>
                  <a:cubicBezTo>
                    <a:pt x="139" y="483"/>
                    <a:pt x="73" y="416"/>
                    <a:pt x="73" y="335"/>
                  </a:cubicBezTo>
                  <a:cubicBezTo>
                    <a:pt x="73" y="301"/>
                    <a:pt x="85" y="268"/>
                    <a:pt x="106" y="241"/>
                  </a:cubicBezTo>
                  <a:cubicBezTo>
                    <a:pt x="1" y="51"/>
                    <a:pt x="1" y="51"/>
                    <a:pt x="1" y="51"/>
                  </a:cubicBezTo>
                  <a:cubicBezTo>
                    <a:pt x="0" y="50"/>
                    <a:pt x="0" y="48"/>
                    <a:pt x="0" y="47"/>
                  </a:cubicBezTo>
                  <a:cubicBezTo>
                    <a:pt x="1" y="45"/>
                    <a:pt x="2" y="44"/>
                    <a:pt x="4" y="43"/>
                  </a:cubicBezTo>
                  <a:cubicBezTo>
                    <a:pt x="34" y="29"/>
                    <a:pt x="34" y="29"/>
                    <a:pt x="34" y="29"/>
                  </a:cubicBezTo>
                  <a:cubicBezTo>
                    <a:pt x="46" y="22"/>
                    <a:pt x="46" y="22"/>
                    <a:pt x="46" y="22"/>
                  </a:cubicBezTo>
                  <a:cubicBezTo>
                    <a:pt x="79" y="1"/>
                    <a:pt x="79" y="1"/>
                    <a:pt x="79" y="1"/>
                  </a:cubicBezTo>
                  <a:cubicBezTo>
                    <a:pt x="81" y="0"/>
                    <a:pt x="82" y="0"/>
                    <a:pt x="84" y="0"/>
                  </a:cubicBezTo>
                  <a:cubicBezTo>
                    <a:pt x="86" y="1"/>
                    <a:pt x="87" y="2"/>
                    <a:pt x="88" y="3"/>
                  </a:cubicBezTo>
                  <a:cubicBezTo>
                    <a:pt x="191" y="190"/>
                    <a:pt x="191" y="190"/>
                    <a:pt x="191" y="190"/>
                  </a:cubicBezTo>
                  <a:cubicBezTo>
                    <a:pt x="216" y="185"/>
                    <a:pt x="242" y="186"/>
                    <a:pt x="266" y="193"/>
                  </a:cubicBezTo>
                  <a:cubicBezTo>
                    <a:pt x="371" y="3"/>
                    <a:pt x="371" y="3"/>
                    <a:pt x="371" y="3"/>
                  </a:cubicBezTo>
                  <a:cubicBezTo>
                    <a:pt x="372" y="2"/>
                    <a:pt x="373" y="1"/>
                    <a:pt x="375" y="0"/>
                  </a:cubicBezTo>
                  <a:cubicBezTo>
                    <a:pt x="377" y="0"/>
                    <a:pt x="378" y="0"/>
                    <a:pt x="380" y="1"/>
                  </a:cubicBezTo>
                  <a:cubicBezTo>
                    <a:pt x="413" y="22"/>
                    <a:pt x="413" y="22"/>
                    <a:pt x="413" y="22"/>
                  </a:cubicBezTo>
                  <a:cubicBezTo>
                    <a:pt x="422" y="27"/>
                    <a:pt x="422" y="27"/>
                    <a:pt x="422" y="27"/>
                  </a:cubicBezTo>
                  <a:cubicBezTo>
                    <a:pt x="456" y="43"/>
                    <a:pt x="456" y="43"/>
                    <a:pt x="456" y="43"/>
                  </a:cubicBezTo>
                  <a:cubicBezTo>
                    <a:pt x="457" y="44"/>
                    <a:pt x="458" y="45"/>
                    <a:pt x="459" y="47"/>
                  </a:cubicBezTo>
                  <a:cubicBezTo>
                    <a:pt x="459" y="48"/>
                    <a:pt x="459" y="50"/>
                    <a:pt x="458" y="51"/>
                  </a:cubicBezTo>
                  <a:cubicBezTo>
                    <a:pt x="346" y="255"/>
                    <a:pt x="346" y="255"/>
                    <a:pt x="346" y="255"/>
                  </a:cubicBezTo>
                  <a:cubicBezTo>
                    <a:pt x="361" y="278"/>
                    <a:pt x="369" y="306"/>
                    <a:pt x="369" y="335"/>
                  </a:cubicBezTo>
                  <a:cubicBezTo>
                    <a:pt x="369" y="416"/>
                    <a:pt x="303" y="483"/>
                    <a:pt x="221" y="483"/>
                  </a:cubicBezTo>
                  <a:close/>
                  <a:moveTo>
                    <a:pt x="14" y="51"/>
                  </a:moveTo>
                  <a:cubicBezTo>
                    <a:pt x="119" y="239"/>
                    <a:pt x="119" y="239"/>
                    <a:pt x="119" y="239"/>
                  </a:cubicBezTo>
                  <a:cubicBezTo>
                    <a:pt x="120" y="241"/>
                    <a:pt x="120" y="244"/>
                    <a:pt x="118" y="246"/>
                  </a:cubicBezTo>
                  <a:cubicBezTo>
                    <a:pt x="97" y="271"/>
                    <a:pt x="85" y="302"/>
                    <a:pt x="85" y="335"/>
                  </a:cubicBezTo>
                  <a:cubicBezTo>
                    <a:pt x="85" y="410"/>
                    <a:pt x="146" y="471"/>
                    <a:pt x="221" y="471"/>
                  </a:cubicBezTo>
                  <a:cubicBezTo>
                    <a:pt x="296" y="471"/>
                    <a:pt x="357" y="410"/>
                    <a:pt x="357" y="335"/>
                  </a:cubicBezTo>
                  <a:cubicBezTo>
                    <a:pt x="357" y="307"/>
                    <a:pt x="349" y="281"/>
                    <a:pt x="334" y="258"/>
                  </a:cubicBezTo>
                  <a:cubicBezTo>
                    <a:pt x="332" y="256"/>
                    <a:pt x="332" y="254"/>
                    <a:pt x="333" y="252"/>
                  </a:cubicBezTo>
                  <a:cubicBezTo>
                    <a:pt x="445" y="51"/>
                    <a:pt x="445" y="51"/>
                    <a:pt x="445" y="51"/>
                  </a:cubicBezTo>
                  <a:cubicBezTo>
                    <a:pt x="416" y="38"/>
                    <a:pt x="416" y="38"/>
                    <a:pt x="416" y="38"/>
                  </a:cubicBezTo>
                  <a:cubicBezTo>
                    <a:pt x="416" y="37"/>
                    <a:pt x="416" y="37"/>
                    <a:pt x="416" y="37"/>
                  </a:cubicBezTo>
                  <a:cubicBezTo>
                    <a:pt x="407" y="32"/>
                    <a:pt x="407" y="32"/>
                    <a:pt x="407" y="32"/>
                  </a:cubicBezTo>
                  <a:cubicBezTo>
                    <a:pt x="407" y="32"/>
                    <a:pt x="407" y="32"/>
                    <a:pt x="407" y="32"/>
                  </a:cubicBezTo>
                  <a:cubicBezTo>
                    <a:pt x="379" y="15"/>
                    <a:pt x="379" y="15"/>
                    <a:pt x="379" y="15"/>
                  </a:cubicBezTo>
                  <a:cubicBezTo>
                    <a:pt x="274" y="204"/>
                    <a:pt x="274" y="204"/>
                    <a:pt x="274" y="204"/>
                  </a:cubicBezTo>
                  <a:cubicBezTo>
                    <a:pt x="272" y="206"/>
                    <a:pt x="269" y="207"/>
                    <a:pt x="267" y="206"/>
                  </a:cubicBezTo>
                  <a:cubicBezTo>
                    <a:pt x="242" y="198"/>
                    <a:pt x="215" y="196"/>
                    <a:pt x="189" y="202"/>
                  </a:cubicBezTo>
                  <a:cubicBezTo>
                    <a:pt x="187" y="203"/>
                    <a:pt x="184" y="202"/>
                    <a:pt x="183" y="199"/>
                  </a:cubicBezTo>
                  <a:cubicBezTo>
                    <a:pt x="80" y="15"/>
                    <a:pt x="80" y="15"/>
                    <a:pt x="80" y="15"/>
                  </a:cubicBezTo>
                  <a:cubicBezTo>
                    <a:pt x="52" y="32"/>
                    <a:pt x="52" y="32"/>
                    <a:pt x="52" y="32"/>
                  </a:cubicBezTo>
                  <a:cubicBezTo>
                    <a:pt x="40" y="39"/>
                    <a:pt x="40" y="39"/>
                    <a:pt x="40" y="39"/>
                  </a:cubicBezTo>
                  <a:cubicBezTo>
                    <a:pt x="40" y="40"/>
                    <a:pt x="40" y="40"/>
                    <a:pt x="40" y="40"/>
                  </a:cubicBezTo>
                  <a:lnTo>
                    <a:pt x="14"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130">
              <a:extLst>
                <a:ext uri="{FF2B5EF4-FFF2-40B4-BE49-F238E27FC236}">
                  <a16:creationId xmlns:a16="http://schemas.microsoft.com/office/drawing/2014/main" id="{DC0EF963-D0D2-4CD9-A0AA-A5E064789DDA}"/>
                </a:ext>
              </a:extLst>
            </p:cNvPr>
            <p:cNvSpPr>
              <a:spLocks/>
            </p:cNvSpPr>
            <p:nvPr/>
          </p:nvSpPr>
          <p:spPr bwMode="auto">
            <a:xfrm>
              <a:off x="5978" y="773"/>
              <a:ext cx="86" cy="133"/>
            </a:xfrm>
            <a:custGeom>
              <a:avLst/>
              <a:gdLst>
                <a:gd name="T0" fmla="*/ 86 w 86"/>
                <a:gd name="T1" fmla="*/ 125 h 133"/>
                <a:gd name="T2" fmla="*/ 72 w 86"/>
                <a:gd name="T3" fmla="*/ 133 h 133"/>
                <a:gd name="T4" fmla="*/ 0 w 86"/>
                <a:gd name="T5" fmla="*/ 8 h 133"/>
                <a:gd name="T6" fmla="*/ 13 w 86"/>
                <a:gd name="T7" fmla="*/ 0 h 133"/>
                <a:gd name="T8" fmla="*/ 86 w 86"/>
                <a:gd name="T9" fmla="*/ 125 h 133"/>
              </a:gdLst>
              <a:ahLst/>
              <a:cxnLst>
                <a:cxn ang="0">
                  <a:pos x="T0" y="T1"/>
                </a:cxn>
                <a:cxn ang="0">
                  <a:pos x="T2" y="T3"/>
                </a:cxn>
                <a:cxn ang="0">
                  <a:pos x="T4" y="T5"/>
                </a:cxn>
                <a:cxn ang="0">
                  <a:pos x="T6" y="T7"/>
                </a:cxn>
                <a:cxn ang="0">
                  <a:pos x="T8" y="T9"/>
                </a:cxn>
              </a:cxnLst>
              <a:rect l="0" t="0" r="r" b="b"/>
              <a:pathLst>
                <a:path w="86" h="133">
                  <a:moveTo>
                    <a:pt x="86" y="125"/>
                  </a:moveTo>
                  <a:lnTo>
                    <a:pt x="72" y="133"/>
                  </a:lnTo>
                  <a:lnTo>
                    <a:pt x="0" y="8"/>
                  </a:lnTo>
                  <a:lnTo>
                    <a:pt x="13" y="0"/>
                  </a:lnTo>
                  <a:lnTo>
                    <a:pt x="86"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1" name="Freeform 131">
              <a:extLst>
                <a:ext uri="{FF2B5EF4-FFF2-40B4-BE49-F238E27FC236}">
                  <a16:creationId xmlns:a16="http://schemas.microsoft.com/office/drawing/2014/main" id="{42AED71A-82B6-4B99-8904-594E34F7402C}"/>
                </a:ext>
              </a:extLst>
            </p:cNvPr>
            <p:cNvSpPr>
              <a:spLocks/>
            </p:cNvSpPr>
            <p:nvPr/>
          </p:nvSpPr>
          <p:spPr bwMode="auto">
            <a:xfrm>
              <a:off x="6145" y="772"/>
              <a:ext cx="89" cy="138"/>
            </a:xfrm>
            <a:custGeom>
              <a:avLst/>
              <a:gdLst>
                <a:gd name="T0" fmla="*/ 0 w 89"/>
                <a:gd name="T1" fmla="*/ 131 h 138"/>
                <a:gd name="T2" fmla="*/ 13 w 89"/>
                <a:gd name="T3" fmla="*/ 138 h 138"/>
                <a:gd name="T4" fmla="*/ 89 w 89"/>
                <a:gd name="T5" fmla="*/ 7 h 138"/>
                <a:gd name="T6" fmla="*/ 76 w 89"/>
                <a:gd name="T7" fmla="*/ 0 h 138"/>
                <a:gd name="T8" fmla="*/ 0 w 89"/>
                <a:gd name="T9" fmla="*/ 131 h 138"/>
              </a:gdLst>
              <a:ahLst/>
              <a:cxnLst>
                <a:cxn ang="0">
                  <a:pos x="T0" y="T1"/>
                </a:cxn>
                <a:cxn ang="0">
                  <a:pos x="T2" y="T3"/>
                </a:cxn>
                <a:cxn ang="0">
                  <a:pos x="T4" y="T5"/>
                </a:cxn>
                <a:cxn ang="0">
                  <a:pos x="T6" y="T7"/>
                </a:cxn>
                <a:cxn ang="0">
                  <a:pos x="T8" y="T9"/>
                </a:cxn>
              </a:cxnLst>
              <a:rect l="0" t="0" r="r" b="b"/>
              <a:pathLst>
                <a:path w="89" h="138">
                  <a:moveTo>
                    <a:pt x="0" y="131"/>
                  </a:moveTo>
                  <a:lnTo>
                    <a:pt x="13" y="138"/>
                  </a:lnTo>
                  <a:lnTo>
                    <a:pt x="89" y="7"/>
                  </a:lnTo>
                  <a:lnTo>
                    <a:pt x="76" y="0"/>
                  </a:lnTo>
                  <a:lnTo>
                    <a:pt x="0" y="1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62" name="Group 131">
            <a:extLst>
              <a:ext uri="{FF2B5EF4-FFF2-40B4-BE49-F238E27FC236}">
                <a16:creationId xmlns:a16="http://schemas.microsoft.com/office/drawing/2014/main" id="{C6DF31DA-FF90-4799-8F9A-093A241ADB74}"/>
              </a:ext>
            </a:extLst>
          </p:cNvPr>
          <p:cNvGrpSpPr>
            <a:grpSpLocks noChangeAspect="1"/>
          </p:cNvGrpSpPr>
          <p:nvPr/>
        </p:nvGrpSpPr>
        <p:grpSpPr bwMode="auto">
          <a:xfrm>
            <a:off x="1029157" y="3193962"/>
            <a:ext cx="475200" cy="523070"/>
            <a:chOff x="4871" y="783"/>
            <a:chExt cx="407" cy="448"/>
          </a:xfrm>
          <a:solidFill>
            <a:schemeClr val="tx2"/>
          </a:solidFill>
        </p:grpSpPr>
        <p:sp>
          <p:nvSpPr>
            <p:cNvPr id="63" name="Oval 132">
              <a:extLst>
                <a:ext uri="{FF2B5EF4-FFF2-40B4-BE49-F238E27FC236}">
                  <a16:creationId xmlns:a16="http://schemas.microsoft.com/office/drawing/2014/main" id="{527F67F5-A76D-4D56-ABB0-25AB92F6819A}"/>
                </a:ext>
              </a:extLst>
            </p:cNvPr>
            <p:cNvSpPr>
              <a:spLocks noChangeArrowheads="1"/>
            </p:cNvSpPr>
            <p:nvPr/>
          </p:nvSpPr>
          <p:spPr bwMode="auto">
            <a:xfrm>
              <a:off x="5015" y="1003"/>
              <a:ext cx="100" cy="10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4" name="Freeform 133">
              <a:extLst>
                <a:ext uri="{FF2B5EF4-FFF2-40B4-BE49-F238E27FC236}">
                  <a16:creationId xmlns:a16="http://schemas.microsoft.com/office/drawing/2014/main" id="{BD34A5F6-711C-4858-BC8B-AEE20B059981}"/>
                </a:ext>
              </a:extLst>
            </p:cNvPr>
            <p:cNvSpPr>
              <a:spLocks/>
            </p:cNvSpPr>
            <p:nvPr/>
          </p:nvSpPr>
          <p:spPr bwMode="auto">
            <a:xfrm>
              <a:off x="4949" y="835"/>
              <a:ext cx="161" cy="224"/>
            </a:xfrm>
            <a:custGeom>
              <a:avLst/>
              <a:gdLst>
                <a:gd name="T0" fmla="*/ 126 w 176"/>
                <a:gd name="T1" fmla="*/ 244 h 244"/>
                <a:gd name="T2" fmla="*/ 121 w 176"/>
                <a:gd name="T3" fmla="*/ 241 h 244"/>
                <a:gd name="T4" fmla="*/ 2 w 176"/>
                <a:gd name="T5" fmla="*/ 10 h 244"/>
                <a:gd name="T6" fmla="*/ 4 w 176"/>
                <a:gd name="T7" fmla="*/ 2 h 244"/>
                <a:gd name="T8" fmla="*/ 12 w 176"/>
                <a:gd name="T9" fmla="*/ 5 h 244"/>
                <a:gd name="T10" fmla="*/ 125 w 176"/>
                <a:gd name="T11" fmla="*/ 222 h 244"/>
                <a:gd name="T12" fmla="*/ 164 w 176"/>
                <a:gd name="T13" fmla="*/ 79 h 244"/>
                <a:gd name="T14" fmla="*/ 171 w 176"/>
                <a:gd name="T15" fmla="*/ 75 h 244"/>
                <a:gd name="T16" fmla="*/ 175 w 176"/>
                <a:gd name="T17" fmla="*/ 83 h 244"/>
                <a:gd name="T18" fmla="*/ 132 w 176"/>
                <a:gd name="T19" fmla="*/ 240 h 244"/>
                <a:gd name="T20" fmla="*/ 127 w 176"/>
                <a:gd name="T21" fmla="*/ 244 h 244"/>
                <a:gd name="T22" fmla="*/ 126 w 176"/>
                <a:gd name="T23"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6" h="244">
                  <a:moveTo>
                    <a:pt x="126" y="244"/>
                  </a:moveTo>
                  <a:cubicBezTo>
                    <a:pt x="124" y="244"/>
                    <a:pt x="122" y="243"/>
                    <a:pt x="121" y="241"/>
                  </a:cubicBezTo>
                  <a:cubicBezTo>
                    <a:pt x="2" y="10"/>
                    <a:pt x="2" y="10"/>
                    <a:pt x="2" y="10"/>
                  </a:cubicBezTo>
                  <a:cubicBezTo>
                    <a:pt x="0" y="7"/>
                    <a:pt x="1" y="3"/>
                    <a:pt x="4" y="2"/>
                  </a:cubicBezTo>
                  <a:cubicBezTo>
                    <a:pt x="7" y="0"/>
                    <a:pt x="11" y="2"/>
                    <a:pt x="12" y="5"/>
                  </a:cubicBezTo>
                  <a:cubicBezTo>
                    <a:pt x="125" y="222"/>
                    <a:pt x="125" y="222"/>
                    <a:pt x="125" y="222"/>
                  </a:cubicBezTo>
                  <a:cubicBezTo>
                    <a:pt x="164" y="79"/>
                    <a:pt x="164" y="79"/>
                    <a:pt x="164" y="79"/>
                  </a:cubicBezTo>
                  <a:cubicBezTo>
                    <a:pt x="165" y="76"/>
                    <a:pt x="168" y="74"/>
                    <a:pt x="171" y="75"/>
                  </a:cubicBezTo>
                  <a:cubicBezTo>
                    <a:pt x="174" y="76"/>
                    <a:pt x="176" y="79"/>
                    <a:pt x="175" y="83"/>
                  </a:cubicBezTo>
                  <a:cubicBezTo>
                    <a:pt x="132" y="240"/>
                    <a:pt x="132" y="240"/>
                    <a:pt x="132" y="240"/>
                  </a:cubicBezTo>
                  <a:cubicBezTo>
                    <a:pt x="132" y="242"/>
                    <a:pt x="129" y="244"/>
                    <a:pt x="127" y="244"/>
                  </a:cubicBezTo>
                  <a:cubicBezTo>
                    <a:pt x="127" y="244"/>
                    <a:pt x="127" y="244"/>
                    <a:pt x="126" y="2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5" name="Freeform 134">
              <a:extLst>
                <a:ext uri="{FF2B5EF4-FFF2-40B4-BE49-F238E27FC236}">
                  <a16:creationId xmlns:a16="http://schemas.microsoft.com/office/drawing/2014/main" id="{6E641159-0ACE-469D-816E-9EC8A8D2C5F3}"/>
                </a:ext>
              </a:extLst>
            </p:cNvPr>
            <p:cNvSpPr>
              <a:spLocks/>
            </p:cNvSpPr>
            <p:nvPr/>
          </p:nvSpPr>
          <p:spPr bwMode="auto">
            <a:xfrm>
              <a:off x="4916" y="1027"/>
              <a:ext cx="155" cy="173"/>
            </a:xfrm>
            <a:custGeom>
              <a:avLst/>
              <a:gdLst>
                <a:gd name="T0" fmla="*/ 81 w 169"/>
                <a:gd name="T1" fmla="*/ 188 h 188"/>
                <a:gd name="T2" fmla="*/ 78 w 169"/>
                <a:gd name="T3" fmla="*/ 187 h 188"/>
                <a:gd name="T4" fmla="*/ 76 w 169"/>
                <a:gd name="T5" fmla="*/ 179 h 188"/>
                <a:gd name="T6" fmla="*/ 153 w 169"/>
                <a:gd name="T7" fmla="*/ 34 h 188"/>
                <a:gd name="T8" fmla="*/ 6 w 169"/>
                <a:gd name="T9" fmla="*/ 12 h 188"/>
                <a:gd name="T10" fmla="*/ 1 w 169"/>
                <a:gd name="T11" fmla="*/ 5 h 188"/>
                <a:gd name="T12" fmla="*/ 8 w 169"/>
                <a:gd name="T13" fmla="*/ 0 h 188"/>
                <a:gd name="T14" fmla="*/ 163 w 169"/>
                <a:gd name="T15" fmla="*/ 23 h 188"/>
                <a:gd name="T16" fmla="*/ 168 w 169"/>
                <a:gd name="T17" fmla="*/ 26 h 188"/>
                <a:gd name="T18" fmla="*/ 168 w 169"/>
                <a:gd name="T19" fmla="*/ 32 h 188"/>
                <a:gd name="T20" fmla="*/ 86 w 169"/>
                <a:gd name="T21" fmla="*/ 185 h 188"/>
                <a:gd name="T22" fmla="*/ 81 w 169"/>
                <a:gd name="T23"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 h="188">
                  <a:moveTo>
                    <a:pt x="81" y="188"/>
                  </a:moveTo>
                  <a:cubicBezTo>
                    <a:pt x="80" y="188"/>
                    <a:pt x="79" y="188"/>
                    <a:pt x="78" y="187"/>
                  </a:cubicBezTo>
                  <a:cubicBezTo>
                    <a:pt x="75" y="186"/>
                    <a:pt x="74" y="182"/>
                    <a:pt x="76" y="179"/>
                  </a:cubicBezTo>
                  <a:cubicBezTo>
                    <a:pt x="153" y="34"/>
                    <a:pt x="153" y="34"/>
                    <a:pt x="153" y="34"/>
                  </a:cubicBezTo>
                  <a:cubicBezTo>
                    <a:pt x="6" y="12"/>
                    <a:pt x="6" y="12"/>
                    <a:pt x="6" y="12"/>
                  </a:cubicBezTo>
                  <a:cubicBezTo>
                    <a:pt x="3" y="11"/>
                    <a:pt x="0" y="8"/>
                    <a:pt x="1" y="5"/>
                  </a:cubicBezTo>
                  <a:cubicBezTo>
                    <a:pt x="1" y="2"/>
                    <a:pt x="5" y="0"/>
                    <a:pt x="8" y="0"/>
                  </a:cubicBezTo>
                  <a:cubicBezTo>
                    <a:pt x="163" y="23"/>
                    <a:pt x="163" y="23"/>
                    <a:pt x="163" y="23"/>
                  </a:cubicBezTo>
                  <a:cubicBezTo>
                    <a:pt x="165" y="23"/>
                    <a:pt x="167" y="25"/>
                    <a:pt x="168" y="26"/>
                  </a:cubicBezTo>
                  <a:cubicBezTo>
                    <a:pt x="169" y="28"/>
                    <a:pt x="169" y="30"/>
                    <a:pt x="168" y="32"/>
                  </a:cubicBezTo>
                  <a:cubicBezTo>
                    <a:pt x="86" y="185"/>
                    <a:pt x="86" y="185"/>
                    <a:pt x="86" y="185"/>
                  </a:cubicBezTo>
                  <a:cubicBezTo>
                    <a:pt x="85" y="187"/>
                    <a:pt x="83" y="188"/>
                    <a:pt x="81" y="1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6" name="Freeform 135">
              <a:extLst>
                <a:ext uri="{FF2B5EF4-FFF2-40B4-BE49-F238E27FC236}">
                  <a16:creationId xmlns:a16="http://schemas.microsoft.com/office/drawing/2014/main" id="{7E840296-0F80-453C-9EBC-BD7A602543AF}"/>
                </a:ext>
              </a:extLst>
            </p:cNvPr>
            <p:cNvSpPr>
              <a:spLocks noEditPoints="1"/>
            </p:cNvSpPr>
            <p:nvPr/>
          </p:nvSpPr>
          <p:spPr bwMode="auto">
            <a:xfrm>
              <a:off x="4908" y="783"/>
              <a:ext cx="66" cy="66"/>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7"/>
                    <a:pt x="16" y="0"/>
                    <a:pt x="36" y="0"/>
                  </a:cubicBezTo>
                  <a:cubicBezTo>
                    <a:pt x="56" y="0"/>
                    <a:pt x="72" y="17"/>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7" name="Freeform 136">
              <a:extLst>
                <a:ext uri="{FF2B5EF4-FFF2-40B4-BE49-F238E27FC236}">
                  <a16:creationId xmlns:a16="http://schemas.microsoft.com/office/drawing/2014/main" id="{66EAF7BE-E2AF-49F5-8806-7333584C96EC}"/>
                </a:ext>
              </a:extLst>
            </p:cNvPr>
            <p:cNvSpPr>
              <a:spLocks noEditPoints="1"/>
            </p:cNvSpPr>
            <p:nvPr/>
          </p:nvSpPr>
          <p:spPr bwMode="auto">
            <a:xfrm>
              <a:off x="5085" y="861"/>
              <a:ext cx="53" cy="54"/>
            </a:xfrm>
            <a:custGeom>
              <a:avLst/>
              <a:gdLst>
                <a:gd name="T0" fmla="*/ 29 w 58"/>
                <a:gd name="T1" fmla="*/ 59 h 59"/>
                <a:gd name="T2" fmla="*/ 0 w 58"/>
                <a:gd name="T3" fmla="*/ 30 h 59"/>
                <a:gd name="T4" fmla="*/ 29 w 58"/>
                <a:gd name="T5" fmla="*/ 0 h 59"/>
                <a:gd name="T6" fmla="*/ 58 w 58"/>
                <a:gd name="T7" fmla="*/ 30 h 59"/>
                <a:gd name="T8" fmla="*/ 29 w 58"/>
                <a:gd name="T9" fmla="*/ 59 h 59"/>
                <a:gd name="T10" fmla="*/ 29 w 58"/>
                <a:gd name="T11" fmla="*/ 12 h 59"/>
                <a:gd name="T12" fmla="*/ 12 w 58"/>
                <a:gd name="T13" fmla="*/ 30 h 59"/>
                <a:gd name="T14" fmla="*/ 29 w 58"/>
                <a:gd name="T15" fmla="*/ 47 h 59"/>
                <a:gd name="T16" fmla="*/ 46 w 58"/>
                <a:gd name="T17" fmla="*/ 30 h 59"/>
                <a:gd name="T18" fmla="*/ 29 w 58"/>
                <a:gd name="T19" fmla="*/ 1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59">
                  <a:moveTo>
                    <a:pt x="29" y="59"/>
                  </a:moveTo>
                  <a:cubicBezTo>
                    <a:pt x="13" y="59"/>
                    <a:pt x="0" y="46"/>
                    <a:pt x="0" y="30"/>
                  </a:cubicBezTo>
                  <a:cubicBezTo>
                    <a:pt x="0" y="13"/>
                    <a:pt x="13" y="0"/>
                    <a:pt x="29" y="0"/>
                  </a:cubicBezTo>
                  <a:cubicBezTo>
                    <a:pt x="45" y="0"/>
                    <a:pt x="58" y="13"/>
                    <a:pt x="58" y="30"/>
                  </a:cubicBezTo>
                  <a:cubicBezTo>
                    <a:pt x="58" y="46"/>
                    <a:pt x="45" y="59"/>
                    <a:pt x="29" y="59"/>
                  </a:cubicBezTo>
                  <a:close/>
                  <a:moveTo>
                    <a:pt x="29" y="12"/>
                  </a:moveTo>
                  <a:cubicBezTo>
                    <a:pt x="19" y="12"/>
                    <a:pt x="12" y="20"/>
                    <a:pt x="12" y="30"/>
                  </a:cubicBezTo>
                  <a:cubicBezTo>
                    <a:pt x="12" y="39"/>
                    <a:pt x="19" y="47"/>
                    <a:pt x="29" y="47"/>
                  </a:cubicBezTo>
                  <a:cubicBezTo>
                    <a:pt x="38" y="47"/>
                    <a:pt x="46" y="39"/>
                    <a:pt x="46" y="30"/>
                  </a:cubicBezTo>
                  <a:cubicBezTo>
                    <a:pt x="46" y="20"/>
                    <a:pt x="38" y="12"/>
                    <a:pt x="2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8" name="Freeform 137">
              <a:extLst>
                <a:ext uri="{FF2B5EF4-FFF2-40B4-BE49-F238E27FC236}">
                  <a16:creationId xmlns:a16="http://schemas.microsoft.com/office/drawing/2014/main" id="{87B23B6C-E6AA-49D0-B68C-5C9F6EF487E1}"/>
                </a:ext>
              </a:extLst>
            </p:cNvPr>
            <p:cNvSpPr>
              <a:spLocks noEditPoints="1"/>
            </p:cNvSpPr>
            <p:nvPr/>
          </p:nvSpPr>
          <p:spPr bwMode="auto">
            <a:xfrm>
              <a:off x="4871" y="1002"/>
              <a:ext cx="55" cy="55"/>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9" name="Freeform 138">
              <a:extLst>
                <a:ext uri="{FF2B5EF4-FFF2-40B4-BE49-F238E27FC236}">
                  <a16:creationId xmlns:a16="http://schemas.microsoft.com/office/drawing/2014/main" id="{CD965BA8-95F8-4C94-9BD0-0FE1DFA75B61}"/>
                </a:ext>
              </a:extLst>
            </p:cNvPr>
            <p:cNvSpPr>
              <a:spLocks noEditPoints="1"/>
            </p:cNvSpPr>
            <p:nvPr/>
          </p:nvSpPr>
          <p:spPr bwMode="auto">
            <a:xfrm>
              <a:off x="5182" y="1092"/>
              <a:ext cx="44" cy="44"/>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0" y="48"/>
                    <a:pt x="0" y="37"/>
                    <a:pt x="0" y="24"/>
                  </a:cubicBezTo>
                  <a:cubicBezTo>
                    <a:pt x="0" y="11"/>
                    <a:pt x="10" y="0"/>
                    <a:pt x="24" y="0"/>
                  </a:cubicBezTo>
                  <a:cubicBezTo>
                    <a:pt x="37" y="0"/>
                    <a:pt x="48" y="11"/>
                    <a:pt x="48" y="24"/>
                  </a:cubicBezTo>
                  <a:cubicBezTo>
                    <a:pt x="48" y="37"/>
                    <a:pt x="37" y="48"/>
                    <a:pt x="24" y="48"/>
                  </a:cubicBezTo>
                  <a:close/>
                  <a:moveTo>
                    <a:pt x="24" y="12"/>
                  </a:moveTo>
                  <a:cubicBezTo>
                    <a:pt x="17" y="12"/>
                    <a:pt x="12" y="17"/>
                    <a:pt x="12" y="24"/>
                  </a:cubicBezTo>
                  <a:cubicBezTo>
                    <a:pt x="12" y="31"/>
                    <a:pt x="17" y="36"/>
                    <a:pt x="24" y="36"/>
                  </a:cubicBezTo>
                  <a:cubicBezTo>
                    <a:pt x="30" y="36"/>
                    <a:pt x="36" y="31"/>
                    <a:pt x="36" y="24"/>
                  </a:cubicBezTo>
                  <a:cubicBezTo>
                    <a:pt x="36" y="17"/>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0" name="Freeform 139">
              <a:extLst>
                <a:ext uri="{FF2B5EF4-FFF2-40B4-BE49-F238E27FC236}">
                  <a16:creationId xmlns:a16="http://schemas.microsoft.com/office/drawing/2014/main" id="{CDC08F28-2C53-41B7-A4FA-4151E7FD7E17}"/>
                </a:ext>
              </a:extLst>
            </p:cNvPr>
            <p:cNvSpPr>
              <a:spLocks noEditPoints="1"/>
            </p:cNvSpPr>
            <p:nvPr/>
          </p:nvSpPr>
          <p:spPr bwMode="auto">
            <a:xfrm>
              <a:off x="4962" y="1188"/>
              <a:ext cx="42" cy="43"/>
            </a:xfrm>
            <a:custGeom>
              <a:avLst/>
              <a:gdLst>
                <a:gd name="T0" fmla="*/ 23 w 46"/>
                <a:gd name="T1" fmla="*/ 47 h 47"/>
                <a:gd name="T2" fmla="*/ 0 w 46"/>
                <a:gd name="T3" fmla="*/ 23 h 47"/>
                <a:gd name="T4" fmla="*/ 23 w 46"/>
                <a:gd name="T5" fmla="*/ 0 h 47"/>
                <a:gd name="T6" fmla="*/ 46 w 46"/>
                <a:gd name="T7" fmla="*/ 23 h 47"/>
                <a:gd name="T8" fmla="*/ 23 w 46"/>
                <a:gd name="T9" fmla="*/ 47 h 47"/>
                <a:gd name="T10" fmla="*/ 23 w 46"/>
                <a:gd name="T11" fmla="*/ 12 h 47"/>
                <a:gd name="T12" fmla="*/ 12 w 46"/>
                <a:gd name="T13" fmla="*/ 23 h 47"/>
                <a:gd name="T14" fmla="*/ 23 w 46"/>
                <a:gd name="T15" fmla="*/ 35 h 47"/>
                <a:gd name="T16" fmla="*/ 34 w 46"/>
                <a:gd name="T17" fmla="*/ 23 h 47"/>
                <a:gd name="T18" fmla="*/ 23 w 46"/>
                <a:gd name="T19"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7">
                  <a:moveTo>
                    <a:pt x="23" y="47"/>
                  </a:moveTo>
                  <a:cubicBezTo>
                    <a:pt x="10" y="47"/>
                    <a:pt x="0" y="36"/>
                    <a:pt x="0" y="23"/>
                  </a:cubicBezTo>
                  <a:cubicBezTo>
                    <a:pt x="0" y="10"/>
                    <a:pt x="10" y="0"/>
                    <a:pt x="23" y="0"/>
                  </a:cubicBezTo>
                  <a:cubicBezTo>
                    <a:pt x="36" y="0"/>
                    <a:pt x="46" y="10"/>
                    <a:pt x="46" y="23"/>
                  </a:cubicBezTo>
                  <a:cubicBezTo>
                    <a:pt x="46" y="36"/>
                    <a:pt x="36" y="47"/>
                    <a:pt x="23" y="47"/>
                  </a:cubicBezTo>
                  <a:close/>
                  <a:moveTo>
                    <a:pt x="23" y="12"/>
                  </a:moveTo>
                  <a:cubicBezTo>
                    <a:pt x="17" y="12"/>
                    <a:pt x="12" y="17"/>
                    <a:pt x="12" y="23"/>
                  </a:cubicBezTo>
                  <a:cubicBezTo>
                    <a:pt x="12" y="30"/>
                    <a:pt x="17" y="35"/>
                    <a:pt x="23" y="35"/>
                  </a:cubicBezTo>
                  <a:cubicBezTo>
                    <a:pt x="29" y="35"/>
                    <a:pt x="34" y="30"/>
                    <a:pt x="34" y="23"/>
                  </a:cubicBezTo>
                  <a:cubicBezTo>
                    <a:pt x="34" y="17"/>
                    <a:pt x="29" y="12"/>
                    <a:pt x="2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1" name="Freeform 140">
              <a:extLst>
                <a:ext uri="{FF2B5EF4-FFF2-40B4-BE49-F238E27FC236}">
                  <a16:creationId xmlns:a16="http://schemas.microsoft.com/office/drawing/2014/main" id="{5A9BCE22-DEC1-4C9F-B5C3-F960258BC0EF}"/>
                </a:ext>
              </a:extLst>
            </p:cNvPr>
            <p:cNvSpPr>
              <a:spLocks/>
            </p:cNvSpPr>
            <p:nvPr/>
          </p:nvSpPr>
          <p:spPr bwMode="auto">
            <a:xfrm>
              <a:off x="5059" y="1001"/>
              <a:ext cx="157" cy="112"/>
            </a:xfrm>
            <a:custGeom>
              <a:avLst/>
              <a:gdLst>
                <a:gd name="T0" fmla="*/ 139 w 171"/>
                <a:gd name="T1" fmla="*/ 122 h 122"/>
                <a:gd name="T2" fmla="*/ 137 w 171"/>
                <a:gd name="T3" fmla="*/ 121 h 122"/>
                <a:gd name="T4" fmla="*/ 4 w 171"/>
                <a:gd name="T5" fmla="*/ 64 h 122"/>
                <a:gd name="T6" fmla="*/ 0 w 171"/>
                <a:gd name="T7" fmla="*/ 58 h 122"/>
                <a:gd name="T8" fmla="*/ 5 w 171"/>
                <a:gd name="T9" fmla="*/ 52 h 122"/>
                <a:gd name="T10" fmla="*/ 162 w 171"/>
                <a:gd name="T11" fmla="*/ 1 h 122"/>
                <a:gd name="T12" fmla="*/ 170 w 171"/>
                <a:gd name="T13" fmla="*/ 5 h 122"/>
                <a:gd name="T14" fmla="*/ 166 w 171"/>
                <a:gd name="T15" fmla="*/ 13 h 122"/>
                <a:gd name="T16" fmla="*/ 23 w 171"/>
                <a:gd name="T17" fmla="*/ 59 h 122"/>
                <a:gd name="T18" fmla="*/ 141 w 171"/>
                <a:gd name="T19" fmla="*/ 110 h 122"/>
                <a:gd name="T20" fmla="*/ 144 w 171"/>
                <a:gd name="T21" fmla="*/ 118 h 122"/>
                <a:gd name="T22" fmla="*/ 139 w 171"/>
                <a:gd name="T23"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122">
                  <a:moveTo>
                    <a:pt x="139" y="122"/>
                  </a:moveTo>
                  <a:cubicBezTo>
                    <a:pt x="138" y="122"/>
                    <a:pt x="137" y="122"/>
                    <a:pt x="137" y="121"/>
                  </a:cubicBezTo>
                  <a:cubicBezTo>
                    <a:pt x="4" y="64"/>
                    <a:pt x="4" y="64"/>
                    <a:pt x="4" y="64"/>
                  </a:cubicBezTo>
                  <a:cubicBezTo>
                    <a:pt x="2" y="63"/>
                    <a:pt x="0" y="60"/>
                    <a:pt x="0" y="58"/>
                  </a:cubicBezTo>
                  <a:cubicBezTo>
                    <a:pt x="1" y="55"/>
                    <a:pt x="2" y="53"/>
                    <a:pt x="5" y="52"/>
                  </a:cubicBezTo>
                  <a:cubicBezTo>
                    <a:pt x="162" y="1"/>
                    <a:pt x="162" y="1"/>
                    <a:pt x="162" y="1"/>
                  </a:cubicBezTo>
                  <a:cubicBezTo>
                    <a:pt x="165" y="0"/>
                    <a:pt x="169" y="2"/>
                    <a:pt x="170" y="5"/>
                  </a:cubicBezTo>
                  <a:cubicBezTo>
                    <a:pt x="171" y="8"/>
                    <a:pt x="169" y="12"/>
                    <a:pt x="166" y="13"/>
                  </a:cubicBezTo>
                  <a:cubicBezTo>
                    <a:pt x="23" y="59"/>
                    <a:pt x="23" y="59"/>
                    <a:pt x="23" y="59"/>
                  </a:cubicBezTo>
                  <a:cubicBezTo>
                    <a:pt x="141" y="110"/>
                    <a:pt x="141" y="110"/>
                    <a:pt x="141" y="110"/>
                  </a:cubicBezTo>
                  <a:cubicBezTo>
                    <a:pt x="144" y="112"/>
                    <a:pt x="146" y="115"/>
                    <a:pt x="144" y="118"/>
                  </a:cubicBezTo>
                  <a:cubicBezTo>
                    <a:pt x="143" y="121"/>
                    <a:pt x="141" y="122"/>
                    <a:pt x="139"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2" name="Freeform 141">
              <a:extLst>
                <a:ext uri="{FF2B5EF4-FFF2-40B4-BE49-F238E27FC236}">
                  <a16:creationId xmlns:a16="http://schemas.microsoft.com/office/drawing/2014/main" id="{C239EB18-ED72-41B2-B3E9-B421381FEC6A}"/>
                </a:ext>
              </a:extLst>
            </p:cNvPr>
            <p:cNvSpPr>
              <a:spLocks noEditPoints="1"/>
            </p:cNvSpPr>
            <p:nvPr/>
          </p:nvSpPr>
          <p:spPr bwMode="auto">
            <a:xfrm>
              <a:off x="5204" y="957"/>
              <a:ext cx="74" cy="74"/>
            </a:xfrm>
            <a:custGeom>
              <a:avLst/>
              <a:gdLst>
                <a:gd name="T0" fmla="*/ 40 w 81"/>
                <a:gd name="T1" fmla="*/ 81 h 81"/>
                <a:gd name="T2" fmla="*/ 0 w 81"/>
                <a:gd name="T3" fmla="*/ 40 h 81"/>
                <a:gd name="T4" fmla="*/ 40 w 81"/>
                <a:gd name="T5" fmla="*/ 0 h 81"/>
                <a:gd name="T6" fmla="*/ 81 w 81"/>
                <a:gd name="T7" fmla="*/ 40 h 81"/>
                <a:gd name="T8" fmla="*/ 40 w 81"/>
                <a:gd name="T9" fmla="*/ 81 h 81"/>
                <a:gd name="T10" fmla="*/ 40 w 81"/>
                <a:gd name="T11" fmla="*/ 12 h 81"/>
                <a:gd name="T12" fmla="*/ 12 w 81"/>
                <a:gd name="T13" fmla="*/ 40 h 81"/>
                <a:gd name="T14" fmla="*/ 40 w 81"/>
                <a:gd name="T15" fmla="*/ 69 h 81"/>
                <a:gd name="T16" fmla="*/ 69 w 81"/>
                <a:gd name="T17" fmla="*/ 40 h 81"/>
                <a:gd name="T18" fmla="*/ 40 w 81"/>
                <a:gd name="T19" fmla="*/ 1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81"/>
                  </a:moveTo>
                  <a:cubicBezTo>
                    <a:pt x="18" y="81"/>
                    <a:pt x="0" y="63"/>
                    <a:pt x="0" y="40"/>
                  </a:cubicBezTo>
                  <a:cubicBezTo>
                    <a:pt x="0" y="18"/>
                    <a:pt x="18" y="0"/>
                    <a:pt x="40" y="0"/>
                  </a:cubicBezTo>
                  <a:cubicBezTo>
                    <a:pt x="62" y="0"/>
                    <a:pt x="81" y="18"/>
                    <a:pt x="81" y="40"/>
                  </a:cubicBezTo>
                  <a:cubicBezTo>
                    <a:pt x="81" y="63"/>
                    <a:pt x="62" y="81"/>
                    <a:pt x="40" y="81"/>
                  </a:cubicBezTo>
                  <a:close/>
                  <a:moveTo>
                    <a:pt x="40" y="12"/>
                  </a:moveTo>
                  <a:cubicBezTo>
                    <a:pt x="24" y="12"/>
                    <a:pt x="12" y="25"/>
                    <a:pt x="12" y="40"/>
                  </a:cubicBezTo>
                  <a:cubicBezTo>
                    <a:pt x="12" y="56"/>
                    <a:pt x="24" y="69"/>
                    <a:pt x="40" y="69"/>
                  </a:cubicBezTo>
                  <a:cubicBezTo>
                    <a:pt x="56" y="69"/>
                    <a:pt x="69" y="56"/>
                    <a:pt x="69" y="40"/>
                  </a:cubicBezTo>
                  <a:cubicBezTo>
                    <a:pt x="69" y="25"/>
                    <a:pt x="56" y="12"/>
                    <a:pt x="4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73" name="Group 528">
            <a:extLst>
              <a:ext uri="{FF2B5EF4-FFF2-40B4-BE49-F238E27FC236}">
                <a16:creationId xmlns:a16="http://schemas.microsoft.com/office/drawing/2014/main" id="{3EB1F91F-760E-402B-A31F-C8AC2CD0DA93}"/>
              </a:ext>
            </a:extLst>
          </p:cNvPr>
          <p:cNvGrpSpPr>
            <a:grpSpLocks noChangeAspect="1"/>
          </p:cNvGrpSpPr>
          <p:nvPr/>
        </p:nvGrpSpPr>
        <p:grpSpPr bwMode="auto">
          <a:xfrm>
            <a:off x="983432" y="5805264"/>
            <a:ext cx="475200" cy="268391"/>
            <a:chOff x="6342" y="1717"/>
            <a:chExt cx="517" cy="292"/>
          </a:xfrm>
          <a:solidFill>
            <a:schemeClr val="tx2"/>
          </a:solidFill>
        </p:grpSpPr>
        <p:sp>
          <p:nvSpPr>
            <p:cNvPr id="74" name="Freeform 529">
              <a:extLst>
                <a:ext uri="{FF2B5EF4-FFF2-40B4-BE49-F238E27FC236}">
                  <a16:creationId xmlns:a16="http://schemas.microsoft.com/office/drawing/2014/main" id="{CF85A157-74CD-4AE6-927A-44149E945CB7}"/>
                </a:ext>
              </a:extLst>
            </p:cNvPr>
            <p:cNvSpPr>
              <a:spLocks noEditPoints="1"/>
            </p:cNvSpPr>
            <p:nvPr/>
          </p:nvSpPr>
          <p:spPr bwMode="auto">
            <a:xfrm>
              <a:off x="6675" y="1824"/>
              <a:ext cx="162" cy="163"/>
            </a:xfrm>
            <a:custGeom>
              <a:avLst/>
              <a:gdLst>
                <a:gd name="T0" fmla="*/ 101 w 201"/>
                <a:gd name="T1" fmla="*/ 200 h 200"/>
                <a:gd name="T2" fmla="*/ 0 w 201"/>
                <a:gd name="T3" fmla="*/ 100 h 200"/>
                <a:gd name="T4" fmla="*/ 101 w 201"/>
                <a:gd name="T5" fmla="*/ 0 h 200"/>
                <a:gd name="T6" fmla="*/ 201 w 201"/>
                <a:gd name="T7" fmla="*/ 100 h 200"/>
                <a:gd name="T8" fmla="*/ 101 w 201"/>
                <a:gd name="T9" fmla="*/ 200 h 200"/>
                <a:gd name="T10" fmla="*/ 101 w 201"/>
                <a:gd name="T11" fmla="*/ 12 h 200"/>
                <a:gd name="T12" fmla="*/ 12 w 201"/>
                <a:gd name="T13" fmla="*/ 100 h 200"/>
                <a:gd name="T14" fmla="*/ 101 w 201"/>
                <a:gd name="T15" fmla="*/ 188 h 200"/>
                <a:gd name="T16" fmla="*/ 189 w 201"/>
                <a:gd name="T17" fmla="*/ 100 h 200"/>
                <a:gd name="T18" fmla="*/ 101 w 201"/>
                <a:gd name="T19" fmla="*/ 1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1" h="200">
                  <a:moveTo>
                    <a:pt x="101" y="200"/>
                  </a:moveTo>
                  <a:cubicBezTo>
                    <a:pt x="45" y="200"/>
                    <a:pt x="0" y="155"/>
                    <a:pt x="0" y="100"/>
                  </a:cubicBezTo>
                  <a:cubicBezTo>
                    <a:pt x="0" y="45"/>
                    <a:pt x="45" y="0"/>
                    <a:pt x="101" y="0"/>
                  </a:cubicBezTo>
                  <a:cubicBezTo>
                    <a:pt x="156" y="0"/>
                    <a:pt x="201" y="45"/>
                    <a:pt x="201" y="100"/>
                  </a:cubicBezTo>
                  <a:cubicBezTo>
                    <a:pt x="201" y="155"/>
                    <a:pt x="156" y="200"/>
                    <a:pt x="101" y="200"/>
                  </a:cubicBezTo>
                  <a:close/>
                  <a:moveTo>
                    <a:pt x="101" y="12"/>
                  </a:moveTo>
                  <a:cubicBezTo>
                    <a:pt x="52" y="12"/>
                    <a:pt x="12" y="51"/>
                    <a:pt x="12" y="100"/>
                  </a:cubicBezTo>
                  <a:cubicBezTo>
                    <a:pt x="12" y="149"/>
                    <a:pt x="52" y="188"/>
                    <a:pt x="101" y="188"/>
                  </a:cubicBezTo>
                  <a:cubicBezTo>
                    <a:pt x="149" y="188"/>
                    <a:pt x="189" y="149"/>
                    <a:pt x="189" y="100"/>
                  </a:cubicBezTo>
                  <a:cubicBezTo>
                    <a:pt x="189" y="51"/>
                    <a:pt x="149"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5" name="Freeform 530">
              <a:extLst>
                <a:ext uri="{FF2B5EF4-FFF2-40B4-BE49-F238E27FC236}">
                  <a16:creationId xmlns:a16="http://schemas.microsoft.com/office/drawing/2014/main" id="{6139C24B-0FEC-44F9-8006-5D9BB4D5D416}"/>
                </a:ext>
              </a:extLst>
            </p:cNvPr>
            <p:cNvSpPr>
              <a:spLocks noEditPoints="1"/>
            </p:cNvSpPr>
            <p:nvPr/>
          </p:nvSpPr>
          <p:spPr bwMode="auto">
            <a:xfrm>
              <a:off x="6653" y="1802"/>
              <a:ext cx="206" cy="207"/>
            </a:xfrm>
            <a:custGeom>
              <a:avLst/>
              <a:gdLst>
                <a:gd name="T0" fmla="*/ 128 w 255"/>
                <a:gd name="T1" fmla="*/ 256 h 256"/>
                <a:gd name="T2" fmla="*/ 0 w 255"/>
                <a:gd name="T3" fmla="*/ 128 h 256"/>
                <a:gd name="T4" fmla="*/ 128 w 255"/>
                <a:gd name="T5" fmla="*/ 0 h 256"/>
                <a:gd name="T6" fmla="*/ 255 w 255"/>
                <a:gd name="T7" fmla="*/ 128 h 256"/>
                <a:gd name="T8" fmla="*/ 128 w 255"/>
                <a:gd name="T9" fmla="*/ 256 h 256"/>
                <a:gd name="T10" fmla="*/ 128 w 255"/>
                <a:gd name="T11" fmla="*/ 12 h 256"/>
                <a:gd name="T12" fmla="*/ 12 w 255"/>
                <a:gd name="T13" fmla="*/ 128 h 256"/>
                <a:gd name="T14" fmla="*/ 128 w 255"/>
                <a:gd name="T15" fmla="*/ 244 h 256"/>
                <a:gd name="T16" fmla="*/ 243 w 255"/>
                <a:gd name="T17" fmla="*/ 128 h 256"/>
                <a:gd name="T18" fmla="*/ 128 w 255"/>
                <a:gd name="T19" fmla="*/ 1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6">
                  <a:moveTo>
                    <a:pt x="128" y="256"/>
                  </a:moveTo>
                  <a:cubicBezTo>
                    <a:pt x="57" y="256"/>
                    <a:pt x="0" y="198"/>
                    <a:pt x="0" y="128"/>
                  </a:cubicBezTo>
                  <a:cubicBezTo>
                    <a:pt x="0" y="57"/>
                    <a:pt x="57" y="0"/>
                    <a:pt x="128" y="0"/>
                  </a:cubicBezTo>
                  <a:cubicBezTo>
                    <a:pt x="198" y="0"/>
                    <a:pt x="255" y="57"/>
                    <a:pt x="255" y="128"/>
                  </a:cubicBezTo>
                  <a:cubicBezTo>
                    <a:pt x="255" y="198"/>
                    <a:pt x="198" y="256"/>
                    <a:pt x="128" y="256"/>
                  </a:cubicBezTo>
                  <a:close/>
                  <a:moveTo>
                    <a:pt x="128" y="12"/>
                  </a:moveTo>
                  <a:cubicBezTo>
                    <a:pt x="64" y="12"/>
                    <a:pt x="12" y="64"/>
                    <a:pt x="12" y="128"/>
                  </a:cubicBezTo>
                  <a:cubicBezTo>
                    <a:pt x="12" y="192"/>
                    <a:pt x="64" y="244"/>
                    <a:pt x="128" y="244"/>
                  </a:cubicBezTo>
                  <a:cubicBezTo>
                    <a:pt x="191" y="244"/>
                    <a:pt x="243" y="192"/>
                    <a:pt x="243" y="128"/>
                  </a:cubicBezTo>
                  <a:cubicBezTo>
                    <a:pt x="243" y="64"/>
                    <a:pt x="191" y="12"/>
                    <a:pt x="12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531">
              <a:extLst>
                <a:ext uri="{FF2B5EF4-FFF2-40B4-BE49-F238E27FC236}">
                  <a16:creationId xmlns:a16="http://schemas.microsoft.com/office/drawing/2014/main" id="{010E9F4A-46BE-4315-8817-C29C3E227CFF}"/>
                </a:ext>
              </a:extLst>
            </p:cNvPr>
            <p:cNvSpPr>
              <a:spLocks noEditPoints="1"/>
            </p:cNvSpPr>
            <p:nvPr/>
          </p:nvSpPr>
          <p:spPr bwMode="auto">
            <a:xfrm>
              <a:off x="6365" y="1824"/>
              <a:ext cx="161" cy="163"/>
            </a:xfrm>
            <a:custGeom>
              <a:avLst/>
              <a:gdLst>
                <a:gd name="T0" fmla="*/ 100 w 200"/>
                <a:gd name="T1" fmla="*/ 200 h 200"/>
                <a:gd name="T2" fmla="*/ 0 w 200"/>
                <a:gd name="T3" fmla="*/ 100 h 200"/>
                <a:gd name="T4" fmla="*/ 100 w 200"/>
                <a:gd name="T5" fmla="*/ 0 h 200"/>
                <a:gd name="T6" fmla="*/ 200 w 200"/>
                <a:gd name="T7" fmla="*/ 100 h 200"/>
                <a:gd name="T8" fmla="*/ 100 w 200"/>
                <a:gd name="T9" fmla="*/ 200 h 200"/>
                <a:gd name="T10" fmla="*/ 100 w 200"/>
                <a:gd name="T11" fmla="*/ 12 h 200"/>
                <a:gd name="T12" fmla="*/ 12 w 200"/>
                <a:gd name="T13" fmla="*/ 100 h 200"/>
                <a:gd name="T14" fmla="*/ 100 w 200"/>
                <a:gd name="T15" fmla="*/ 188 h 200"/>
                <a:gd name="T16" fmla="*/ 188 w 200"/>
                <a:gd name="T17" fmla="*/ 100 h 200"/>
                <a:gd name="T18" fmla="*/ 100 w 200"/>
                <a:gd name="T19" fmla="*/ 1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200">
                  <a:moveTo>
                    <a:pt x="100" y="200"/>
                  </a:moveTo>
                  <a:cubicBezTo>
                    <a:pt x="44" y="200"/>
                    <a:pt x="0" y="155"/>
                    <a:pt x="0" y="100"/>
                  </a:cubicBezTo>
                  <a:cubicBezTo>
                    <a:pt x="0" y="45"/>
                    <a:pt x="44" y="0"/>
                    <a:pt x="100" y="0"/>
                  </a:cubicBezTo>
                  <a:cubicBezTo>
                    <a:pt x="155" y="0"/>
                    <a:pt x="200" y="45"/>
                    <a:pt x="200" y="100"/>
                  </a:cubicBezTo>
                  <a:cubicBezTo>
                    <a:pt x="200" y="155"/>
                    <a:pt x="155" y="200"/>
                    <a:pt x="100" y="200"/>
                  </a:cubicBezTo>
                  <a:close/>
                  <a:moveTo>
                    <a:pt x="100" y="12"/>
                  </a:moveTo>
                  <a:cubicBezTo>
                    <a:pt x="51" y="12"/>
                    <a:pt x="12" y="51"/>
                    <a:pt x="12" y="100"/>
                  </a:cubicBezTo>
                  <a:cubicBezTo>
                    <a:pt x="12" y="149"/>
                    <a:pt x="51" y="188"/>
                    <a:pt x="100" y="188"/>
                  </a:cubicBezTo>
                  <a:cubicBezTo>
                    <a:pt x="148" y="188"/>
                    <a:pt x="188" y="149"/>
                    <a:pt x="188" y="100"/>
                  </a:cubicBezTo>
                  <a:cubicBezTo>
                    <a:pt x="188" y="51"/>
                    <a:pt x="148" y="12"/>
                    <a:pt x="10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7" name="Freeform 532">
              <a:extLst>
                <a:ext uri="{FF2B5EF4-FFF2-40B4-BE49-F238E27FC236}">
                  <a16:creationId xmlns:a16="http://schemas.microsoft.com/office/drawing/2014/main" id="{27C6DC5B-4B09-4A3B-ABBC-3A1675A24F29}"/>
                </a:ext>
              </a:extLst>
            </p:cNvPr>
            <p:cNvSpPr>
              <a:spLocks noEditPoints="1"/>
            </p:cNvSpPr>
            <p:nvPr/>
          </p:nvSpPr>
          <p:spPr bwMode="auto">
            <a:xfrm>
              <a:off x="6342" y="1802"/>
              <a:ext cx="207" cy="207"/>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12 h 256"/>
                <a:gd name="T12" fmla="*/ 12 w 256"/>
                <a:gd name="T13" fmla="*/ 128 h 256"/>
                <a:gd name="T14" fmla="*/ 128 w 256"/>
                <a:gd name="T15" fmla="*/ 244 h 256"/>
                <a:gd name="T16" fmla="*/ 244 w 256"/>
                <a:gd name="T17" fmla="*/ 128 h 256"/>
                <a:gd name="T18" fmla="*/ 128 w 256"/>
                <a:gd name="T19" fmla="*/ 1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8"/>
                    <a:pt x="0" y="128"/>
                  </a:cubicBezTo>
                  <a:cubicBezTo>
                    <a:pt x="0" y="57"/>
                    <a:pt x="57" y="0"/>
                    <a:pt x="128" y="0"/>
                  </a:cubicBezTo>
                  <a:cubicBezTo>
                    <a:pt x="198" y="0"/>
                    <a:pt x="256" y="57"/>
                    <a:pt x="256" y="128"/>
                  </a:cubicBezTo>
                  <a:cubicBezTo>
                    <a:pt x="256" y="198"/>
                    <a:pt x="198" y="256"/>
                    <a:pt x="128" y="256"/>
                  </a:cubicBezTo>
                  <a:close/>
                  <a:moveTo>
                    <a:pt x="128" y="12"/>
                  </a:moveTo>
                  <a:cubicBezTo>
                    <a:pt x="64" y="12"/>
                    <a:pt x="12" y="64"/>
                    <a:pt x="12" y="128"/>
                  </a:cubicBezTo>
                  <a:cubicBezTo>
                    <a:pt x="12" y="192"/>
                    <a:pt x="64" y="244"/>
                    <a:pt x="128" y="244"/>
                  </a:cubicBezTo>
                  <a:cubicBezTo>
                    <a:pt x="192" y="244"/>
                    <a:pt x="244" y="192"/>
                    <a:pt x="244" y="128"/>
                  </a:cubicBezTo>
                  <a:cubicBezTo>
                    <a:pt x="244" y="64"/>
                    <a:pt x="192" y="12"/>
                    <a:pt x="12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Freeform 533">
              <a:extLst>
                <a:ext uri="{FF2B5EF4-FFF2-40B4-BE49-F238E27FC236}">
                  <a16:creationId xmlns:a16="http://schemas.microsoft.com/office/drawing/2014/main" id="{7D4279D9-CFBD-4797-8928-330A96247CB4}"/>
                </a:ext>
              </a:extLst>
            </p:cNvPr>
            <p:cNvSpPr>
              <a:spLocks/>
            </p:cNvSpPr>
            <p:nvPr/>
          </p:nvSpPr>
          <p:spPr bwMode="auto">
            <a:xfrm>
              <a:off x="6535" y="1904"/>
              <a:ext cx="131" cy="36"/>
            </a:xfrm>
            <a:custGeom>
              <a:avLst/>
              <a:gdLst>
                <a:gd name="T0" fmla="*/ 154 w 162"/>
                <a:gd name="T1" fmla="*/ 45 h 45"/>
                <a:gd name="T2" fmla="*/ 85 w 162"/>
                <a:gd name="T3" fmla="*/ 12 h 45"/>
                <a:gd name="T4" fmla="*/ 9 w 162"/>
                <a:gd name="T5" fmla="*/ 44 h 45"/>
                <a:gd name="T6" fmla="*/ 0 w 162"/>
                <a:gd name="T7" fmla="*/ 36 h 45"/>
                <a:gd name="T8" fmla="*/ 84 w 162"/>
                <a:gd name="T9" fmla="*/ 0 h 45"/>
                <a:gd name="T10" fmla="*/ 85 w 162"/>
                <a:gd name="T11" fmla="*/ 0 h 45"/>
                <a:gd name="T12" fmla="*/ 162 w 162"/>
                <a:gd name="T13" fmla="*/ 36 h 45"/>
                <a:gd name="T14" fmla="*/ 154 w 162"/>
                <a:gd name="T15" fmla="*/ 45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2" h="45">
                  <a:moveTo>
                    <a:pt x="154" y="45"/>
                  </a:moveTo>
                  <a:cubicBezTo>
                    <a:pt x="153" y="44"/>
                    <a:pt x="119" y="13"/>
                    <a:pt x="85" y="12"/>
                  </a:cubicBezTo>
                  <a:cubicBezTo>
                    <a:pt x="49" y="12"/>
                    <a:pt x="15" y="37"/>
                    <a:pt x="9" y="44"/>
                  </a:cubicBezTo>
                  <a:cubicBezTo>
                    <a:pt x="0" y="36"/>
                    <a:pt x="0" y="36"/>
                    <a:pt x="0" y="36"/>
                  </a:cubicBezTo>
                  <a:cubicBezTo>
                    <a:pt x="9" y="26"/>
                    <a:pt x="46" y="0"/>
                    <a:pt x="84" y="0"/>
                  </a:cubicBezTo>
                  <a:cubicBezTo>
                    <a:pt x="84" y="0"/>
                    <a:pt x="85" y="0"/>
                    <a:pt x="85" y="0"/>
                  </a:cubicBezTo>
                  <a:cubicBezTo>
                    <a:pt x="124" y="1"/>
                    <a:pt x="160" y="35"/>
                    <a:pt x="162" y="36"/>
                  </a:cubicBezTo>
                  <a:lnTo>
                    <a:pt x="154"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9" name="Freeform 534">
              <a:extLst>
                <a:ext uri="{FF2B5EF4-FFF2-40B4-BE49-F238E27FC236}">
                  <a16:creationId xmlns:a16="http://schemas.microsoft.com/office/drawing/2014/main" id="{416F71B1-C4AB-40F5-9EC4-92A5E6949EEB}"/>
                </a:ext>
              </a:extLst>
            </p:cNvPr>
            <p:cNvSpPr>
              <a:spLocks/>
            </p:cNvSpPr>
            <p:nvPr/>
          </p:nvSpPr>
          <p:spPr bwMode="auto">
            <a:xfrm>
              <a:off x="6395" y="1729"/>
              <a:ext cx="412" cy="94"/>
            </a:xfrm>
            <a:custGeom>
              <a:avLst/>
              <a:gdLst>
                <a:gd name="T0" fmla="*/ 505 w 511"/>
                <a:gd name="T1" fmla="*/ 115 h 116"/>
                <a:gd name="T2" fmla="*/ 500 w 511"/>
                <a:gd name="T3" fmla="*/ 114 h 116"/>
                <a:gd name="T4" fmla="*/ 432 w 511"/>
                <a:gd name="T5" fmla="*/ 47 h 116"/>
                <a:gd name="T6" fmla="*/ 431 w 511"/>
                <a:gd name="T7" fmla="*/ 47 h 116"/>
                <a:gd name="T8" fmla="*/ 367 w 511"/>
                <a:gd name="T9" fmla="*/ 18 h 116"/>
                <a:gd name="T10" fmla="*/ 366 w 511"/>
                <a:gd name="T11" fmla="*/ 18 h 116"/>
                <a:gd name="T12" fmla="*/ 301 w 511"/>
                <a:gd name="T13" fmla="*/ 51 h 116"/>
                <a:gd name="T14" fmla="*/ 300 w 511"/>
                <a:gd name="T15" fmla="*/ 53 h 116"/>
                <a:gd name="T16" fmla="*/ 285 w 511"/>
                <a:gd name="T17" fmla="*/ 83 h 116"/>
                <a:gd name="T18" fmla="*/ 280 w 511"/>
                <a:gd name="T19" fmla="*/ 87 h 116"/>
                <a:gd name="T20" fmla="*/ 274 w 511"/>
                <a:gd name="T21" fmla="*/ 84 h 116"/>
                <a:gd name="T22" fmla="*/ 255 w 511"/>
                <a:gd name="T23" fmla="*/ 78 h 116"/>
                <a:gd name="T24" fmla="*/ 237 w 511"/>
                <a:gd name="T25" fmla="*/ 86 h 116"/>
                <a:gd name="T26" fmla="*/ 231 w 511"/>
                <a:gd name="T27" fmla="*/ 88 h 116"/>
                <a:gd name="T28" fmla="*/ 227 w 511"/>
                <a:gd name="T29" fmla="*/ 84 h 116"/>
                <a:gd name="T30" fmla="*/ 213 w 511"/>
                <a:gd name="T31" fmla="*/ 54 h 116"/>
                <a:gd name="T32" fmla="*/ 151 w 511"/>
                <a:gd name="T33" fmla="*/ 19 h 116"/>
                <a:gd name="T34" fmla="*/ 85 w 511"/>
                <a:gd name="T35" fmla="*/ 42 h 116"/>
                <a:gd name="T36" fmla="*/ 10 w 511"/>
                <a:gd name="T37" fmla="*/ 113 h 116"/>
                <a:gd name="T38" fmla="*/ 2 w 511"/>
                <a:gd name="T39" fmla="*/ 113 h 116"/>
                <a:gd name="T40" fmla="*/ 2 w 511"/>
                <a:gd name="T41" fmla="*/ 104 h 116"/>
                <a:gd name="T42" fmla="*/ 77 w 511"/>
                <a:gd name="T43" fmla="*/ 34 h 116"/>
                <a:gd name="T44" fmla="*/ 153 w 511"/>
                <a:gd name="T45" fmla="*/ 7 h 116"/>
                <a:gd name="T46" fmla="*/ 223 w 511"/>
                <a:gd name="T47" fmla="*/ 47 h 116"/>
                <a:gd name="T48" fmla="*/ 236 w 511"/>
                <a:gd name="T49" fmla="*/ 72 h 116"/>
                <a:gd name="T50" fmla="*/ 255 w 511"/>
                <a:gd name="T51" fmla="*/ 66 h 116"/>
                <a:gd name="T52" fmla="*/ 277 w 511"/>
                <a:gd name="T53" fmla="*/ 71 h 116"/>
                <a:gd name="T54" fmla="*/ 291 w 511"/>
                <a:gd name="T55" fmla="*/ 45 h 116"/>
                <a:gd name="T56" fmla="*/ 292 w 511"/>
                <a:gd name="T57" fmla="*/ 44 h 116"/>
                <a:gd name="T58" fmla="*/ 366 w 511"/>
                <a:gd name="T59" fmla="*/ 6 h 116"/>
                <a:gd name="T60" fmla="*/ 440 w 511"/>
                <a:gd name="T61" fmla="*/ 39 h 116"/>
                <a:gd name="T62" fmla="*/ 509 w 511"/>
                <a:gd name="T63" fmla="*/ 105 h 116"/>
                <a:gd name="T64" fmla="*/ 509 w 511"/>
                <a:gd name="T65" fmla="*/ 114 h 116"/>
                <a:gd name="T66" fmla="*/ 505 w 511"/>
                <a:gd name="T67" fmla="*/ 1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1" h="116">
                  <a:moveTo>
                    <a:pt x="505" y="115"/>
                  </a:moveTo>
                  <a:cubicBezTo>
                    <a:pt x="503" y="115"/>
                    <a:pt x="502" y="115"/>
                    <a:pt x="500" y="114"/>
                  </a:cubicBezTo>
                  <a:cubicBezTo>
                    <a:pt x="432" y="47"/>
                    <a:pt x="432" y="47"/>
                    <a:pt x="432" y="47"/>
                  </a:cubicBezTo>
                  <a:cubicBezTo>
                    <a:pt x="431" y="47"/>
                    <a:pt x="431" y="47"/>
                    <a:pt x="431" y="47"/>
                  </a:cubicBezTo>
                  <a:cubicBezTo>
                    <a:pt x="431" y="47"/>
                    <a:pt x="406" y="18"/>
                    <a:pt x="367" y="18"/>
                  </a:cubicBezTo>
                  <a:cubicBezTo>
                    <a:pt x="367" y="18"/>
                    <a:pt x="366" y="18"/>
                    <a:pt x="366" y="18"/>
                  </a:cubicBezTo>
                  <a:cubicBezTo>
                    <a:pt x="328" y="19"/>
                    <a:pt x="308" y="43"/>
                    <a:pt x="301" y="51"/>
                  </a:cubicBezTo>
                  <a:cubicBezTo>
                    <a:pt x="300" y="53"/>
                    <a:pt x="300" y="53"/>
                    <a:pt x="300" y="53"/>
                  </a:cubicBezTo>
                  <a:cubicBezTo>
                    <a:pt x="295" y="59"/>
                    <a:pt x="288" y="77"/>
                    <a:pt x="285" y="83"/>
                  </a:cubicBezTo>
                  <a:cubicBezTo>
                    <a:pt x="284" y="85"/>
                    <a:pt x="282" y="87"/>
                    <a:pt x="280" y="87"/>
                  </a:cubicBezTo>
                  <a:cubicBezTo>
                    <a:pt x="278" y="87"/>
                    <a:pt x="275" y="86"/>
                    <a:pt x="274" y="84"/>
                  </a:cubicBezTo>
                  <a:cubicBezTo>
                    <a:pt x="273" y="82"/>
                    <a:pt x="266" y="78"/>
                    <a:pt x="255" y="78"/>
                  </a:cubicBezTo>
                  <a:cubicBezTo>
                    <a:pt x="245" y="78"/>
                    <a:pt x="237" y="86"/>
                    <a:pt x="237" y="86"/>
                  </a:cubicBezTo>
                  <a:cubicBezTo>
                    <a:pt x="235" y="88"/>
                    <a:pt x="233" y="89"/>
                    <a:pt x="231" y="88"/>
                  </a:cubicBezTo>
                  <a:cubicBezTo>
                    <a:pt x="229" y="87"/>
                    <a:pt x="227" y="86"/>
                    <a:pt x="227" y="84"/>
                  </a:cubicBezTo>
                  <a:cubicBezTo>
                    <a:pt x="227" y="84"/>
                    <a:pt x="223" y="70"/>
                    <a:pt x="213" y="54"/>
                  </a:cubicBezTo>
                  <a:cubicBezTo>
                    <a:pt x="204" y="40"/>
                    <a:pt x="189" y="26"/>
                    <a:pt x="151" y="19"/>
                  </a:cubicBezTo>
                  <a:cubicBezTo>
                    <a:pt x="117" y="13"/>
                    <a:pt x="86" y="42"/>
                    <a:pt x="85" y="42"/>
                  </a:cubicBezTo>
                  <a:cubicBezTo>
                    <a:pt x="10" y="113"/>
                    <a:pt x="10" y="113"/>
                    <a:pt x="10" y="113"/>
                  </a:cubicBezTo>
                  <a:cubicBezTo>
                    <a:pt x="8" y="116"/>
                    <a:pt x="4" y="115"/>
                    <a:pt x="2" y="113"/>
                  </a:cubicBezTo>
                  <a:cubicBezTo>
                    <a:pt x="0" y="111"/>
                    <a:pt x="0" y="107"/>
                    <a:pt x="2" y="104"/>
                  </a:cubicBezTo>
                  <a:cubicBezTo>
                    <a:pt x="77" y="34"/>
                    <a:pt x="77" y="34"/>
                    <a:pt x="77" y="34"/>
                  </a:cubicBezTo>
                  <a:cubicBezTo>
                    <a:pt x="78" y="33"/>
                    <a:pt x="113" y="0"/>
                    <a:pt x="153" y="7"/>
                  </a:cubicBezTo>
                  <a:cubicBezTo>
                    <a:pt x="187" y="13"/>
                    <a:pt x="208" y="25"/>
                    <a:pt x="223" y="47"/>
                  </a:cubicBezTo>
                  <a:cubicBezTo>
                    <a:pt x="229" y="57"/>
                    <a:pt x="233" y="66"/>
                    <a:pt x="236" y="72"/>
                  </a:cubicBezTo>
                  <a:cubicBezTo>
                    <a:pt x="240" y="69"/>
                    <a:pt x="247" y="66"/>
                    <a:pt x="255" y="66"/>
                  </a:cubicBezTo>
                  <a:cubicBezTo>
                    <a:pt x="263" y="66"/>
                    <a:pt x="271" y="68"/>
                    <a:pt x="277" y="71"/>
                  </a:cubicBezTo>
                  <a:cubicBezTo>
                    <a:pt x="280" y="63"/>
                    <a:pt x="286" y="51"/>
                    <a:pt x="291" y="45"/>
                  </a:cubicBezTo>
                  <a:cubicBezTo>
                    <a:pt x="292" y="44"/>
                    <a:pt x="292" y="44"/>
                    <a:pt x="292" y="44"/>
                  </a:cubicBezTo>
                  <a:cubicBezTo>
                    <a:pt x="299" y="34"/>
                    <a:pt x="323" y="7"/>
                    <a:pt x="366" y="6"/>
                  </a:cubicBezTo>
                  <a:cubicBezTo>
                    <a:pt x="409" y="6"/>
                    <a:pt x="437" y="36"/>
                    <a:pt x="440" y="39"/>
                  </a:cubicBezTo>
                  <a:cubicBezTo>
                    <a:pt x="509" y="105"/>
                    <a:pt x="509" y="105"/>
                    <a:pt x="509" y="105"/>
                  </a:cubicBezTo>
                  <a:cubicBezTo>
                    <a:pt x="511" y="107"/>
                    <a:pt x="511" y="111"/>
                    <a:pt x="509" y="114"/>
                  </a:cubicBezTo>
                  <a:cubicBezTo>
                    <a:pt x="508" y="115"/>
                    <a:pt x="506" y="115"/>
                    <a:pt x="505"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0" name="Freeform 535">
              <a:extLst>
                <a:ext uri="{FF2B5EF4-FFF2-40B4-BE49-F238E27FC236}">
                  <a16:creationId xmlns:a16="http://schemas.microsoft.com/office/drawing/2014/main" id="{F662E4E7-4A79-456B-87C0-4A98F51FB504}"/>
                </a:ext>
              </a:extLst>
            </p:cNvPr>
            <p:cNvSpPr>
              <a:spLocks/>
            </p:cNvSpPr>
            <p:nvPr/>
          </p:nvSpPr>
          <p:spPr bwMode="auto">
            <a:xfrm>
              <a:off x="6520" y="1717"/>
              <a:ext cx="65" cy="47"/>
            </a:xfrm>
            <a:custGeom>
              <a:avLst/>
              <a:gdLst>
                <a:gd name="T0" fmla="*/ 0 w 81"/>
                <a:gd name="T1" fmla="*/ 13 h 58"/>
                <a:gd name="T2" fmla="*/ 48 w 81"/>
                <a:gd name="T3" fmla="*/ 26 h 58"/>
                <a:gd name="T4" fmla="*/ 77 w 81"/>
                <a:gd name="T5" fmla="*/ 57 h 58"/>
                <a:gd name="T6" fmla="*/ 57 w 81"/>
                <a:gd name="T7" fmla="*/ 16 h 58"/>
                <a:gd name="T8" fmla="*/ 0 w 81"/>
                <a:gd name="T9" fmla="*/ 13 h 58"/>
              </a:gdLst>
              <a:ahLst/>
              <a:cxnLst>
                <a:cxn ang="0">
                  <a:pos x="T0" y="T1"/>
                </a:cxn>
                <a:cxn ang="0">
                  <a:pos x="T2" y="T3"/>
                </a:cxn>
                <a:cxn ang="0">
                  <a:pos x="T4" y="T5"/>
                </a:cxn>
                <a:cxn ang="0">
                  <a:pos x="T6" y="T7"/>
                </a:cxn>
                <a:cxn ang="0">
                  <a:pos x="T8" y="T9"/>
                </a:cxn>
              </a:cxnLst>
              <a:rect l="0" t="0" r="r" b="b"/>
              <a:pathLst>
                <a:path w="81" h="58">
                  <a:moveTo>
                    <a:pt x="0" y="13"/>
                  </a:moveTo>
                  <a:cubicBezTo>
                    <a:pt x="0" y="13"/>
                    <a:pt x="25" y="10"/>
                    <a:pt x="48" y="26"/>
                  </a:cubicBezTo>
                  <a:cubicBezTo>
                    <a:pt x="62" y="36"/>
                    <a:pt x="73" y="50"/>
                    <a:pt x="77" y="57"/>
                  </a:cubicBezTo>
                  <a:cubicBezTo>
                    <a:pt x="78" y="58"/>
                    <a:pt x="81" y="31"/>
                    <a:pt x="57" y="16"/>
                  </a:cubicBezTo>
                  <a:cubicBezTo>
                    <a:pt x="33" y="0"/>
                    <a:pt x="4" y="11"/>
                    <a:pt x="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 name="Freeform 536">
              <a:extLst>
                <a:ext uri="{FF2B5EF4-FFF2-40B4-BE49-F238E27FC236}">
                  <a16:creationId xmlns:a16="http://schemas.microsoft.com/office/drawing/2014/main" id="{3511B6A7-CC4E-4782-B4A0-52B5F1D03579}"/>
                </a:ext>
              </a:extLst>
            </p:cNvPr>
            <p:cNvSpPr>
              <a:spLocks/>
            </p:cNvSpPr>
            <p:nvPr/>
          </p:nvSpPr>
          <p:spPr bwMode="auto">
            <a:xfrm>
              <a:off x="6617" y="1717"/>
              <a:ext cx="65" cy="47"/>
            </a:xfrm>
            <a:custGeom>
              <a:avLst/>
              <a:gdLst>
                <a:gd name="T0" fmla="*/ 81 w 81"/>
                <a:gd name="T1" fmla="*/ 13 h 58"/>
                <a:gd name="T2" fmla="*/ 33 w 81"/>
                <a:gd name="T3" fmla="*/ 26 h 58"/>
                <a:gd name="T4" fmla="*/ 3 w 81"/>
                <a:gd name="T5" fmla="*/ 57 h 58"/>
                <a:gd name="T6" fmla="*/ 24 w 81"/>
                <a:gd name="T7" fmla="*/ 16 h 58"/>
                <a:gd name="T8" fmla="*/ 81 w 81"/>
                <a:gd name="T9" fmla="*/ 13 h 58"/>
              </a:gdLst>
              <a:ahLst/>
              <a:cxnLst>
                <a:cxn ang="0">
                  <a:pos x="T0" y="T1"/>
                </a:cxn>
                <a:cxn ang="0">
                  <a:pos x="T2" y="T3"/>
                </a:cxn>
                <a:cxn ang="0">
                  <a:pos x="T4" y="T5"/>
                </a:cxn>
                <a:cxn ang="0">
                  <a:pos x="T6" y="T7"/>
                </a:cxn>
                <a:cxn ang="0">
                  <a:pos x="T8" y="T9"/>
                </a:cxn>
              </a:cxnLst>
              <a:rect l="0" t="0" r="r" b="b"/>
              <a:pathLst>
                <a:path w="81" h="58">
                  <a:moveTo>
                    <a:pt x="81" y="13"/>
                  </a:moveTo>
                  <a:cubicBezTo>
                    <a:pt x="81" y="13"/>
                    <a:pt x="56" y="10"/>
                    <a:pt x="33" y="26"/>
                  </a:cubicBezTo>
                  <a:cubicBezTo>
                    <a:pt x="19" y="36"/>
                    <a:pt x="7" y="50"/>
                    <a:pt x="3" y="57"/>
                  </a:cubicBezTo>
                  <a:cubicBezTo>
                    <a:pt x="3" y="58"/>
                    <a:pt x="0" y="31"/>
                    <a:pt x="24" y="16"/>
                  </a:cubicBezTo>
                  <a:cubicBezTo>
                    <a:pt x="48" y="0"/>
                    <a:pt x="77" y="11"/>
                    <a:pt x="8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 name="Freeform 537">
              <a:extLst>
                <a:ext uri="{FF2B5EF4-FFF2-40B4-BE49-F238E27FC236}">
                  <a16:creationId xmlns:a16="http://schemas.microsoft.com/office/drawing/2014/main" id="{7CCE93C9-DCF9-417D-85F4-46F38418DE55}"/>
                </a:ext>
              </a:extLst>
            </p:cNvPr>
            <p:cNvSpPr>
              <a:spLocks/>
            </p:cNvSpPr>
            <p:nvPr/>
          </p:nvSpPr>
          <p:spPr bwMode="auto">
            <a:xfrm>
              <a:off x="6543" y="1795"/>
              <a:ext cx="39" cy="131"/>
            </a:xfrm>
            <a:custGeom>
              <a:avLst/>
              <a:gdLst>
                <a:gd name="T0" fmla="*/ 39 w 39"/>
                <a:gd name="T1" fmla="*/ 0 h 131"/>
                <a:gd name="T2" fmla="*/ 0 w 39"/>
                <a:gd name="T3" fmla="*/ 131 h 131"/>
                <a:gd name="T4" fmla="*/ 39 w 39"/>
                <a:gd name="T5" fmla="*/ 0 h 131"/>
              </a:gdLst>
              <a:ahLst/>
              <a:cxnLst>
                <a:cxn ang="0">
                  <a:pos x="T0" y="T1"/>
                </a:cxn>
                <a:cxn ang="0">
                  <a:pos x="T2" y="T3"/>
                </a:cxn>
                <a:cxn ang="0">
                  <a:pos x="T4" y="T5"/>
                </a:cxn>
              </a:cxnLst>
              <a:rect l="0" t="0" r="r" b="b"/>
              <a:pathLst>
                <a:path w="39" h="131">
                  <a:moveTo>
                    <a:pt x="39" y="0"/>
                  </a:moveTo>
                  <a:lnTo>
                    <a:pt x="0" y="131"/>
                  </a:lnTo>
                  <a:lnTo>
                    <a:pt x="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3" name="Line 538">
              <a:extLst>
                <a:ext uri="{FF2B5EF4-FFF2-40B4-BE49-F238E27FC236}">
                  <a16:creationId xmlns:a16="http://schemas.microsoft.com/office/drawing/2014/main" id="{6D0300D2-60E2-4580-8663-2DF5EA7A187F}"/>
                </a:ext>
              </a:extLst>
            </p:cNvPr>
            <p:cNvSpPr>
              <a:spLocks noChangeShapeType="1"/>
            </p:cNvSpPr>
            <p:nvPr/>
          </p:nvSpPr>
          <p:spPr bwMode="auto">
            <a:xfrm flipH="1">
              <a:off x="6543" y="1795"/>
              <a:ext cx="39" cy="131"/>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4" name="Freeform 539">
              <a:extLst>
                <a:ext uri="{FF2B5EF4-FFF2-40B4-BE49-F238E27FC236}">
                  <a16:creationId xmlns:a16="http://schemas.microsoft.com/office/drawing/2014/main" id="{7DC45EDB-DF9B-4101-B241-11F7AF103704}"/>
                </a:ext>
              </a:extLst>
            </p:cNvPr>
            <p:cNvSpPr>
              <a:spLocks/>
            </p:cNvSpPr>
            <p:nvPr/>
          </p:nvSpPr>
          <p:spPr bwMode="auto">
            <a:xfrm>
              <a:off x="6538" y="1794"/>
              <a:ext cx="49" cy="133"/>
            </a:xfrm>
            <a:custGeom>
              <a:avLst/>
              <a:gdLst>
                <a:gd name="T0" fmla="*/ 10 w 49"/>
                <a:gd name="T1" fmla="*/ 133 h 133"/>
                <a:gd name="T2" fmla="*/ 0 w 49"/>
                <a:gd name="T3" fmla="*/ 131 h 133"/>
                <a:gd name="T4" fmla="*/ 40 w 49"/>
                <a:gd name="T5" fmla="*/ 0 h 133"/>
                <a:gd name="T6" fmla="*/ 49 w 49"/>
                <a:gd name="T7" fmla="*/ 3 h 133"/>
                <a:gd name="T8" fmla="*/ 10 w 49"/>
                <a:gd name="T9" fmla="*/ 133 h 133"/>
              </a:gdLst>
              <a:ahLst/>
              <a:cxnLst>
                <a:cxn ang="0">
                  <a:pos x="T0" y="T1"/>
                </a:cxn>
                <a:cxn ang="0">
                  <a:pos x="T2" y="T3"/>
                </a:cxn>
                <a:cxn ang="0">
                  <a:pos x="T4" y="T5"/>
                </a:cxn>
                <a:cxn ang="0">
                  <a:pos x="T6" y="T7"/>
                </a:cxn>
                <a:cxn ang="0">
                  <a:pos x="T8" y="T9"/>
                </a:cxn>
              </a:cxnLst>
              <a:rect l="0" t="0" r="r" b="b"/>
              <a:pathLst>
                <a:path w="49" h="133">
                  <a:moveTo>
                    <a:pt x="10" y="133"/>
                  </a:moveTo>
                  <a:lnTo>
                    <a:pt x="0" y="131"/>
                  </a:lnTo>
                  <a:lnTo>
                    <a:pt x="40" y="0"/>
                  </a:lnTo>
                  <a:lnTo>
                    <a:pt x="49" y="3"/>
                  </a:lnTo>
                  <a:lnTo>
                    <a:pt x="10"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5" name="Freeform 540">
              <a:extLst>
                <a:ext uri="{FF2B5EF4-FFF2-40B4-BE49-F238E27FC236}">
                  <a16:creationId xmlns:a16="http://schemas.microsoft.com/office/drawing/2014/main" id="{BB6BBAD0-54A3-4C60-9BD4-3749BB72D8C6}"/>
                </a:ext>
              </a:extLst>
            </p:cNvPr>
            <p:cNvSpPr>
              <a:spLocks/>
            </p:cNvSpPr>
            <p:nvPr/>
          </p:nvSpPr>
          <p:spPr bwMode="auto">
            <a:xfrm>
              <a:off x="6619" y="1791"/>
              <a:ext cx="37" cy="130"/>
            </a:xfrm>
            <a:custGeom>
              <a:avLst/>
              <a:gdLst>
                <a:gd name="T0" fmla="*/ 0 w 37"/>
                <a:gd name="T1" fmla="*/ 0 h 130"/>
                <a:gd name="T2" fmla="*/ 37 w 37"/>
                <a:gd name="T3" fmla="*/ 130 h 130"/>
                <a:gd name="T4" fmla="*/ 0 w 37"/>
                <a:gd name="T5" fmla="*/ 0 h 130"/>
              </a:gdLst>
              <a:ahLst/>
              <a:cxnLst>
                <a:cxn ang="0">
                  <a:pos x="T0" y="T1"/>
                </a:cxn>
                <a:cxn ang="0">
                  <a:pos x="T2" y="T3"/>
                </a:cxn>
                <a:cxn ang="0">
                  <a:pos x="T4" y="T5"/>
                </a:cxn>
              </a:cxnLst>
              <a:rect l="0" t="0" r="r" b="b"/>
              <a:pathLst>
                <a:path w="37" h="130">
                  <a:moveTo>
                    <a:pt x="0" y="0"/>
                  </a:moveTo>
                  <a:lnTo>
                    <a:pt x="37" y="13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6" name="Line 541">
              <a:extLst>
                <a:ext uri="{FF2B5EF4-FFF2-40B4-BE49-F238E27FC236}">
                  <a16:creationId xmlns:a16="http://schemas.microsoft.com/office/drawing/2014/main" id="{232BBDE7-DA95-426E-B5BC-149C8940D812}"/>
                </a:ext>
              </a:extLst>
            </p:cNvPr>
            <p:cNvSpPr>
              <a:spLocks noChangeShapeType="1"/>
            </p:cNvSpPr>
            <p:nvPr/>
          </p:nvSpPr>
          <p:spPr bwMode="auto">
            <a:xfrm>
              <a:off x="6619" y="1791"/>
              <a:ext cx="37" cy="13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7" name="Freeform 542">
              <a:extLst>
                <a:ext uri="{FF2B5EF4-FFF2-40B4-BE49-F238E27FC236}">
                  <a16:creationId xmlns:a16="http://schemas.microsoft.com/office/drawing/2014/main" id="{CB5FE92C-3312-4059-B150-BCA2DB5381BA}"/>
                </a:ext>
              </a:extLst>
            </p:cNvPr>
            <p:cNvSpPr>
              <a:spLocks/>
            </p:cNvSpPr>
            <p:nvPr/>
          </p:nvSpPr>
          <p:spPr bwMode="auto">
            <a:xfrm>
              <a:off x="6615" y="1790"/>
              <a:ext cx="45" cy="132"/>
            </a:xfrm>
            <a:custGeom>
              <a:avLst/>
              <a:gdLst>
                <a:gd name="T0" fmla="*/ 37 w 45"/>
                <a:gd name="T1" fmla="*/ 132 h 132"/>
                <a:gd name="T2" fmla="*/ 0 w 45"/>
                <a:gd name="T3" fmla="*/ 3 h 132"/>
                <a:gd name="T4" fmla="*/ 9 w 45"/>
                <a:gd name="T5" fmla="*/ 0 h 132"/>
                <a:gd name="T6" fmla="*/ 45 w 45"/>
                <a:gd name="T7" fmla="*/ 130 h 132"/>
                <a:gd name="T8" fmla="*/ 37 w 45"/>
                <a:gd name="T9" fmla="*/ 132 h 132"/>
              </a:gdLst>
              <a:ahLst/>
              <a:cxnLst>
                <a:cxn ang="0">
                  <a:pos x="T0" y="T1"/>
                </a:cxn>
                <a:cxn ang="0">
                  <a:pos x="T2" y="T3"/>
                </a:cxn>
                <a:cxn ang="0">
                  <a:pos x="T4" y="T5"/>
                </a:cxn>
                <a:cxn ang="0">
                  <a:pos x="T6" y="T7"/>
                </a:cxn>
                <a:cxn ang="0">
                  <a:pos x="T8" y="T9"/>
                </a:cxn>
              </a:cxnLst>
              <a:rect l="0" t="0" r="r" b="b"/>
              <a:pathLst>
                <a:path w="45" h="132">
                  <a:moveTo>
                    <a:pt x="37" y="132"/>
                  </a:moveTo>
                  <a:lnTo>
                    <a:pt x="0" y="3"/>
                  </a:lnTo>
                  <a:lnTo>
                    <a:pt x="9" y="0"/>
                  </a:lnTo>
                  <a:lnTo>
                    <a:pt x="45" y="130"/>
                  </a:lnTo>
                  <a:lnTo>
                    <a:pt x="37"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8" name="Oval 543">
              <a:extLst>
                <a:ext uri="{FF2B5EF4-FFF2-40B4-BE49-F238E27FC236}">
                  <a16:creationId xmlns:a16="http://schemas.microsoft.com/office/drawing/2014/main" id="{8949F85D-0D8E-45C8-BF1D-B81224D5F742}"/>
                </a:ext>
              </a:extLst>
            </p:cNvPr>
            <p:cNvSpPr>
              <a:spLocks noChangeArrowheads="1"/>
            </p:cNvSpPr>
            <p:nvPr/>
          </p:nvSpPr>
          <p:spPr bwMode="auto">
            <a:xfrm>
              <a:off x="6573" y="1839"/>
              <a:ext cx="56" cy="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9" name="Freeform 544">
              <a:extLst>
                <a:ext uri="{FF2B5EF4-FFF2-40B4-BE49-F238E27FC236}">
                  <a16:creationId xmlns:a16="http://schemas.microsoft.com/office/drawing/2014/main" id="{217F6862-B132-464F-8570-D82ADE6BE816}"/>
                </a:ext>
              </a:extLst>
            </p:cNvPr>
            <p:cNvSpPr>
              <a:spLocks/>
            </p:cNvSpPr>
            <p:nvPr/>
          </p:nvSpPr>
          <p:spPr bwMode="auto">
            <a:xfrm>
              <a:off x="6465" y="1867"/>
              <a:ext cx="40" cy="91"/>
            </a:xfrm>
            <a:custGeom>
              <a:avLst/>
              <a:gdLst>
                <a:gd name="T0" fmla="*/ 7 w 50"/>
                <a:gd name="T1" fmla="*/ 112 h 112"/>
                <a:gd name="T2" fmla="*/ 2 w 50"/>
                <a:gd name="T3" fmla="*/ 109 h 112"/>
                <a:gd name="T4" fmla="*/ 4 w 50"/>
                <a:gd name="T5" fmla="*/ 101 h 112"/>
                <a:gd name="T6" fmla="*/ 33 w 50"/>
                <a:gd name="T7" fmla="*/ 64 h 112"/>
                <a:gd name="T8" fmla="*/ 23 w 50"/>
                <a:gd name="T9" fmla="*/ 10 h 112"/>
                <a:gd name="T10" fmla="*/ 25 w 50"/>
                <a:gd name="T11" fmla="*/ 1 h 112"/>
                <a:gd name="T12" fmla="*/ 33 w 50"/>
                <a:gd name="T13" fmla="*/ 4 h 112"/>
                <a:gd name="T14" fmla="*/ 45 w 50"/>
                <a:gd name="T15" fmla="*/ 67 h 112"/>
                <a:gd name="T16" fmla="*/ 10 w 50"/>
                <a:gd name="T17" fmla="*/ 112 h 112"/>
                <a:gd name="T18" fmla="*/ 7 w 50"/>
                <a:gd name="T19"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112">
                  <a:moveTo>
                    <a:pt x="7" y="112"/>
                  </a:moveTo>
                  <a:cubicBezTo>
                    <a:pt x="5" y="112"/>
                    <a:pt x="3" y="111"/>
                    <a:pt x="2" y="109"/>
                  </a:cubicBezTo>
                  <a:cubicBezTo>
                    <a:pt x="0" y="107"/>
                    <a:pt x="1" y="103"/>
                    <a:pt x="4" y="101"/>
                  </a:cubicBezTo>
                  <a:cubicBezTo>
                    <a:pt x="5" y="101"/>
                    <a:pt x="27" y="88"/>
                    <a:pt x="33" y="64"/>
                  </a:cubicBezTo>
                  <a:cubicBezTo>
                    <a:pt x="38" y="47"/>
                    <a:pt x="34" y="29"/>
                    <a:pt x="23" y="10"/>
                  </a:cubicBezTo>
                  <a:cubicBezTo>
                    <a:pt x="21" y="7"/>
                    <a:pt x="22" y="3"/>
                    <a:pt x="25" y="1"/>
                  </a:cubicBezTo>
                  <a:cubicBezTo>
                    <a:pt x="27" y="0"/>
                    <a:pt x="31" y="1"/>
                    <a:pt x="33" y="4"/>
                  </a:cubicBezTo>
                  <a:cubicBezTo>
                    <a:pt x="46" y="26"/>
                    <a:pt x="50" y="47"/>
                    <a:pt x="45" y="67"/>
                  </a:cubicBezTo>
                  <a:cubicBezTo>
                    <a:pt x="37" y="96"/>
                    <a:pt x="11" y="111"/>
                    <a:pt x="10" y="112"/>
                  </a:cubicBezTo>
                  <a:cubicBezTo>
                    <a:pt x="9" y="112"/>
                    <a:pt x="8" y="112"/>
                    <a:pt x="7"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0" name="Freeform 545">
              <a:extLst>
                <a:ext uri="{FF2B5EF4-FFF2-40B4-BE49-F238E27FC236}">
                  <a16:creationId xmlns:a16="http://schemas.microsoft.com/office/drawing/2014/main" id="{6F8B2B0D-478E-42B1-98E8-9F94981E804E}"/>
                </a:ext>
              </a:extLst>
            </p:cNvPr>
            <p:cNvSpPr>
              <a:spLocks/>
            </p:cNvSpPr>
            <p:nvPr/>
          </p:nvSpPr>
          <p:spPr bwMode="auto">
            <a:xfrm>
              <a:off x="6776" y="1867"/>
              <a:ext cx="40" cy="91"/>
            </a:xfrm>
            <a:custGeom>
              <a:avLst/>
              <a:gdLst>
                <a:gd name="T0" fmla="*/ 7 w 50"/>
                <a:gd name="T1" fmla="*/ 112 h 112"/>
                <a:gd name="T2" fmla="*/ 2 w 50"/>
                <a:gd name="T3" fmla="*/ 109 h 112"/>
                <a:gd name="T4" fmla="*/ 4 w 50"/>
                <a:gd name="T5" fmla="*/ 101 h 112"/>
                <a:gd name="T6" fmla="*/ 33 w 50"/>
                <a:gd name="T7" fmla="*/ 64 h 112"/>
                <a:gd name="T8" fmla="*/ 22 w 50"/>
                <a:gd name="T9" fmla="*/ 10 h 112"/>
                <a:gd name="T10" fmla="*/ 24 w 50"/>
                <a:gd name="T11" fmla="*/ 1 h 112"/>
                <a:gd name="T12" fmla="*/ 33 w 50"/>
                <a:gd name="T13" fmla="*/ 4 h 112"/>
                <a:gd name="T14" fmla="*/ 45 w 50"/>
                <a:gd name="T15" fmla="*/ 67 h 112"/>
                <a:gd name="T16" fmla="*/ 10 w 50"/>
                <a:gd name="T17" fmla="*/ 112 h 112"/>
                <a:gd name="T18" fmla="*/ 7 w 50"/>
                <a:gd name="T19"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112">
                  <a:moveTo>
                    <a:pt x="7" y="112"/>
                  </a:moveTo>
                  <a:cubicBezTo>
                    <a:pt x="5" y="112"/>
                    <a:pt x="3" y="111"/>
                    <a:pt x="2" y="109"/>
                  </a:cubicBezTo>
                  <a:cubicBezTo>
                    <a:pt x="0" y="107"/>
                    <a:pt x="1" y="103"/>
                    <a:pt x="4" y="101"/>
                  </a:cubicBezTo>
                  <a:cubicBezTo>
                    <a:pt x="5" y="101"/>
                    <a:pt x="26" y="88"/>
                    <a:pt x="33" y="64"/>
                  </a:cubicBezTo>
                  <a:cubicBezTo>
                    <a:pt x="37" y="47"/>
                    <a:pt x="34" y="29"/>
                    <a:pt x="22" y="10"/>
                  </a:cubicBezTo>
                  <a:cubicBezTo>
                    <a:pt x="21" y="7"/>
                    <a:pt x="22" y="3"/>
                    <a:pt x="24" y="1"/>
                  </a:cubicBezTo>
                  <a:cubicBezTo>
                    <a:pt x="27" y="0"/>
                    <a:pt x="31" y="1"/>
                    <a:pt x="33" y="4"/>
                  </a:cubicBezTo>
                  <a:cubicBezTo>
                    <a:pt x="46" y="26"/>
                    <a:pt x="50" y="47"/>
                    <a:pt x="45" y="67"/>
                  </a:cubicBezTo>
                  <a:cubicBezTo>
                    <a:pt x="37" y="96"/>
                    <a:pt x="11" y="111"/>
                    <a:pt x="10" y="112"/>
                  </a:cubicBezTo>
                  <a:cubicBezTo>
                    <a:pt x="9" y="112"/>
                    <a:pt x="8" y="112"/>
                    <a:pt x="7"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0517117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484521-C481-4AC5-95C6-3EEFC617963B}"/>
              </a:ext>
            </a:extLst>
          </p:cNvPr>
          <p:cNvSpPr>
            <a:spLocks noGrp="1"/>
          </p:cNvSpPr>
          <p:nvPr>
            <p:ph type="title"/>
          </p:nvPr>
        </p:nvSpPr>
        <p:spPr>
          <a:xfrm>
            <a:off x="900000" y="720000"/>
            <a:ext cx="8557008" cy="774491"/>
          </a:xfrm>
        </p:spPr>
        <p:txBody>
          <a:bodyPr/>
          <a:lstStyle/>
          <a:p>
            <a:r>
              <a:rPr lang="de-DE" dirty="0"/>
              <a:t>IPCEI | Anforderungen der KOM</a:t>
            </a:r>
          </a:p>
        </p:txBody>
      </p:sp>
      <p:sp>
        <p:nvSpPr>
          <p:cNvPr id="3" name="Foliennummernplatzhalter 2">
            <a:extLst>
              <a:ext uri="{FF2B5EF4-FFF2-40B4-BE49-F238E27FC236}">
                <a16:creationId xmlns:a16="http://schemas.microsoft.com/office/drawing/2014/main" id="{B07E6824-37E5-43E1-B642-8A93F21A8C3F}"/>
              </a:ext>
            </a:extLst>
          </p:cNvPr>
          <p:cNvSpPr>
            <a:spLocks noGrp="1"/>
          </p:cNvSpPr>
          <p:nvPr>
            <p:ph type="sldNum" sz="quarter" idx="10"/>
          </p:nvPr>
        </p:nvSpPr>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smtClean="0">
                <a:solidFill>
                  <a:schemeClr val="accent5"/>
                </a:solidFill>
              </a:rPr>
              <a:pPr algn="l" rtl="0"/>
              <a:t>8</a:t>
            </a:fld>
            <a:r>
              <a:rPr lang="en-GB" sz="1000" b="0" i="0" u="none" baseline="0">
                <a:solidFill>
                  <a:schemeClr val="accent5"/>
                </a:solidFill>
              </a:rPr>
              <a:t> </a:t>
            </a:r>
          </a:p>
        </p:txBody>
      </p:sp>
      <p:sp>
        <p:nvSpPr>
          <p:cNvPr id="10" name="Rectangle 1">
            <a:extLst>
              <a:ext uri="{FF2B5EF4-FFF2-40B4-BE49-F238E27FC236}">
                <a16:creationId xmlns:a16="http://schemas.microsoft.com/office/drawing/2014/main" id="{1E9E4C9C-048C-453E-B821-69C860FE9F78}"/>
              </a:ext>
            </a:extLst>
          </p:cNvPr>
          <p:cNvSpPr>
            <a:spLocks noChangeArrowheads="1"/>
          </p:cNvSpPr>
          <p:nvPr/>
        </p:nvSpPr>
        <p:spPr bwMode="auto">
          <a:xfrm>
            <a:off x="0" y="102920"/>
            <a:ext cx="65" cy="25135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grpSp>
        <p:nvGrpSpPr>
          <p:cNvPr id="31" name="Gruppieren 30">
            <a:extLst>
              <a:ext uri="{FF2B5EF4-FFF2-40B4-BE49-F238E27FC236}">
                <a16:creationId xmlns:a16="http://schemas.microsoft.com/office/drawing/2014/main" id="{1D065791-8E42-4BEB-8E6F-9CF368678C32}"/>
              </a:ext>
            </a:extLst>
          </p:cNvPr>
          <p:cNvGrpSpPr/>
          <p:nvPr/>
        </p:nvGrpSpPr>
        <p:grpSpPr>
          <a:xfrm>
            <a:off x="1802092" y="1677760"/>
            <a:ext cx="8758404" cy="4559552"/>
            <a:chOff x="721972" y="1771510"/>
            <a:chExt cx="8127999" cy="4183221"/>
          </a:xfrm>
        </p:grpSpPr>
        <p:grpSp>
          <p:nvGrpSpPr>
            <p:cNvPr id="5" name="Gruppieren 4">
              <a:extLst>
                <a:ext uri="{FF2B5EF4-FFF2-40B4-BE49-F238E27FC236}">
                  <a16:creationId xmlns:a16="http://schemas.microsoft.com/office/drawing/2014/main" id="{001C4884-073B-4160-89A6-C356E3CAF4D7}"/>
                </a:ext>
              </a:extLst>
            </p:cNvPr>
            <p:cNvGrpSpPr/>
            <p:nvPr/>
          </p:nvGrpSpPr>
          <p:grpSpPr>
            <a:xfrm>
              <a:off x="721972" y="1771510"/>
              <a:ext cx="8127999" cy="4183221"/>
              <a:chOff x="2032000" y="881984"/>
              <a:chExt cx="8127999" cy="4183221"/>
            </a:xfrm>
          </p:grpSpPr>
          <p:sp>
            <p:nvSpPr>
              <p:cNvPr id="6" name="Freihandform: Form 5">
                <a:extLst>
                  <a:ext uri="{FF2B5EF4-FFF2-40B4-BE49-F238E27FC236}">
                    <a16:creationId xmlns:a16="http://schemas.microsoft.com/office/drawing/2014/main" id="{435C1AAB-F624-4D56-A4FB-EF20E34293E0}"/>
                  </a:ext>
                </a:extLst>
              </p:cNvPr>
              <p:cNvSpPr/>
              <p:nvPr/>
            </p:nvSpPr>
            <p:spPr>
              <a:xfrm>
                <a:off x="3598265" y="3481438"/>
                <a:ext cx="1845056" cy="1583767"/>
              </a:xfrm>
              <a:custGeom>
                <a:avLst/>
                <a:gdLst>
                  <a:gd name="connsiteX0" fmla="*/ 0 w 1845056"/>
                  <a:gd name="connsiteY0" fmla="*/ 791884 h 1583767"/>
                  <a:gd name="connsiteX1" fmla="*/ 395942 w 1845056"/>
                  <a:gd name="connsiteY1" fmla="*/ 0 h 1583767"/>
                  <a:gd name="connsiteX2" fmla="*/ 1449114 w 1845056"/>
                  <a:gd name="connsiteY2" fmla="*/ 0 h 1583767"/>
                  <a:gd name="connsiteX3" fmla="*/ 1845056 w 1845056"/>
                  <a:gd name="connsiteY3" fmla="*/ 791884 h 1583767"/>
                  <a:gd name="connsiteX4" fmla="*/ 1449114 w 1845056"/>
                  <a:gd name="connsiteY4" fmla="*/ 1583767 h 1583767"/>
                  <a:gd name="connsiteX5" fmla="*/ 395942 w 1845056"/>
                  <a:gd name="connsiteY5" fmla="*/ 1583767 h 1583767"/>
                  <a:gd name="connsiteX6" fmla="*/ 0 w 1845056"/>
                  <a:gd name="connsiteY6" fmla="*/ 791884 h 158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5056" h="1583767">
                    <a:moveTo>
                      <a:pt x="0" y="791884"/>
                    </a:moveTo>
                    <a:lnTo>
                      <a:pt x="395942" y="0"/>
                    </a:lnTo>
                    <a:lnTo>
                      <a:pt x="1449114" y="0"/>
                    </a:lnTo>
                    <a:lnTo>
                      <a:pt x="1845056" y="791884"/>
                    </a:lnTo>
                    <a:lnTo>
                      <a:pt x="1449114" y="1583767"/>
                    </a:lnTo>
                    <a:lnTo>
                      <a:pt x="395942" y="1583767"/>
                    </a:lnTo>
                    <a:lnTo>
                      <a:pt x="0" y="791884"/>
                    </a:lnTo>
                    <a:close/>
                  </a:path>
                </a:pathLst>
              </a:custGeom>
            </p:spPr>
            <p:style>
              <a:lnRef idx="2">
                <a:schemeClr val="accent6">
                  <a:alpha val="90000"/>
                  <a:hueOff val="0"/>
                  <a:satOff val="0"/>
                  <a:lumOff val="0"/>
                  <a:alphaOff val="0"/>
                </a:schemeClr>
              </a:lnRef>
              <a:fillRef idx="1">
                <a:schemeClr val="accent6">
                  <a:alpha val="90000"/>
                  <a:hueOff val="0"/>
                  <a:satOff val="0"/>
                  <a:lumOff val="0"/>
                  <a:alphaOff val="0"/>
                </a:schemeClr>
              </a:fillRef>
              <a:effectRef idx="0">
                <a:schemeClr val="accent6">
                  <a:alpha val="90000"/>
                  <a:hueOff val="0"/>
                  <a:satOff val="0"/>
                  <a:lumOff val="0"/>
                  <a:alphaOff val="0"/>
                </a:schemeClr>
              </a:effectRef>
              <a:fontRef idx="minor">
                <a:schemeClr val="lt1"/>
              </a:fontRef>
            </p:style>
            <p:txBody>
              <a:bodyPr spcFirstLastPara="0" vert="horz" wrap="square" lIns="285735" tIns="297341" rIns="285735" bIns="297341" numCol="1" spcCol="1270" anchor="ctr" anchorCtr="0">
                <a:noAutofit/>
              </a:bodyPr>
              <a:lstStyle/>
              <a:p>
                <a:pPr marL="0" lvl="0" indent="0" algn="ctr" defTabSz="1822450">
                  <a:lnSpc>
                    <a:spcPct val="90000"/>
                  </a:lnSpc>
                  <a:spcBef>
                    <a:spcPct val="0"/>
                  </a:spcBef>
                  <a:spcAft>
                    <a:spcPct val="35000"/>
                  </a:spcAft>
                  <a:buNone/>
                </a:pPr>
                <a:r>
                  <a:rPr lang="de-DE" kern="1200" dirty="0"/>
                  <a:t>EU-</a:t>
                </a:r>
                <a:r>
                  <a:rPr lang="de-DE" dirty="0"/>
                  <a:t>weite </a:t>
                </a:r>
                <a:r>
                  <a:rPr lang="de-DE" kern="1200" dirty="0"/>
                  <a:t>Spill-</a:t>
                </a:r>
                <a:r>
                  <a:rPr lang="de-DE" kern="1200" dirty="0" err="1"/>
                  <a:t>over</a:t>
                </a:r>
                <a:r>
                  <a:rPr lang="de-DE" kern="1200" dirty="0"/>
                  <a:t> Aktivitäten</a:t>
                </a:r>
              </a:p>
            </p:txBody>
          </p:sp>
          <p:sp>
            <p:nvSpPr>
              <p:cNvPr id="9" name="Sechseck 8">
                <a:extLst>
                  <a:ext uri="{FF2B5EF4-FFF2-40B4-BE49-F238E27FC236}">
                    <a16:creationId xmlns:a16="http://schemas.microsoft.com/office/drawing/2014/main" id="{E687F889-39C4-4C23-82FA-3EF4AA8E1272}"/>
                  </a:ext>
                </a:extLst>
              </p:cNvPr>
              <p:cNvSpPr/>
              <p:nvPr/>
            </p:nvSpPr>
            <p:spPr>
              <a:xfrm>
                <a:off x="2032000" y="2620531"/>
                <a:ext cx="1845056" cy="1583767"/>
              </a:xfrm>
              <a:prstGeom prst="hexagon">
                <a:avLst>
                  <a:gd name="adj" fmla="val 25000"/>
                  <a:gd name="vf" fmla="val 115470"/>
                </a:avLst>
              </a:prstGeom>
            </p:spPr>
            <p:style>
              <a:lnRef idx="2">
                <a:schemeClr val="accent6">
                  <a:alpha val="90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nchorCtr="0"/>
              <a:lstStyle/>
              <a:p>
                <a:pPr algn="ctr"/>
                <a:r>
                  <a:rPr lang="de-DE" dirty="0"/>
                  <a:t>Weltweiter Stand der</a:t>
                </a:r>
              </a:p>
              <a:p>
                <a:pPr algn="ctr"/>
                <a:r>
                  <a:rPr lang="de-DE" dirty="0"/>
                  <a:t>Technik</a:t>
                </a:r>
              </a:p>
            </p:txBody>
          </p:sp>
          <p:sp>
            <p:nvSpPr>
              <p:cNvPr id="18" name="Freihandform: Form 17">
                <a:extLst>
                  <a:ext uri="{FF2B5EF4-FFF2-40B4-BE49-F238E27FC236}">
                    <a16:creationId xmlns:a16="http://schemas.microsoft.com/office/drawing/2014/main" id="{7458E7A2-CD03-4B0E-8BE3-BEECB9644F88}"/>
                  </a:ext>
                </a:extLst>
              </p:cNvPr>
              <p:cNvSpPr/>
              <p:nvPr/>
            </p:nvSpPr>
            <p:spPr>
              <a:xfrm>
                <a:off x="5162905" y="2608400"/>
                <a:ext cx="1845056" cy="1583767"/>
              </a:xfrm>
              <a:custGeom>
                <a:avLst/>
                <a:gdLst>
                  <a:gd name="connsiteX0" fmla="*/ 0 w 1845056"/>
                  <a:gd name="connsiteY0" fmla="*/ 791884 h 1583767"/>
                  <a:gd name="connsiteX1" fmla="*/ 395942 w 1845056"/>
                  <a:gd name="connsiteY1" fmla="*/ 0 h 1583767"/>
                  <a:gd name="connsiteX2" fmla="*/ 1449114 w 1845056"/>
                  <a:gd name="connsiteY2" fmla="*/ 0 h 1583767"/>
                  <a:gd name="connsiteX3" fmla="*/ 1845056 w 1845056"/>
                  <a:gd name="connsiteY3" fmla="*/ 791884 h 1583767"/>
                  <a:gd name="connsiteX4" fmla="*/ 1449114 w 1845056"/>
                  <a:gd name="connsiteY4" fmla="*/ 1583767 h 1583767"/>
                  <a:gd name="connsiteX5" fmla="*/ 395942 w 1845056"/>
                  <a:gd name="connsiteY5" fmla="*/ 1583767 h 1583767"/>
                  <a:gd name="connsiteX6" fmla="*/ 0 w 1845056"/>
                  <a:gd name="connsiteY6" fmla="*/ 791884 h 158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5056" h="1583767">
                    <a:moveTo>
                      <a:pt x="0" y="791884"/>
                    </a:moveTo>
                    <a:lnTo>
                      <a:pt x="395942" y="0"/>
                    </a:lnTo>
                    <a:lnTo>
                      <a:pt x="1449114" y="0"/>
                    </a:lnTo>
                    <a:lnTo>
                      <a:pt x="1845056" y="791884"/>
                    </a:lnTo>
                    <a:lnTo>
                      <a:pt x="1449114" y="1583767"/>
                    </a:lnTo>
                    <a:lnTo>
                      <a:pt x="395942" y="1583767"/>
                    </a:lnTo>
                    <a:lnTo>
                      <a:pt x="0" y="791884"/>
                    </a:lnTo>
                    <a:close/>
                  </a:path>
                </a:pathLst>
              </a:custGeom>
            </p:spPr>
            <p:style>
              <a:lnRef idx="2">
                <a:schemeClr val="accent6">
                  <a:alpha val="90000"/>
                  <a:hueOff val="0"/>
                  <a:satOff val="0"/>
                  <a:lumOff val="0"/>
                  <a:alphaOff val="-13333"/>
                </a:schemeClr>
              </a:lnRef>
              <a:fillRef idx="1">
                <a:schemeClr val="accent6">
                  <a:alpha val="90000"/>
                  <a:hueOff val="0"/>
                  <a:satOff val="0"/>
                  <a:lumOff val="0"/>
                  <a:alphaOff val="-13333"/>
                </a:schemeClr>
              </a:fillRef>
              <a:effectRef idx="0">
                <a:schemeClr val="accent6">
                  <a:alpha val="90000"/>
                  <a:hueOff val="0"/>
                  <a:satOff val="0"/>
                  <a:lumOff val="0"/>
                  <a:alphaOff val="-13333"/>
                </a:schemeClr>
              </a:effectRef>
              <a:fontRef idx="minor">
                <a:schemeClr val="lt1"/>
              </a:fontRef>
            </p:style>
            <p:txBody>
              <a:bodyPr spcFirstLastPara="0" vert="horz" wrap="square" lIns="285735" tIns="297341" rIns="285735" bIns="297341" numCol="1" spcCol="1270" anchor="ctr" anchorCtr="0">
                <a:noAutofit/>
              </a:bodyPr>
              <a:lstStyle/>
              <a:p>
                <a:pPr marL="0" lvl="0" indent="0" algn="ctr" defTabSz="1822450">
                  <a:lnSpc>
                    <a:spcPct val="90000"/>
                  </a:lnSpc>
                  <a:spcBef>
                    <a:spcPct val="0"/>
                  </a:spcBef>
                  <a:spcAft>
                    <a:spcPct val="35000"/>
                  </a:spcAft>
                  <a:buNone/>
                </a:pPr>
                <a:r>
                  <a:rPr lang="de-DE" kern="1200" dirty="0"/>
                  <a:t>Förderlücke</a:t>
                </a:r>
              </a:p>
            </p:txBody>
          </p:sp>
          <p:sp>
            <p:nvSpPr>
              <p:cNvPr id="20" name="Sechseck 19">
                <a:extLst>
                  <a:ext uri="{FF2B5EF4-FFF2-40B4-BE49-F238E27FC236}">
                    <a16:creationId xmlns:a16="http://schemas.microsoft.com/office/drawing/2014/main" id="{6FA575F3-532A-41C2-B3B4-FF4BE28E0714}"/>
                  </a:ext>
                </a:extLst>
              </p:cNvPr>
              <p:cNvSpPr/>
              <p:nvPr/>
            </p:nvSpPr>
            <p:spPr>
              <a:xfrm>
                <a:off x="6735673" y="3478928"/>
                <a:ext cx="1845056" cy="1583767"/>
              </a:xfrm>
              <a:prstGeom prst="hexagon">
                <a:avLst>
                  <a:gd name="adj" fmla="val 25000"/>
                  <a:gd name="vf" fmla="val 115470"/>
                </a:avLst>
              </a:prstGeom>
            </p:spPr>
            <p:style>
              <a:lnRef idx="2">
                <a:schemeClr val="accent6">
                  <a:alpha val="90000"/>
                  <a:hueOff val="0"/>
                  <a:satOff val="0"/>
                  <a:lumOff val="0"/>
                  <a:alphaOff val="-13333"/>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18000" rIns="18000" anchor="ctr" anchorCtr="0"/>
              <a:lstStyle/>
              <a:p>
                <a:pPr algn="ctr"/>
                <a:r>
                  <a:rPr lang="de-DE" dirty="0"/>
                  <a:t>Wirtschaft-</a:t>
                </a:r>
                <a:r>
                  <a:rPr lang="de-DE" dirty="0" err="1"/>
                  <a:t>liche</a:t>
                </a:r>
                <a:r>
                  <a:rPr lang="de-DE" dirty="0"/>
                  <a:t> Verwertung</a:t>
                </a:r>
              </a:p>
            </p:txBody>
          </p:sp>
          <p:sp>
            <p:nvSpPr>
              <p:cNvPr id="22" name="Freihandform: Form 21">
                <a:extLst>
                  <a:ext uri="{FF2B5EF4-FFF2-40B4-BE49-F238E27FC236}">
                    <a16:creationId xmlns:a16="http://schemas.microsoft.com/office/drawing/2014/main" id="{FC92BCF6-1EE1-451E-B3D9-56686C986D9B}"/>
                  </a:ext>
                </a:extLst>
              </p:cNvPr>
              <p:cNvSpPr/>
              <p:nvPr/>
            </p:nvSpPr>
            <p:spPr>
              <a:xfrm>
                <a:off x="3598265" y="1755022"/>
                <a:ext cx="1845056" cy="1583767"/>
              </a:xfrm>
              <a:custGeom>
                <a:avLst/>
                <a:gdLst>
                  <a:gd name="connsiteX0" fmla="*/ 0 w 1845056"/>
                  <a:gd name="connsiteY0" fmla="*/ 791884 h 1583767"/>
                  <a:gd name="connsiteX1" fmla="*/ 395942 w 1845056"/>
                  <a:gd name="connsiteY1" fmla="*/ 0 h 1583767"/>
                  <a:gd name="connsiteX2" fmla="*/ 1449114 w 1845056"/>
                  <a:gd name="connsiteY2" fmla="*/ 0 h 1583767"/>
                  <a:gd name="connsiteX3" fmla="*/ 1845056 w 1845056"/>
                  <a:gd name="connsiteY3" fmla="*/ 791884 h 1583767"/>
                  <a:gd name="connsiteX4" fmla="*/ 1449114 w 1845056"/>
                  <a:gd name="connsiteY4" fmla="*/ 1583767 h 1583767"/>
                  <a:gd name="connsiteX5" fmla="*/ 395942 w 1845056"/>
                  <a:gd name="connsiteY5" fmla="*/ 1583767 h 1583767"/>
                  <a:gd name="connsiteX6" fmla="*/ 0 w 1845056"/>
                  <a:gd name="connsiteY6" fmla="*/ 791884 h 158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5056" h="1583767">
                    <a:moveTo>
                      <a:pt x="0" y="791884"/>
                    </a:moveTo>
                    <a:lnTo>
                      <a:pt x="395942" y="0"/>
                    </a:lnTo>
                    <a:lnTo>
                      <a:pt x="1449114" y="0"/>
                    </a:lnTo>
                    <a:lnTo>
                      <a:pt x="1845056" y="791884"/>
                    </a:lnTo>
                    <a:lnTo>
                      <a:pt x="1449114" y="1583767"/>
                    </a:lnTo>
                    <a:lnTo>
                      <a:pt x="395942" y="1583767"/>
                    </a:lnTo>
                    <a:lnTo>
                      <a:pt x="0" y="791884"/>
                    </a:lnTo>
                    <a:close/>
                  </a:path>
                </a:pathLst>
              </a:custGeom>
            </p:spPr>
            <p:style>
              <a:lnRef idx="2">
                <a:schemeClr val="accent6">
                  <a:alpha val="90000"/>
                  <a:hueOff val="0"/>
                  <a:satOff val="0"/>
                  <a:lumOff val="0"/>
                  <a:alphaOff val="-26667"/>
                </a:schemeClr>
              </a:lnRef>
              <a:fillRef idx="1">
                <a:schemeClr val="accent6">
                  <a:alpha val="90000"/>
                  <a:hueOff val="0"/>
                  <a:satOff val="0"/>
                  <a:lumOff val="0"/>
                  <a:alphaOff val="-26667"/>
                </a:schemeClr>
              </a:fillRef>
              <a:effectRef idx="0">
                <a:schemeClr val="accent6">
                  <a:alpha val="90000"/>
                  <a:hueOff val="0"/>
                  <a:satOff val="0"/>
                  <a:lumOff val="0"/>
                  <a:alphaOff val="-26667"/>
                </a:schemeClr>
              </a:effectRef>
              <a:fontRef idx="minor">
                <a:schemeClr val="lt1"/>
              </a:fontRef>
            </p:style>
            <p:txBody>
              <a:bodyPr spcFirstLastPara="0" vert="horz" wrap="square" lIns="285735" tIns="297341" rIns="285735" bIns="297341" numCol="1" spcCol="1270" anchor="ctr" anchorCtr="0">
                <a:noAutofit/>
              </a:bodyPr>
              <a:lstStyle/>
              <a:p>
                <a:pPr marL="0" lvl="0" indent="0" algn="ctr" defTabSz="1822450">
                  <a:lnSpc>
                    <a:spcPct val="90000"/>
                  </a:lnSpc>
                  <a:spcBef>
                    <a:spcPct val="0"/>
                  </a:spcBef>
                  <a:spcAft>
                    <a:spcPct val="35000"/>
                  </a:spcAft>
                  <a:buNone/>
                </a:pPr>
                <a:r>
                  <a:rPr lang="de-DE" kern="1200" dirty="0"/>
                  <a:t>Beitrag zu EU-Zielen</a:t>
                </a:r>
              </a:p>
            </p:txBody>
          </p:sp>
          <p:sp>
            <p:nvSpPr>
              <p:cNvPr id="24" name="Sechseck 23">
                <a:extLst>
                  <a:ext uri="{FF2B5EF4-FFF2-40B4-BE49-F238E27FC236}">
                    <a16:creationId xmlns:a16="http://schemas.microsoft.com/office/drawing/2014/main" id="{01ACE41E-276D-4828-98F6-8D25AB002D5D}"/>
                  </a:ext>
                </a:extLst>
              </p:cNvPr>
              <p:cNvSpPr/>
              <p:nvPr/>
            </p:nvSpPr>
            <p:spPr>
              <a:xfrm>
                <a:off x="5162905" y="881984"/>
                <a:ext cx="1845056" cy="1583767"/>
              </a:xfrm>
              <a:prstGeom prst="hexagon">
                <a:avLst>
                  <a:gd name="adj" fmla="val 25000"/>
                  <a:gd name="vf" fmla="val 115470"/>
                </a:avLst>
              </a:prstGeom>
            </p:spPr>
            <p:style>
              <a:lnRef idx="2">
                <a:schemeClr val="accent6">
                  <a:alpha val="90000"/>
                  <a:hueOff val="0"/>
                  <a:satOff val="0"/>
                  <a:lumOff val="0"/>
                  <a:alphaOff val="-26667"/>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nchorCtr="0"/>
              <a:lstStyle/>
              <a:p>
                <a:pPr algn="ctr"/>
                <a:r>
                  <a:rPr lang="de-DE" dirty="0" err="1"/>
                  <a:t>FuEuI</a:t>
                </a:r>
                <a:r>
                  <a:rPr lang="de-DE" dirty="0"/>
                  <a:t> / Infra-struktur-Vorhaben</a:t>
                </a:r>
              </a:p>
            </p:txBody>
          </p:sp>
          <p:sp>
            <p:nvSpPr>
              <p:cNvPr id="26" name="Freihandform: Form 25">
                <a:extLst>
                  <a:ext uri="{FF2B5EF4-FFF2-40B4-BE49-F238E27FC236}">
                    <a16:creationId xmlns:a16="http://schemas.microsoft.com/office/drawing/2014/main" id="{AEB12BAD-37C5-42C6-A619-CD12856AB8F9}"/>
                  </a:ext>
                </a:extLst>
              </p:cNvPr>
              <p:cNvSpPr/>
              <p:nvPr/>
            </p:nvSpPr>
            <p:spPr>
              <a:xfrm>
                <a:off x="6735673" y="1752513"/>
                <a:ext cx="1845056" cy="1583767"/>
              </a:xfrm>
              <a:custGeom>
                <a:avLst/>
                <a:gdLst>
                  <a:gd name="connsiteX0" fmla="*/ 0 w 1845056"/>
                  <a:gd name="connsiteY0" fmla="*/ 791884 h 1583767"/>
                  <a:gd name="connsiteX1" fmla="*/ 395942 w 1845056"/>
                  <a:gd name="connsiteY1" fmla="*/ 0 h 1583767"/>
                  <a:gd name="connsiteX2" fmla="*/ 1449114 w 1845056"/>
                  <a:gd name="connsiteY2" fmla="*/ 0 h 1583767"/>
                  <a:gd name="connsiteX3" fmla="*/ 1845056 w 1845056"/>
                  <a:gd name="connsiteY3" fmla="*/ 791884 h 1583767"/>
                  <a:gd name="connsiteX4" fmla="*/ 1449114 w 1845056"/>
                  <a:gd name="connsiteY4" fmla="*/ 1583767 h 1583767"/>
                  <a:gd name="connsiteX5" fmla="*/ 395942 w 1845056"/>
                  <a:gd name="connsiteY5" fmla="*/ 1583767 h 1583767"/>
                  <a:gd name="connsiteX6" fmla="*/ 0 w 1845056"/>
                  <a:gd name="connsiteY6" fmla="*/ 791884 h 158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5056" h="1583767">
                    <a:moveTo>
                      <a:pt x="0" y="791884"/>
                    </a:moveTo>
                    <a:lnTo>
                      <a:pt x="395942" y="0"/>
                    </a:lnTo>
                    <a:lnTo>
                      <a:pt x="1449114" y="0"/>
                    </a:lnTo>
                    <a:lnTo>
                      <a:pt x="1845056" y="791884"/>
                    </a:lnTo>
                    <a:lnTo>
                      <a:pt x="1449114" y="1583767"/>
                    </a:lnTo>
                    <a:lnTo>
                      <a:pt x="395942" y="1583767"/>
                    </a:lnTo>
                    <a:lnTo>
                      <a:pt x="0" y="791884"/>
                    </a:lnTo>
                    <a:close/>
                  </a:path>
                </a:pathLst>
              </a:custGeom>
            </p:spPr>
            <p:style>
              <a:lnRef idx="2">
                <a:schemeClr val="accent6">
                  <a:alpha val="90000"/>
                  <a:hueOff val="0"/>
                  <a:satOff val="0"/>
                  <a:lumOff val="0"/>
                  <a:alphaOff val="-40000"/>
                </a:schemeClr>
              </a:lnRef>
              <a:fillRef idx="1">
                <a:schemeClr val="accent6">
                  <a:alpha val="90000"/>
                  <a:hueOff val="0"/>
                  <a:satOff val="0"/>
                  <a:lumOff val="0"/>
                  <a:alphaOff val="-40000"/>
                </a:schemeClr>
              </a:fillRef>
              <a:effectRef idx="0">
                <a:schemeClr val="accent6">
                  <a:alpha val="90000"/>
                  <a:hueOff val="0"/>
                  <a:satOff val="0"/>
                  <a:lumOff val="0"/>
                  <a:alphaOff val="-40000"/>
                </a:schemeClr>
              </a:effectRef>
              <a:fontRef idx="minor">
                <a:schemeClr val="lt1"/>
              </a:fontRef>
            </p:style>
            <p:txBody>
              <a:bodyPr spcFirstLastPara="0" vert="horz" wrap="square" lIns="252000" tIns="327821" rIns="252000" bIns="327821" numCol="1" spcCol="1270" anchor="ctr" anchorCtr="0">
                <a:noAutofit/>
              </a:bodyPr>
              <a:lstStyle/>
              <a:p>
                <a:pPr marL="0" lvl="0" indent="0" algn="ctr" defTabSz="2889250">
                  <a:lnSpc>
                    <a:spcPct val="90000"/>
                  </a:lnSpc>
                  <a:spcBef>
                    <a:spcPct val="0"/>
                  </a:spcBef>
                  <a:spcAft>
                    <a:spcPct val="35000"/>
                  </a:spcAft>
                  <a:buNone/>
                </a:pPr>
                <a:r>
                  <a:rPr lang="de-DE" sz="1600" kern="1200" dirty="0"/>
                  <a:t>Grenz-übergreifende Kooperationen</a:t>
                </a:r>
              </a:p>
            </p:txBody>
          </p:sp>
          <p:sp>
            <p:nvSpPr>
              <p:cNvPr id="28" name="Sechseck 27">
                <a:extLst>
                  <a:ext uri="{FF2B5EF4-FFF2-40B4-BE49-F238E27FC236}">
                    <a16:creationId xmlns:a16="http://schemas.microsoft.com/office/drawing/2014/main" id="{DFF7B09A-01C3-471E-A2DD-3F8EC292CD9D}"/>
                  </a:ext>
                </a:extLst>
              </p:cNvPr>
              <p:cNvSpPr/>
              <p:nvPr/>
            </p:nvSpPr>
            <p:spPr>
              <a:xfrm>
                <a:off x="8314943" y="2623041"/>
                <a:ext cx="1845056" cy="1583767"/>
              </a:xfrm>
              <a:prstGeom prst="hexagon">
                <a:avLst>
                  <a:gd name="adj" fmla="val 25000"/>
                  <a:gd name="vf" fmla="val 115470"/>
                </a:avLst>
              </a:prstGeom>
            </p:spPr>
            <p:style>
              <a:lnRef idx="2">
                <a:schemeClr val="accent6">
                  <a:alpha val="90000"/>
                  <a:hueOff val="0"/>
                  <a:satOff val="0"/>
                  <a:lumOff val="0"/>
                  <a:alphaOff val="-4000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nchorCtr="0"/>
              <a:lstStyle/>
              <a:p>
                <a:pPr algn="ctr"/>
                <a:r>
                  <a:rPr lang="de-DE" dirty="0"/>
                  <a:t>Markt-versagen</a:t>
                </a:r>
              </a:p>
            </p:txBody>
          </p:sp>
        </p:grpSp>
        <p:sp>
          <p:nvSpPr>
            <p:cNvPr id="30" name="Freihandform: Form 29">
              <a:extLst>
                <a:ext uri="{FF2B5EF4-FFF2-40B4-BE49-F238E27FC236}">
                  <a16:creationId xmlns:a16="http://schemas.microsoft.com/office/drawing/2014/main" id="{DF4B1FF0-60A4-478D-AEA4-2F5EEBB18203}"/>
                </a:ext>
              </a:extLst>
            </p:cNvPr>
            <p:cNvSpPr/>
            <p:nvPr/>
          </p:nvSpPr>
          <p:spPr>
            <a:xfrm>
              <a:off x="6987248" y="1772816"/>
              <a:ext cx="1845056" cy="1583767"/>
            </a:xfrm>
            <a:custGeom>
              <a:avLst/>
              <a:gdLst>
                <a:gd name="connsiteX0" fmla="*/ 0 w 1845056"/>
                <a:gd name="connsiteY0" fmla="*/ 791884 h 1583767"/>
                <a:gd name="connsiteX1" fmla="*/ 395942 w 1845056"/>
                <a:gd name="connsiteY1" fmla="*/ 0 h 1583767"/>
                <a:gd name="connsiteX2" fmla="*/ 1449114 w 1845056"/>
                <a:gd name="connsiteY2" fmla="*/ 0 h 1583767"/>
                <a:gd name="connsiteX3" fmla="*/ 1845056 w 1845056"/>
                <a:gd name="connsiteY3" fmla="*/ 791884 h 1583767"/>
                <a:gd name="connsiteX4" fmla="*/ 1449114 w 1845056"/>
                <a:gd name="connsiteY4" fmla="*/ 1583767 h 1583767"/>
                <a:gd name="connsiteX5" fmla="*/ 395942 w 1845056"/>
                <a:gd name="connsiteY5" fmla="*/ 1583767 h 1583767"/>
                <a:gd name="connsiteX6" fmla="*/ 0 w 1845056"/>
                <a:gd name="connsiteY6" fmla="*/ 791884 h 158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5056" h="1583767">
                  <a:moveTo>
                    <a:pt x="0" y="791884"/>
                  </a:moveTo>
                  <a:lnTo>
                    <a:pt x="395942" y="0"/>
                  </a:lnTo>
                  <a:lnTo>
                    <a:pt x="1449114" y="0"/>
                  </a:lnTo>
                  <a:lnTo>
                    <a:pt x="1845056" y="791884"/>
                  </a:lnTo>
                  <a:lnTo>
                    <a:pt x="1449114" y="1583767"/>
                  </a:lnTo>
                  <a:lnTo>
                    <a:pt x="395942" y="1583767"/>
                  </a:lnTo>
                  <a:lnTo>
                    <a:pt x="0" y="791884"/>
                  </a:lnTo>
                  <a:close/>
                </a:path>
              </a:pathLst>
            </a:custGeom>
            <a:solidFill>
              <a:schemeClr val="accent6">
                <a:lumMod val="20000"/>
                <a:lumOff val="80000"/>
                <a:alpha val="50000"/>
              </a:schemeClr>
            </a:solidFill>
          </p:spPr>
          <p:style>
            <a:lnRef idx="2">
              <a:schemeClr val="accent6">
                <a:alpha val="90000"/>
                <a:hueOff val="0"/>
                <a:satOff val="0"/>
                <a:lumOff val="0"/>
                <a:alphaOff val="-40000"/>
              </a:schemeClr>
            </a:lnRef>
            <a:fillRef idx="1">
              <a:schemeClr val="accent6">
                <a:alpha val="90000"/>
                <a:hueOff val="0"/>
                <a:satOff val="0"/>
                <a:lumOff val="0"/>
                <a:alphaOff val="-40000"/>
              </a:schemeClr>
            </a:fillRef>
            <a:effectRef idx="0">
              <a:schemeClr val="accent6">
                <a:alpha val="90000"/>
                <a:hueOff val="0"/>
                <a:satOff val="0"/>
                <a:lumOff val="0"/>
                <a:alphaOff val="-40000"/>
              </a:schemeClr>
            </a:effectRef>
            <a:fontRef idx="minor">
              <a:schemeClr val="lt1"/>
            </a:fontRef>
          </p:style>
          <p:txBody>
            <a:bodyPr spcFirstLastPara="0" vert="horz" wrap="square" lIns="285735" tIns="327821" rIns="285735" bIns="327821" numCol="1" spcCol="1270" anchor="ctr" anchorCtr="0">
              <a:noAutofit/>
            </a:bodyPr>
            <a:lstStyle/>
            <a:p>
              <a:pPr marL="0" lvl="0" indent="0" algn="ctr" defTabSz="2889250">
                <a:lnSpc>
                  <a:spcPct val="90000"/>
                </a:lnSpc>
                <a:spcBef>
                  <a:spcPct val="0"/>
                </a:spcBef>
                <a:spcAft>
                  <a:spcPct val="35000"/>
                </a:spcAft>
                <a:buNone/>
              </a:pPr>
              <a:r>
                <a:rPr lang="de-DE" kern="1200" dirty="0">
                  <a:solidFill>
                    <a:schemeClr val="tx1"/>
                  </a:solidFill>
                </a:rPr>
                <a:t>Risikoreich</a:t>
              </a:r>
            </a:p>
          </p:txBody>
        </p:sp>
      </p:grpSp>
    </p:spTree>
    <p:extLst>
      <p:ext uri="{BB962C8B-B14F-4D97-AF65-F5344CB8AC3E}">
        <p14:creationId xmlns:p14="http://schemas.microsoft.com/office/powerpoint/2010/main" val="11202486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880971-DE1E-4344-88E4-FF4A5EEF0196}"/>
              </a:ext>
            </a:extLst>
          </p:cNvPr>
          <p:cNvSpPr>
            <a:spLocks noGrp="1"/>
          </p:cNvSpPr>
          <p:nvPr>
            <p:ph type="title"/>
          </p:nvPr>
        </p:nvSpPr>
        <p:spPr>
          <a:xfrm>
            <a:off x="900000" y="720000"/>
            <a:ext cx="8557008" cy="774491"/>
          </a:xfrm>
        </p:spPr>
        <p:txBody>
          <a:bodyPr/>
          <a:lstStyle/>
          <a:p>
            <a:r>
              <a:rPr lang="de-DE" dirty="0"/>
              <a:t>IPCEI-Förderung | Vorbereitung</a:t>
            </a:r>
          </a:p>
        </p:txBody>
      </p:sp>
      <p:sp>
        <p:nvSpPr>
          <p:cNvPr id="3" name="Foliennummernplatzhalter 2">
            <a:extLst>
              <a:ext uri="{FF2B5EF4-FFF2-40B4-BE49-F238E27FC236}">
                <a16:creationId xmlns:a16="http://schemas.microsoft.com/office/drawing/2014/main" id="{3D5E4B77-70CD-47CE-90A2-67E9C633A601}"/>
              </a:ext>
            </a:extLst>
          </p:cNvPr>
          <p:cNvSpPr>
            <a:spLocks noGrp="1"/>
          </p:cNvSpPr>
          <p:nvPr>
            <p:ph type="sldNum" sz="quarter" idx="10"/>
          </p:nvPr>
        </p:nvSpPr>
        <p:spPr/>
        <p:txBody>
          <a:bodyPr/>
          <a:lstStyle/>
          <a:p>
            <a:pPr algn="l" rtl="0"/>
            <a:r>
              <a:rPr lang="en-GB" b="0" i="0" u="none" baseline="0"/>
              <a:t>  </a:t>
            </a:r>
            <a:r>
              <a:rPr lang="en-GB" sz="1000" b="0" i="0" u="none" baseline="0">
                <a:solidFill>
                  <a:schemeClr val="accent5"/>
                </a:solidFill>
              </a:rPr>
              <a:t>© VDI/VDE-IT </a:t>
            </a:r>
            <a:r>
              <a:rPr lang="en-GB" sz="1000" b="0" i="0" u="none" baseline="0">
                <a:solidFill>
                  <a:schemeClr val="accent5"/>
                </a:solidFill>
                <a:sym typeface="Wingdings" panose="05000000000000000000" pitchFamily="2" charset="2"/>
              </a:rPr>
              <a:t></a:t>
            </a:r>
            <a:r>
              <a:rPr lang="en-GB" sz="1000" b="0" i="0" u="none" baseline="0">
                <a:solidFill>
                  <a:schemeClr val="accent5"/>
                </a:solidFill>
              </a:rPr>
              <a:t>  </a:t>
            </a:r>
            <a:fld id="{12CCBF5E-5E1E-43A5-B4E2-C140E7BD9013}" type="slidenum">
              <a:rPr sz="1000" smtClean="0">
                <a:solidFill>
                  <a:schemeClr val="accent5"/>
                </a:solidFill>
              </a:rPr>
              <a:pPr algn="l" rtl="0"/>
              <a:t>9</a:t>
            </a:fld>
            <a:r>
              <a:rPr lang="en-GB" sz="1000" b="0" i="0" u="none" baseline="0">
                <a:solidFill>
                  <a:schemeClr val="accent5"/>
                </a:solidFill>
              </a:rPr>
              <a:t> </a:t>
            </a:r>
          </a:p>
        </p:txBody>
      </p:sp>
      <p:cxnSp>
        <p:nvCxnSpPr>
          <p:cNvPr id="5" name="Gerade Verbindung mit Pfeil 4">
            <a:extLst>
              <a:ext uri="{FF2B5EF4-FFF2-40B4-BE49-F238E27FC236}">
                <a16:creationId xmlns:a16="http://schemas.microsoft.com/office/drawing/2014/main" id="{32B6DF02-DF72-468C-98E0-74237E84951C}"/>
              </a:ext>
            </a:extLst>
          </p:cNvPr>
          <p:cNvCxnSpPr>
            <a:cxnSpLocks/>
          </p:cNvCxnSpPr>
          <p:nvPr/>
        </p:nvCxnSpPr>
        <p:spPr bwMode="auto">
          <a:xfrm>
            <a:off x="959758" y="4180680"/>
            <a:ext cx="10259487" cy="0"/>
          </a:xfrm>
          <a:prstGeom prst="straightConnector1">
            <a:avLst/>
          </a:prstGeom>
          <a:ln w="38100">
            <a:headEnd type="none" w="med" len="med"/>
            <a:tailEnd type="triangle"/>
          </a:ln>
        </p:spPr>
        <p:style>
          <a:lnRef idx="1">
            <a:schemeClr val="accent2"/>
          </a:lnRef>
          <a:fillRef idx="0">
            <a:schemeClr val="accent2"/>
          </a:fillRef>
          <a:effectRef idx="0">
            <a:schemeClr val="accent2"/>
          </a:effectRef>
          <a:fontRef idx="minor">
            <a:schemeClr val="tx1"/>
          </a:fontRef>
        </p:style>
      </p:cxnSp>
      <p:grpSp>
        <p:nvGrpSpPr>
          <p:cNvPr id="6" name="Gruppieren 5">
            <a:extLst>
              <a:ext uri="{FF2B5EF4-FFF2-40B4-BE49-F238E27FC236}">
                <a16:creationId xmlns:a16="http://schemas.microsoft.com/office/drawing/2014/main" id="{E0D4A9E8-0CA8-48A5-B6AB-1F5AF45DF8F1}"/>
              </a:ext>
            </a:extLst>
          </p:cNvPr>
          <p:cNvGrpSpPr/>
          <p:nvPr/>
        </p:nvGrpSpPr>
        <p:grpSpPr>
          <a:xfrm>
            <a:off x="504000" y="1699807"/>
            <a:ext cx="10407041" cy="2496650"/>
            <a:chOff x="-1307014" y="940200"/>
            <a:chExt cx="9118642" cy="1846454"/>
          </a:xfrm>
        </p:grpSpPr>
        <p:cxnSp>
          <p:nvCxnSpPr>
            <p:cNvPr id="7" name="Gerader Verbinder 6">
              <a:extLst>
                <a:ext uri="{FF2B5EF4-FFF2-40B4-BE49-F238E27FC236}">
                  <a16:creationId xmlns:a16="http://schemas.microsoft.com/office/drawing/2014/main" id="{5514BB61-51CC-4AE1-A9C4-ABF8C97BF8F0}"/>
                </a:ext>
              </a:extLst>
            </p:cNvPr>
            <p:cNvCxnSpPr>
              <a:cxnSpLocks/>
            </p:cNvCxnSpPr>
            <p:nvPr/>
          </p:nvCxnSpPr>
          <p:spPr bwMode="auto">
            <a:xfrm flipV="1">
              <a:off x="2119512" y="2194783"/>
              <a:ext cx="0" cy="591869"/>
            </a:xfrm>
            <a:prstGeom prst="line">
              <a:avLst/>
            </a:prstGeom>
            <a:ln w="19050">
              <a:solidFill>
                <a:schemeClr val="accent2"/>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8" name="Textfeld 7">
              <a:extLst>
                <a:ext uri="{FF2B5EF4-FFF2-40B4-BE49-F238E27FC236}">
                  <a16:creationId xmlns:a16="http://schemas.microsoft.com/office/drawing/2014/main" id="{83D35CF0-B305-4218-8ADE-0A8F73049F25}"/>
                </a:ext>
              </a:extLst>
            </p:cNvPr>
            <p:cNvSpPr txBox="1"/>
            <p:nvPr/>
          </p:nvSpPr>
          <p:spPr>
            <a:xfrm>
              <a:off x="1759576" y="2057321"/>
              <a:ext cx="2376263" cy="193480"/>
            </a:xfrm>
            <a:prstGeom prst="rect">
              <a:avLst/>
            </a:prstGeom>
          </p:spPr>
          <p:txBody>
            <a:bodyPr wrap="square" rtlCol="0">
              <a:spAutoFit/>
            </a:bodyPr>
            <a:lstStyle/>
            <a:p>
              <a:pPr marL="474663" marR="0" indent="-474663" algn="l" defTabSz="914400" rtl="0" eaLnBrk="0" fontAlgn="base" latinLnBrk="0" hangingPunct="0">
                <a:lnSpc>
                  <a:spcPct val="100000"/>
                </a:lnSpc>
                <a:spcBef>
                  <a:spcPct val="20000"/>
                </a:spcBef>
                <a:spcAft>
                  <a:spcPct val="0"/>
                </a:spcAft>
                <a:buClr>
                  <a:srgbClr val="004F80"/>
                </a:buClr>
                <a:buSzPct val="80000"/>
                <a:buFont typeface="Wingdings" pitchFamily="2" charset="2"/>
                <a:buNone/>
                <a:tabLst/>
              </a:pPr>
              <a:endParaRPr kumimoji="0" lang="en-US" sz="1100" b="0" i="0" u="none" strike="noStrike" kern="0" cap="none" spc="0" normalizeH="0" baseline="0" dirty="0">
                <a:ln>
                  <a:noFill/>
                </a:ln>
                <a:effectLst/>
                <a:uLnTx/>
                <a:uFillTx/>
                <a:latin typeface="+mj-lt"/>
                <a:ea typeface="+mn-ea"/>
                <a:cs typeface="+mn-cs"/>
              </a:endParaRPr>
            </a:p>
          </p:txBody>
        </p:sp>
        <p:sp>
          <p:nvSpPr>
            <p:cNvPr id="9" name="Abgerundetes Rechteck 20">
              <a:extLst>
                <a:ext uri="{FF2B5EF4-FFF2-40B4-BE49-F238E27FC236}">
                  <a16:creationId xmlns:a16="http://schemas.microsoft.com/office/drawing/2014/main" id="{FA0073F3-3D91-45CE-B031-69D6037E7919}"/>
                </a:ext>
              </a:extLst>
            </p:cNvPr>
            <p:cNvSpPr/>
            <p:nvPr/>
          </p:nvSpPr>
          <p:spPr bwMode="auto">
            <a:xfrm>
              <a:off x="2267744" y="2055952"/>
              <a:ext cx="1488258" cy="293701"/>
            </a:xfrm>
            <a:prstGeom prst="roundRect">
              <a:avLst/>
            </a:prstGeom>
            <a:ln w="12700">
              <a:solidFill>
                <a:srgbClr val="00B05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474663" indent="-474663" algn="ctr">
                <a:spcBef>
                  <a:spcPts val="0"/>
                </a:spcBef>
                <a:buClr>
                  <a:srgbClr val="004F80"/>
                </a:buClr>
                <a:buSzPct val="80000"/>
              </a:pPr>
              <a:r>
                <a:rPr lang="en-US" sz="1400" b="1" kern="0" dirty="0" err="1">
                  <a:solidFill>
                    <a:schemeClr val="tx1"/>
                  </a:solidFill>
                  <a:latin typeface="+mj-lt"/>
                </a:rPr>
                <a:t>Pränotifizierung</a:t>
              </a:r>
              <a:endParaRPr lang="en-US" sz="1400" b="1" kern="0" dirty="0">
                <a:solidFill>
                  <a:schemeClr val="tx1"/>
                </a:solidFill>
                <a:latin typeface="+mj-lt"/>
              </a:endParaRPr>
            </a:p>
          </p:txBody>
        </p:sp>
        <p:sp>
          <p:nvSpPr>
            <p:cNvPr id="10" name="Abgerundetes Rechteck 25">
              <a:extLst>
                <a:ext uri="{FF2B5EF4-FFF2-40B4-BE49-F238E27FC236}">
                  <a16:creationId xmlns:a16="http://schemas.microsoft.com/office/drawing/2014/main" id="{8FF17A0D-A123-4938-B22A-2904CAA31973}"/>
                </a:ext>
              </a:extLst>
            </p:cNvPr>
            <p:cNvSpPr/>
            <p:nvPr/>
          </p:nvSpPr>
          <p:spPr bwMode="auto">
            <a:xfrm>
              <a:off x="276529" y="1352801"/>
              <a:ext cx="1593974" cy="653242"/>
            </a:xfrm>
            <a:prstGeom prst="roundRect">
              <a:avLst/>
            </a:prstGeom>
            <a:ln w="12700">
              <a:solidFill>
                <a:srgbClr val="00B05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a:spcBef>
                  <a:spcPts val="0"/>
                </a:spcBef>
                <a:buClr>
                  <a:srgbClr val="004F80"/>
                </a:buClr>
                <a:buSzPct val="80000"/>
              </a:pPr>
              <a:r>
                <a:rPr lang="en-US" sz="1400" b="1" kern="0" dirty="0" err="1">
                  <a:solidFill>
                    <a:schemeClr val="tx1"/>
                  </a:solidFill>
                  <a:latin typeface="+mj-lt"/>
                </a:rPr>
                <a:t>Qualifizierung</a:t>
              </a:r>
              <a:r>
                <a:rPr lang="en-US" sz="1400" b="1" kern="0" dirty="0">
                  <a:solidFill>
                    <a:schemeClr val="tx1"/>
                  </a:solidFill>
                  <a:latin typeface="+mj-lt"/>
                </a:rPr>
                <a:t> der </a:t>
              </a:r>
              <a:r>
                <a:rPr lang="en-US" sz="1400" b="1" kern="0" dirty="0" err="1">
                  <a:solidFill>
                    <a:schemeClr val="tx1"/>
                  </a:solidFill>
                  <a:latin typeface="+mj-lt"/>
                </a:rPr>
                <a:t>Dokumente</a:t>
              </a:r>
              <a:r>
                <a:rPr lang="en-US" sz="1400" b="1" kern="0" dirty="0">
                  <a:solidFill>
                    <a:schemeClr val="tx1"/>
                  </a:solidFill>
                  <a:latin typeface="+mj-lt"/>
                </a:rPr>
                <a:t> </a:t>
              </a:r>
              <a:r>
                <a:rPr lang="en-US" sz="1400" b="1" kern="0" dirty="0" err="1">
                  <a:solidFill>
                    <a:schemeClr val="tx1"/>
                  </a:solidFill>
                  <a:latin typeface="+mj-lt"/>
                </a:rPr>
                <a:t>zur</a:t>
              </a:r>
              <a:r>
                <a:rPr lang="en-US" sz="1400" b="1" kern="0" dirty="0">
                  <a:solidFill>
                    <a:schemeClr val="tx1"/>
                  </a:solidFill>
                  <a:latin typeface="+mj-lt"/>
                </a:rPr>
                <a:t> </a:t>
              </a:r>
              <a:r>
                <a:rPr lang="en-US" sz="1400" b="1" kern="0" dirty="0" err="1">
                  <a:solidFill>
                    <a:schemeClr val="tx1"/>
                  </a:solidFill>
                  <a:latin typeface="+mj-lt"/>
                </a:rPr>
                <a:t>Pränotifizierung</a:t>
              </a:r>
              <a:endParaRPr lang="en-US" sz="1400" b="1" kern="0" dirty="0">
                <a:solidFill>
                  <a:schemeClr val="tx1"/>
                </a:solidFill>
                <a:latin typeface="+mj-lt"/>
              </a:endParaRPr>
            </a:p>
          </p:txBody>
        </p:sp>
        <p:cxnSp>
          <p:nvCxnSpPr>
            <p:cNvPr id="11" name="Gerader Verbinder 10">
              <a:extLst>
                <a:ext uri="{FF2B5EF4-FFF2-40B4-BE49-F238E27FC236}">
                  <a16:creationId xmlns:a16="http://schemas.microsoft.com/office/drawing/2014/main" id="{BDF1295E-CEF7-4105-A180-770F91EB75D5}"/>
                </a:ext>
              </a:extLst>
            </p:cNvPr>
            <p:cNvCxnSpPr>
              <a:cxnSpLocks/>
              <a:endCxn id="10" idx="2"/>
            </p:cNvCxnSpPr>
            <p:nvPr/>
          </p:nvCxnSpPr>
          <p:spPr bwMode="auto">
            <a:xfrm flipH="1" flipV="1">
              <a:off x="1073516" y="2006043"/>
              <a:ext cx="2981" cy="780611"/>
            </a:xfrm>
            <a:prstGeom prst="line">
              <a:avLst/>
            </a:prstGeom>
            <a:ln w="19050">
              <a:solidFill>
                <a:schemeClr val="accent2"/>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2" name="Gerade Verbindung mit Pfeil 11">
              <a:extLst>
                <a:ext uri="{FF2B5EF4-FFF2-40B4-BE49-F238E27FC236}">
                  <a16:creationId xmlns:a16="http://schemas.microsoft.com/office/drawing/2014/main" id="{62410EEF-DA39-450F-8D53-0A0E1D4AFD77}"/>
                </a:ext>
              </a:extLst>
            </p:cNvPr>
            <p:cNvCxnSpPr/>
            <p:nvPr/>
          </p:nvCxnSpPr>
          <p:spPr bwMode="auto">
            <a:xfrm flipV="1">
              <a:off x="2119512" y="1495664"/>
              <a:ext cx="3746524" cy="0"/>
            </a:xfrm>
            <a:prstGeom prst="straightConnector1">
              <a:avLst/>
            </a:prstGeom>
            <a:ln w="19050">
              <a:solidFill>
                <a:schemeClr val="accent2"/>
              </a:solidFill>
              <a:headEnd type="triangle" w="med" len="med"/>
              <a:tailEnd type="triangle"/>
            </a:ln>
          </p:spPr>
          <p:style>
            <a:lnRef idx="1">
              <a:schemeClr val="accent2"/>
            </a:lnRef>
            <a:fillRef idx="0">
              <a:schemeClr val="accent2"/>
            </a:fillRef>
            <a:effectRef idx="0">
              <a:schemeClr val="accent2"/>
            </a:effectRef>
            <a:fontRef idx="minor">
              <a:schemeClr val="tx1"/>
            </a:fontRef>
          </p:style>
        </p:cxnSp>
        <p:sp>
          <p:nvSpPr>
            <p:cNvPr id="13" name="Abgerundetes Rechteck 31">
              <a:extLst>
                <a:ext uri="{FF2B5EF4-FFF2-40B4-BE49-F238E27FC236}">
                  <a16:creationId xmlns:a16="http://schemas.microsoft.com/office/drawing/2014/main" id="{44174D85-F52D-47A1-9DF4-BBD2E92C41D7}"/>
                </a:ext>
              </a:extLst>
            </p:cNvPr>
            <p:cNvSpPr/>
            <p:nvPr/>
          </p:nvSpPr>
          <p:spPr bwMode="auto">
            <a:xfrm>
              <a:off x="2555775" y="1121678"/>
              <a:ext cx="2847958" cy="350626"/>
            </a:xfrm>
            <a:prstGeom prst="roundRect">
              <a:avLst/>
            </a:prstGeom>
            <a:ln w="12700">
              <a:solidFill>
                <a:srgbClr val="00B05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0" rIns="91440" bIns="45720" numCol="1" rtlCol="0" anchor="t" anchorCtr="0" compatLnSpc="1">
              <a:prstTxWarp prst="textNoShape">
                <a:avLst/>
              </a:prstTxWarp>
            </a:bodyPr>
            <a:lstStyle/>
            <a:p>
              <a:pPr indent="-474663" algn="ctr">
                <a:spcBef>
                  <a:spcPts val="0"/>
                </a:spcBef>
                <a:buClr>
                  <a:srgbClr val="004F80"/>
                </a:buClr>
                <a:buSzPct val="80000"/>
              </a:pPr>
              <a:r>
                <a:rPr lang="en-US" sz="1400" kern="0" dirty="0">
                  <a:solidFill>
                    <a:schemeClr val="tx1"/>
                  </a:solidFill>
                  <a:latin typeface="+mj-lt"/>
                </a:rPr>
                <a:t>Requests for information (RFIs) von KOM und </a:t>
              </a:r>
              <a:r>
                <a:rPr lang="en-US" sz="1400" kern="0" dirty="0" err="1">
                  <a:solidFill>
                    <a:schemeClr val="tx1"/>
                  </a:solidFill>
                  <a:latin typeface="+mj-lt"/>
                </a:rPr>
                <a:t>Weiterqualifizierung</a:t>
              </a:r>
              <a:endParaRPr lang="en-US" sz="1400" kern="0" dirty="0">
                <a:solidFill>
                  <a:schemeClr val="tx1"/>
                </a:solidFill>
                <a:latin typeface="+mj-lt"/>
              </a:endParaRPr>
            </a:p>
          </p:txBody>
        </p:sp>
        <p:sp>
          <p:nvSpPr>
            <p:cNvPr id="14" name="Textfeld 13">
              <a:extLst>
                <a:ext uri="{FF2B5EF4-FFF2-40B4-BE49-F238E27FC236}">
                  <a16:creationId xmlns:a16="http://schemas.microsoft.com/office/drawing/2014/main" id="{AC05C8D9-92AB-4F43-A04F-6650DB5A320D}"/>
                </a:ext>
              </a:extLst>
            </p:cNvPr>
            <p:cNvSpPr txBox="1"/>
            <p:nvPr/>
          </p:nvSpPr>
          <p:spPr>
            <a:xfrm>
              <a:off x="-1307014" y="940200"/>
              <a:ext cx="2038283" cy="273148"/>
            </a:xfrm>
            <a:prstGeom prst="rect">
              <a:avLst/>
            </a:prstGeom>
            <a:noFill/>
          </p:spPr>
          <p:txBody>
            <a:bodyPr wrap="none" rtlCol="0">
              <a:spAutoFit/>
            </a:bodyPr>
            <a:lstStyle>
              <a:defPPr>
                <a:defRPr lang="de-DE"/>
              </a:defPPr>
              <a:lvl1pPr marL="474663" marR="0" indent="-474663" defTabSz="914400" latinLnBrk="0">
                <a:lnSpc>
                  <a:spcPct val="100000"/>
                </a:lnSpc>
                <a:spcBef>
                  <a:spcPct val="20000"/>
                </a:spcBef>
                <a:buClr>
                  <a:srgbClr val="004F80"/>
                </a:buClr>
                <a:buSzPct val="80000"/>
                <a:buFont typeface="Wingdings" pitchFamily="2" charset="2"/>
                <a:buNone/>
                <a:tabLst/>
                <a:defRPr kumimoji="0" sz="1400" b="1" i="0" u="none" strike="noStrike" kern="0" cap="none" spc="0" normalizeH="0" baseline="0">
                  <a:ln>
                    <a:noFill/>
                  </a:ln>
                  <a:solidFill>
                    <a:srgbClr val="00314F"/>
                  </a:solidFill>
                  <a:effectLst/>
                  <a:uLnTx/>
                  <a:uFillTx/>
                  <a:latin typeface="BundesSans Office"/>
                  <a:ea typeface="+mn-ea"/>
                </a:defRPr>
              </a:lvl1pPr>
            </a:lstStyle>
            <a:p>
              <a:r>
                <a:rPr lang="de-DE" sz="1800" dirty="0">
                  <a:solidFill>
                    <a:schemeClr val="tx1"/>
                  </a:solidFill>
                  <a:latin typeface="+mj-lt"/>
                </a:rPr>
                <a:t>Europäische Ebene</a:t>
              </a:r>
            </a:p>
          </p:txBody>
        </p:sp>
        <p:cxnSp>
          <p:nvCxnSpPr>
            <p:cNvPr id="15" name="Gerader Verbinder 14">
              <a:extLst>
                <a:ext uri="{FF2B5EF4-FFF2-40B4-BE49-F238E27FC236}">
                  <a16:creationId xmlns:a16="http://schemas.microsoft.com/office/drawing/2014/main" id="{8F0C439F-652A-4544-BCA5-F23FBF9A954C}"/>
                </a:ext>
              </a:extLst>
            </p:cNvPr>
            <p:cNvCxnSpPr/>
            <p:nvPr/>
          </p:nvCxnSpPr>
          <p:spPr bwMode="auto">
            <a:xfrm flipV="1">
              <a:off x="5866036" y="2206122"/>
              <a:ext cx="0" cy="553581"/>
            </a:xfrm>
            <a:prstGeom prst="line">
              <a:avLst/>
            </a:prstGeom>
            <a:ln w="19050">
              <a:solidFill>
                <a:schemeClr val="accent2"/>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6" name="Abgerundetes Rechteck 33">
              <a:extLst>
                <a:ext uri="{FF2B5EF4-FFF2-40B4-BE49-F238E27FC236}">
                  <a16:creationId xmlns:a16="http://schemas.microsoft.com/office/drawing/2014/main" id="{57B3E3FE-2AF5-4EB1-A178-2C90CE5C7236}"/>
                </a:ext>
              </a:extLst>
            </p:cNvPr>
            <p:cNvSpPr/>
            <p:nvPr/>
          </p:nvSpPr>
          <p:spPr bwMode="auto">
            <a:xfrm>
              <a:off x="4546304" y="2085801"/>
              <a:ext cx="1182824" cy="240643"/>
            </a:xfrm>
            <a:prstGeom prst="roundRect">
              <a:avLst/>
            </a:prstGeom>
            <a:ln w="12700">
              <a:solidFill>
                <a:srgbClr val="00B05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474663" indent="-474663" algn="ctr">
                <a:spcBef>
                  <a:spcPts val="0"/>
                </a:spcBef>
                <a:buClr>
                  <a:srgbClr val="004F80"/>
                </a:buClr>
                <a:buSzPct val="80000"/>
              </a:pPr>
              <a:r>
                <a:rPr lang="en-US" sz="1400" b="1" kern="0" dirty="0" err="1">
                  <a:solidFill>
                    <a:schemeClr val="tx1"/>
                  </a:solidFill>
                  <a:latin typeface="+mj-lt"/>
                </a:rPr>
                <a:t>Notifizierung</a:t>
              </a:r>
              <a:endParaRPr lang="en-US" sz="1400" b="1" kern="0" dirty="0">
                <a:solidFill>
                  <a:schemeClr val="tx1"/>
                </a:solidFill>
                <a:latin typeface="+mj-lt"/>
              </a:endParaRPr>
            </a:p>
          </p:txBody>
        </p:sp>
        <p:cxnSp>
          <p:nvCxnSpPr>
            <p:cNvPr id="17" name="Gerader Verbinder 16">
              <a:extLst>
                <a:ext uri="{FF2B5EF4-FFF2-40B4-BE49-F238E27FC236}">
                  <a16:creationId xmlns:a16="http://schemas.microsoft.com/office/drawing/2014/main" id="{138AE18E-E2FA-468B-B406-AC7B982FA22F}"/>
                </a:ext>
              </a:extLst>
            </p:cNvPr>
            <p:cNvCxnSpPr>
              <a:cxnSpLocks/>
            </p:cNvCxnSpPr>
            <p:nvPr/>
          </p:nvCxnSpPr>
          <p:spPr bwMode="auto">
            <a:xfrm flipV="1">
              <a:off x="7016749" y="2036638"/>
              <a:ext cx="4577" cy="733062"/>
            </a:xfrm>
            <a:prstGeom prst="line">
              <a:avLst/>
            </a:prstGeom>
            <a:ln w="19050">
              <a:solidFill>
                <a:schemeClr val="accent2"/>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8" name="Abgerundetes Rechteck 53">
              <a:extLst>
                <a:ext uri="{FF2B5EF4-FFF2-40B4-BE49-F238E27FC236}">
                  <a16:creationId xmlns:a16="http://schemas.microsoft.com/office/drawing/2014/main" id="{67DC4F75-76CF-44F9-AD73-C9626F6D890C}"/>
                </a:ext>
              </a:extLst>
            </p:cNvPr>
            <p:cNvSpPr/>
            <p:nvPr/>
          </p:nvSpPr>
          <p:spPr bwMode="auto">
            <a:xfrm>
              <a:off x="6221870" y="1427675"/>
              <a:ext cx="1589758" cy="628279"/>
            </a:xfrm>
            <a:prstGeom prst="roundRect">
              <a:avLst/>
            </a:prstGeom>
            <a:ln w="12700">
              <a:solidFill>
                <a:srgbClr val="00B05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indent="-474663" algn="ctr">
                <a:spcBef>
                  <a:spcPts val="0"/>
                </a:spcBef>
                <a:buClr>
                  <a:srgbClr val="004F80"/>
                </a:buClr>
                <a:buSzPct val="80000"/>
              </a:pPr>
              <a:r>
                <a:rPr lang="en-US" sz="1400" b="1" kern="0" dirty="0" err="1">
                  <a:solidFill>
                    <a:schemeClr val="tx1"/>
                  </a:solidFill>
                  <a:latin typeface="+mj-lt"/>
                </a:rPr>
                <a:t>Beihilferechtliche</a:t>
              </a:r>
              <a:r>
                <a:rPr lang="en-US" sz="1400" b="1" kern="0" dirty="0">
                  <a:solidFill>
                    <a:schemeClr val="tx1"/>
                  </a:solidFill>
                  <a:latin typeface="+mj-lt"/>
                </a:rPr>
                <a:t> </a:t>
              </a:r>
              <a:r>
                <a:rPr lang="en-US" sz="1400" b="1" kern="0" dirty="0" err="1">
                  <a:solidFill>
                    <a:schemeClr val="tx1"/>
                  </a:solidFill>
                  <a:latin typeface="+mj-lt"/>
                </a:rPr>
                <a:t>Genehmigung</a:t>
              </a:r>
              <a:r>
                <a:rPr lang="en-US" sz="1400" b="1" kern="0" dirty="0">
                  <a:solidFill>
                    <a:schemeClr val="tx1"/>
                  </a:solidFill>
                  <a:latin typeface="+mj-lt"/>
                </a:rPr>
                <a:t> von KOM</a:t>
              </a:r>
            </a:p>
          </p:txBody>
        </p:sp>
        <p:cxnSp>
          <p:nvCxnSpPr>
            <p:cNvPr id="19" name="Gerader Verbinder 18">
              <a:extLst>
                <a:ext uri="{FF2B5EF4-FFF2-40B4-BE49-F238E27FC236}">
                  <a16:creationId xmlns:a16="http://schemas.microsoft.com/office/drawing/2014/main" id="{C1C7835B-86DA-4FF8-947A-5361C70DF62E}"/>
                </a:ext>
              </a:extLst>
            </p:cNvPr>
            <p:cNvCxnSpPr/>
            <p:nvPr/>
          </p:nvCxnSpPr>
          <p:spPr bwMode="auto">
            <a:xfrm flipH="1">
              <a:off x="2120664" y="2198143"/>
              <a:ext cx="110651" cy="0"/>
            </a:xfrm>
            <a:prstGeom prst="line">
              <a:avLst/>
            </a:prstGeom>
            <a:solidFill>
              <a:schemeClr val="accent1"/>
            </a:solidFill>
            <a:ln w="15240" cap="flat" cmpd="sng" algn="ctr">
              <a:solidFill>
                <a:schemeClr val="accent2"/>
              </a:solidFill>
              <a:prstDash val="solid"/>
              <a:round/>
              <a:headEnd type="none" w="med" len="med"/>
              <a:tailEnd type="none" w="med" len="med"/>
            </a:ln>
            <a:effectLst/>
          </p:spPr>
        </p:cxnSp>
        <p:cxnSp>
          <p:nvCxnSpPr>
            <p:cNvPr id="20" name="Gerader Verbinder 19">
              <a:extLst>
                <a:ext uri="{FF2B5EF4-FFF2-40B4-BE49-F238E27FC236}">
                  <a16:creationId xmlns:a16="http://schemas.microsoft.com/office/drawing/2014/main" id="{37A7B3AB-7657-444D-8BFC-85A8870B1179}"/>
                </a:ext>
              </a:extLst>
            </p:cNvPr>
            <p:cNvCxnSpPr/>
            <p:nvPr/>
          </p:nvCxnSpPr>
          <p:spPr bwMode="auto">
            <a:xfrm flipH="1">
              <a:off x="5757493" y="2211710"/>
              <a:ext cx="110651" cy="0"/>
            </a:xfrm>
            <a:prstGeom prst="line">
              <a:avLst/>
            </a:prstGeom>
            <a:solidFill>
              <a:schemeClr val="accent1"/>
            </a:solidFill>
            <a:ln w="15240" cap="flat" cmpd="sng" algn="ctr">
              <a:solidFill>
                <a:schemeClr val="accent2"/>
              </a:solidFill>
              <a:prstDash val="solid"/>
              <a:round/>
              <a:headEnd type="none" w="med" len="med"/>
              <a:tailEnd type="none" w="med" len="med"/>
            </a:ln>
            <a:effectLst/>
          </p:spPr>
        </p:cxnSp>
      </p:grpSp>
      <p:cxnSp>
        <p:nvCxnSpPr>
          <p:cNvPr id="48" name="Gerader Verbinder 47">
            <a:extLst>
              <a:ext uri="{FF2B5EF4-FFF2-40B4-BE49-F238E27FC236}">
                <a16:creationId xmlns:a16="http://schemas.microsoft.com/office/drawing/2014/main" id="{29B0E734-F8CF-410D-8A6A-798ED0CC0562}"/>
              </a:ext>
            </a:extLst>
          </p:cNvPr>
          <p:cNvCxnSpPr/>
          <p:nvPr/>
        </p:nvCxnSpPr>
        <p:spPr bwMode="auto">
          <a:xfrm flipV="1">
            <a:off x="1675077" y="3476577"/>
            <a:ext cx="4761" cy="710765"/>
          </a:xfrm>
          <a:prstGeom prst="line">
            <a:avLst/>
          </a:prstGeom>
          <a:ln w="19050">
            <a:solidFill>
              <a:schemeClr val="accent2"/>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49" name="Abgerundetes Rechteck 53">
            <a:extLst>
              <a:ext uri="{FF2B5EF4-FFF2-40B4-BE49-F238E27FC236}">
                <a16:creationId xmlns:a16="http://schemas.microsoft.com/office/drawing/2014/main" id="{1063648D-8CB3-496F-A7A6-D39D2280AFE4}"/>
              </a:ext>
            </a:extLst>
          </p:cNvPr>
          <p:cNvSpPr/>
          <p:nvPr/>
        </p:nvSpPr>
        <p:spPr bwMode="auto">
          <a:xfrm>
            <a:off x="997578" y="3181034"/>
            <a:ext cx="1394238" cy="680014"/>
          </a:xfrm>
          <a:prstGeom prst="roundRect">
            <a:avLst/>
          </a:prstGeom>
          <a:ln w="12700">
            <a:solidFill>
              <a:srgbClr val="00B05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indent="-474663" algn="ctr">
              <a:spcBef>
                <a:spcPts val="0"/>
              </a:spcBef>
              <a:buClr>
                <a:srgbClr val="004F80"/>
              </a:buClr>
              <a:buSzPct val="80000"/>
            </a:pPr>
            <a:r>
              <a:rPr lang="en-US" sz="1400" b="1" kern="0" dirty="0">
                <a:solidFill>
                  <a:schemeClr val="tx1"/>
                </a:solidFill>
                <a:latin typeface="+mj-lt"/>
              </a:rPr>
              <a:t>EU-</a:t>
            </a:r>
            <a:r>
              <a:rPr lang="en-US" sz="1400" b="1" kern="0" dirty="0" err="1">
                <a:solidFill>
                  <a:schemeClr val="tx1"/>
                </a:solidFill>
                <a:latin typeface="+mj-lt"/>
              </a:rPr>
              <a:t>weites</a:t>
            </a:r>
            <a:endParaRPr lang="en-US" sz="1400" b="1" kern="0" dirty="0">
              <a:solidFill>
                <a:schemeClr val="tx1"/>
              </a:solidFill>
              <a:latin typeface="+mj-lt"/>
            </a:endParaRPr>
          </a:p>
          <a:p>
            <a:pPr indent="-474663" algn="ctr">
              <a:spcBef>
                <a:spcPts val="0"/>
              </a:spcBef>
              <a:buClr>
                <a:srgbClr val="004F80"/>
              </a:buClr>
              <a:buSzPct val="80000"/>
            </a:pPr>
            <a:r>
              <a:rPr lang="en-US" sz="1400" b="1" kern="0" dirty="0">
                <a:solidFill>
                  <a:schemeClr val="tx1"/>
                </a:solidFill>
                <a:latin typeface="+mj-lt"/>
              </a:rPr>
              <a:t>Matchmaking</a:t>
            </a:r>
          </a:p>
        </p:txBody>
      </p:sp>
      <p:grpSp>
        <p:nvGrpSpPr>
          <p:cNvPr id="40" name="Group 594">
            <a:extLst>
              <a:ext uri="{FF2B5EF4-FFF2-40B4-BE49-F238E27FC236}">
                <a16:creationId xmlns:a16="http://schemas.microsoft.com/office/drawing/2014/main" id="{3467B920-EF85-49D5-BB1A-38DAD9A1E9AA}"/>
              </a:ext>
            </a:extLst>
          </p:cNvPr>
          <p:cNvGrpSpPr>
            <a:grpSpLocks noChangeAspect="1"/>
          </p:cNvGrpSpPr>
          <p:nvPr/>
        </p:nvGrpSpPr>
        <p:grpSpPr bwMode="auto">
          <a:xfrm>
            <a:off x="263352" y="3861048"/>
            <a:ext cx="558467" cy="432048"/>
            <a:chOff x="1032" y="2185"/>
            <a:chExt cx="402" cy="311"/>
          </a:xfrm>
          <a:solidFill>
            <a:schemeClr val="tx1"/>
          </a:solidFill>
        </p:grpSpPr>
        <p:sp>
          <p:nvSpPr>
            <p:cNvPr id="41" name="Freeform 595">
              <a:extLst>
                <a:ext uri="{FF2B5EF4-FFF2-40B4-BE49-F238E27FC236}">
                  <a16:creationId xmlns:a16="http://schemas.microsoft.com/office/drawing/2014/main" id="{E8D36C07-02D3-4B87-A8CE-82ABEEA0A164}"/>
                </a:ext>
              </a:extLst>
            </p:cNvPr>
            <p:cNvSpPr>
              <a:spLocks noEditPoints="1"/>
            </p:cNvSpPr>
            <p:nvPr/>
          </p:nvSpPr>
          <p:spPr bwMode="auto">
            <a:xfrm>
              <a:off x="1032" y="2185"/>
              <a:ext cx="402" cy="148"/>
            </a:xfrm>
            <a:custGeom>
              <a:avLst/>
              <a:gdLst>
                <a:gd name="T0" fmla="*/ 475 w 481"/>
                <a:gd name="T1" fmla="*/ 176 h 176"/>
                <a:gd name="T2" fmla="*/ 6 w 481"/>
                <a:gd name="T3" fmla="*/ 176 h 176"/>
                <a:gd name="T4" fmla="*/ 0 w 481"/>
                <a:gd name="T5" fmla="*/ 170 h 176"/>
                <a:gd name="T6" fmla="*/ 0 w 481"/>
                <a:gd name="T7" fmla="*/ 6 h 176"/>
                <a:gd name="T8" fmla="*/ 6 w 481"/>
                <a:gd name="T9" fmla="*/ 0 h 176"/>
                <a:gd name="T10" fmla="*/ 475 w 481"/>
                <a:gd name="T11" fmla="*/ 0 h 176"/>
                <a:gd name="T12" fmla="*/ 481 w 481"/>
                <a:gd name="T13" fmla="*/ 6 h 176"/>
                <a:gd name="T14" fmla="*/ 481 w 481"/>
                <a:gd name="T15" fmla="*/ 170 h 176"/>
                <a:gd name="T16" fmla="*/ 475 w 481"/>
                <a:gd name="T17" fmla="*/ 176 h 176"/>
                <a:gd name="T18" fmla="*/ 12 w 481"/>
                <a:gd name="T19" fmla="*/ 164 h 176"/>
                <a:gd name="T20" fmla="*/ 469 w 481"/>
                <a:gd name="T21" fmla="*/ 164 h 176"/>
                <a:gd name="T22" fmla="*/ 469 w 481"/>
                <a:gd name="T23" fmla="*/ 12 h 176"/>
                <a:gd name="T24" fmla="*/ 12 w 481"/>
                <a:gd name="T25" fmla="*/ 12 h 176"/>
                <a:gd name="T26" fmla="*/ 12 w 481"/>
                <a:gd name="T27" fmla="*/ 16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1" h="176">
                  <a:moveTo>
                    <a:pt x="475" y="176"/>
                  </a:moveTo>
                  <a:cubicBezTo>
                    <a:pt x="6" y="176"/>
                    <a:pt x="6" y="176"/>
                    <a:pt x="6" y="176"/>
                  </a:cubicBezTo>
                  <a:cubicBezTo>
                    <a:pt x="3" y="176"/>
                    <a:pt x="0" y="173"/>
                    <a:pt x="0" y="170"/>
                  </a:cubicBezTo>
                  <a:cubicBezTo>
                    <a:pt x="0" y="6"/>
                    <a:pt x="0" y="6"/>
                    <a:pt x="0" y="6"/>
                  </a:cubicBezTo>
                  <a:cubicBezTo>
                    <a:pt x="0" y="3"/>
                    <a:pt x="3" y="0"/>
                    <a:pt x="6" y="0"/>
                  </a:cubicBezTo>
                  <a:cubicBezTo>
                    <a:pt x="475" y="0"/>
                    <a:pt x="475" y="0"/>
                    <a:pt x="475" y="0"/>
                  </a:cubicBezTo>
                  <a:cubicBezTo>
                    <a:pt x="478" y="0"/>
                    <a:pt x="481" y="3"/>
                    <a:pt x="481" y="6"/>
                  </a:cubicBezTo>
                  <a:cubicBezTo>
                    <a:pt x="481" y="170"/>
                    <a:pt x="481" y="170"/>
                    <a:pt x="481" y="170"/>
                  </a:cubicBezTo>
                  <a:cubicBezTo>
                    <a:pt x="481" y="173"/>
                    <a:pt x="478" y="176"/>
                    <a:pt x="475" y="176"/>
                  </a:cubicBezTo>
                  <a:close/>
                  <a:moveTo>
                    <a:pt x="12" y="164"/>
                  </a:moveTo>
                  <a:cubicBezTo>
                    <a:pt x="469" y="164"/>
                    <a:pt x="469" y="164"/>
                    <a:pt x="469" y="164"/>
                  </a:cubicBezTo>
                  <a:cubicBezTo>
                    <a:pt x="469" y="12"/>
                    <a:pt x="469" y="12"/>
                    <a:pt x="469" y="12"/>
                  </a:cubicBezTo>
                  <a:cubicBezTo>
                    <a:pt x="12" y="12"/>
                    <a:pt x="12" y="12"/>
                    <a:pt x="12" y="12"/>
                  </a:cubicBezTo>
                  <a:lnTo>
                    <a:pt x="12"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596">
              <a:extLst>
                <a:ext uri="{FF2B5EF4-FFF2-40B4-BE49-F238E27FC236}">
                  <a16:creationId xmlns:a16="http://schemas.microsoft.com/office/drawing/2014/main" id="{F31D699B-E87C-43A3-84A7-15EE946D83E0}"/>
                </a:ext>
              </a:extLst>
            </p:cNvPr>
            <p:cNvSpPr>
              <a:spLocks/>
            </p:cNvSpPr>
            <p:nvPr/>
          </p:nvSpPr>
          <p:spPr bwMode="auto">
            <a:xfrm>
              <a:off x="1080" y="2215"/>
              <a:ext cx="49" cy="77"/>
            </a:xfrm>
            <a:custGeom>
              <a:avLst/>
              <a:gdLst>
                <a:gd name="T0" fmla="*/ 51 w 58"/>
                <a:gd name="T1" fmla="*/ 18 h 93"/>
                <a:gd name="T2" fmla="*/ 33 w 58"/>
                <a:gd name="T3" fmla="*/ 14 h 93"/>
                <a:gd name="T4" fmla="*/ 19 w 58"/>
                <a:gd name="T5" fmla="*/ 27 h 93"/>
                <a:gd name="T6" fmla="*/ 58 w 58"/>
                <a:gd name="T7" fmla="*/ 66 h 93"/>
                <a:gd name="T8" fmla="*/ 25 w 58"/>
                <a:gd name="T9" fmla="*/ 93 h 93"/>
                <a:gd name="T10" fmla="*/ 2 w 58"/>
                <a:gd name="T11" fmla="*/ 89 h 93"/>
                <a:gd name="T12" fmla="*/ 3 w 58"/>
                <a:gd name="T13" fmla="*/ 73 h 93"/>
                <a:gd name="T14" fmla="*/ 24 w 58"/>
                <a:gd name="T15" fmla="*/ 79 h 93"/>
                <a:gd name="T16" fmla="*/ 39 w 58"/>
                <a:gd name="T17" fmla="*/ 67 h 93"/>
                <a:gd name="T18" fmla="*/ 0 w 58"/>
                <a:gd name="T19" fmla="*/ 28 h 93"/>
                <a:gd name="T20" fmla="*/ 32 w 58"/>
                <a:gd name="T21" fmla="*/ 0 h 93"/>
                <a:gd name="T22" fmla="*/ 53 w 58"/>
                <a:gd name="T23" fmla="*/ 3 h 93"/>
                <a:gd name="T24" fmla="*/ 51 w 58"/>
                <a:gd name="T25" fmla="*/ 1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93">
                  <a:moveTo>
                    <a:pt x="51" y="18"/>
                  </a:moveTo>
                  <a:cubicBezTo>
                    <a:pt x="46" y="16"/>
                    <a:pt x="39" y="14"/>
                    <a:pt x="33" y="14"/>
                  </a:cubicBezTo>
                  <a:cubicBezTo>
                    <a:pt x="27" y="14"/>
                    <a:pt x="19" y="17"/>
                    <a:pt x="19" y="27"/>
                  </a:cubicBezTo>
                  <a:cubicBezTo>
                    <a:pt x="19" y="42"/>
                    <a:pt x="58" y="36"/>
                    <a:pt x="58" y="66"/>
                  </a:cubicBezTo>
                  <a:cubicBezTo>
                    <a:pt x="58" y="85"/>
                    <a:pt x="43" y="93"/>
                    <a:pt x="25" y="93"/>
                  </a:cubicBezTo>
                  <a:cubicBezTo>
                    <a:pt x="15" y="93"/>
                    <a:pt x="10" y="92"/>
                    <a:pt x="2" y="89"/>
                  </a:cubicBezTo>
                  <a:cubicBezTo>
                    <a:pt x="3" y="73"/>
                    <a:pt x="3" y="73"/>
                    <a:pt x="3" y="73"/>
                  </a:cubicBezTo>
                  <a:cubicBezTo>
                    <a:pt x="9" y="77"/>
                    <a:pt x="17" y="79"/>
                    <a:pt x="24" y="79"/>
                  </a:cubicBezTo>
                  <a:cubicBezTo>
                    <a:pt x="30" y="79"/>
                    <a:pt x="39" y="75"/>
                    <a:pt x="39" y="67"/>
                  </a:cubicBezTo>
                  <a:cubicBezTo>
                    <a:pt x="39" y="50"/>
                    <a:pt x="0" y="57"/>
                    <a:pt x="0" y="28"/>
                  </a:cubicBezTo>
                  <a:cubicBezTo>
                    <a:pt x="0" y="8"/>
                    <a:pt x="16" y="0"/>
                    <a:pt x="32" y="0"/>
                  </a:cubicBezTo>
                  <a:cubicBezTo>
                    <a:pt x="39" y="0"/>
                    <a:pt x="46" y="1"/>
                    <a:pt x="53" y="3"/>
                  </a:cubicBezTo>
                  <a:lnTo>
                    <a:pt x="5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597">
              <a:extLst>
                <a:ext uri="{FF2B5EF4-FFF2-40B4-BE49-F238E27FC236}">
                  <a16:creationId xmlns:a16="http://schemas.microsoft.com/office/drawing/2014/main" id="{4BF9FA60-CA27-4A3F-884B-63897EB13C00}"/>
                </a:ext>
              </a:extLst>
            </p:cNvPr>
            <p:cNvSpPr>
              <a:spLocks/>
            </p:cNvSpPr>
            <p:nvPr/>
          </p:nvSpPr>
          <p:spPr bwMode="auto">
            <a:xfrm>
              <a:off x="1135" y="2216"/>
              <a:ext cx="58" cy="75"/>
            </a:xfrm>
            <a:custGeom>
              <a:avLst/>
              <a:gdLst>
                <a:gd name="T0" fmla="*/ 21 w 58"/>
                <a:gd name="T1" fmla="*/ 12 h 75"/>
                <a:gd name="T2" fmla="*/ 0 w 58"/>
                <a:gd name="T3" fmla="*/ 12 h 75"/>
                <a:gd name="T4" fmla="*/ 0 w 58"/>
                <a:gd name="T5" fmla="*/ 0 h 75"/>
                <a:gd name="T6" fmla="*/ 58 w 58"/>
                <a:gd name="T7" fmla="*/ 0 h 75"/>
                <a:gd name="T8" fmla="*/ 58 w 58"/>
                <a:gd name="T9" fmla="*/ 12 h 75"/>
                <a:gd name="T10" fmla="*/ 37 w 58"/>
                <a:gd name="T11" fmla="*/ 12 h 75"/>
                <a:gd name="T12" fmla="*/ 37 w 58"/>
                <a:gd name="T13" fmla="*/ 75 h 75"/>
                <a:gd name="T14" fmla="*/ 21 w 58"/>
                <a:gd name="T15" fmla="*/ 75 h 75"/>
                <a:gd name="T16" fmla="*/ 21 w 58"/>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75">
                  <a:moveTo>
                    <a:pt x="21" y="12"/>
                  </a:moveTo>
                  <a:lnTo>
                    <a:pt x="0" y="12"/>
                  </a:lnTo>
                  <a:lnTo>
                    <a:pt x="0" y="0"/>
                  </a:lnTo>
                  <a:lnTo>
                    <a:pt x="58" y="0"/>
                  </a:lnTo>
                  <a:lnTo>
                    <a:pt x="58" y="12"/>
                  </a:lnTo>
                  <a:lnTo>
                    <a:pt x="37" y="12"/>
                  </a:lnTo>
                  <a:lnTo>
                    <a:pt x="37" y="75"/>
                  </a:lnTo>
                  <a:lnTo>
                    <a:pt x="21" y="75"/>
                  </a:lnTo>
                  <a:lnTo>
                    <a:pt x="21"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598">
              <a:extLst>
                <a:ext uri="{FF2B5EF4-FFF2-40B4-BE49-F238E27FC236}">
                  <a16:creationId xmlns:a16="http://schemas.microsoft.com/office/drawing/2014/main" id="{3B507C15-CC28-4D0B-BAD5-05040CC68F17}"/>
                </a:ext>
              </a:extLst>
            </p:cNvPr>
            <p:cNvSpPr>
              <a:spLocks noEditPoints="1"/>
            </p:cNvSpPr>
            <p:nvPr/>
          </p:nvSpPr>
          <p:spPr bwMode="auto">
            <a:xfrm>
              <a:off x="1186" y="2216"/>
              <a:ext cx="76" cy="75"/>
            </a:xfrm>
            <a:custGeom>
              <a:avLst/>
              <a:gdLst>
                <a:gd name="T0" fmla="*/ 29 w 76"/>
                <a:gd name="T1" fmla="*/ 0 h 75"/>
                <a:gd name="T2" fmla="*/ 47 w 76"/>
                <a:gd name="T3" fmla="*/ 0 h 75"/>
                <a:gd name="T4" fmla="*/ 76 w 76"/>
                <a:gd name="T5" fmla="*/ 75 h 75"/>
                <a:gd name="T6" fmla="*/ 59 w 76"/>
                <a:gd name="T7" fmla="*/ 75 h 75"/>
                <a:gd name="T8" fmla="*/ 52 w 76"/>
                <a:gd name="T9" fmla="*/ 58 h 75"/>
                <a:gd name="T10" fmla="*/ 22 w 76"/>
                <a:gd name="T11" fmla="*/ 58 h 75"/>
                <a:gd name="T12" fmla="*/ 16 w 76"/>
                <a:gd name="T13" fmla="*/ 75 h 75"/>
                <a:gd name="T14" fmla="*/ 0 w 76"/>
                <a:gd name="T15" fmla="*/ 75 h 75"/>
                <a:gd name="T16" fmla="*/ 29 w 76"/>
                <a:gd name="T17" fmla="*/ 0 h 75"/>
                <a:gd name="T18" fmla="*/ 37 w 76"/>
                <a:gd name="T19" fmla="*/ 15 h 75"/>
                <a:gd name="T20" fmla="*/ 37 w 76"/>
                <a:gd name="T21" fmla="*/ 15 h 75"/>
                <a:gd name="T22" fmla="*/ 27 w 76"/>
                <a:gd name="T23" fmla="*/ 46 h 75"/>
                <a:gd name="T24" fmla="*/ 48 w 76"/>
                <a:gd name="T25" fmla="*/ 46 h 75"/>
                <a:gd name="T26" fmla="*/ 37 w 76"/>
                <a:gd name="T27" fmla="*/ 1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75">
                  <a:moveTo>
                    <a:pt x="29" y="0"/>
                  </a:moveTo>
                  <a:lnTo>
                    <a:pt x="47" y="0"/>
                  </a:lnTo>
                  <a:lnTo>
                    <a:pt x="76" y="75"/>
                  </a:lnTo>
                  <a:lnTo>
                    <a:pt x="59" y="75"/>
                  </a:lnTo>
                  <a:lnTo>
                    <a:pt x="52" y="58"/>
                  </a:lnTo>
                  <a:lnTo>
                    <a:pt x="22" y="58"/>
                  </a:lnTo>
                  <a:lnTo>
                    <a:pt x="16" y="75"/>
                  </a:lnTo>
                  <a:lnTo>
                    <a:pt x="0" y="75"/>
                  </a:lnTo>
                  <a:lnTo>
                    <a:pt x="29" y="0"/>
                  </a:lnTo>
                  <a:close/>
                  <a:moveTo>
                    <a:pt x="37" y="15"/>
                  </a:moveTo>
                  <a:lnTo>
                    <a:pt x="37" y="15"/>
                  </a:lnTo>
                  <a:lnTo>
                    <a:pt x="27" y="46"/>
                  </a:lnTo>
                  <a:lnTo>
                    <a:pt x="48" y="46"/>
                  </a:lnTo>
                  <a:lnTo>
                    <a:pt x="37"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599">
              <a:extLst>
                <a:ext uri="{FF2B5EF4-FFF2-40B4-BE49-F238E27FC236}">
                  <a16:creationId xmlns:a16="http://schemas.microsoft.com/office/drawing/2014/main" id="{B7EAC400-D126-418E-9203-7F76773AEB0A}"/>
                </a:ext>
              </a:extLst>
            </p:cNvPr>
            <p:cNvSpPr>
              <a:spLocks noEditPoints="1"/>
            </p:cNvSpPr>
            <p:nvPr/>
          </p:nvSpPr>
          <p:spPr bwMode="auto">
            <a:xfrm>
              <a:off x="1270" y="2215"/>
              <a:ext cx="56" cy="76"/>
            </a:xfrm>
            <a:custGeom>
              <a:avLst/>
              <a:gdLst>
                <a:gd name="T0" fmla="*/ 0 w 67"/>
                <a:gd name="T1" fmla="*/ 1 h 90"/>
                <a:gd name="T2" fmla="*/ 19 w 67"/>
                <a:gd name="T3" fmla="*/ 1 h 90"/>
                <a:gd name="T4" fmla="*/ 62 w 67"/>
                <a:gd name="T5" fmla="*/ 25 h 90"/>
                <a:gd name="T6" fmla="*/ 43 w 67"/>
                <a:gd name="T7" fmla="*/ 46 h 90"/>
                <a:gd name="T8" fmla="*/ 43 w 67"/>
                <a:gd name="T9" fmla="*/ 46 h 90"/>
                <a:gd name="T10" fmla="*/ 53 w 67"/>
                <a:gd name="T11" fmla="*/ 55 h 90"/>
                <a:gd name="T12" fmla="*/ 67 w 67"/>
                <a:gd name="T13" fmla="*/ 90 h 90"/>
                <a:gd name="T14" fmla="*/ 47 w 67"/>
                <a:gd name="T15" fmla="*/ 90 h 90"/>
                <a:gd name="T16" fmla="*/ 36 w 67"/>
                <a:gd name="T17" fmla="*/ 62 h 90"/>
                <a:gd name="T18" fmla="*/ 24 w 67"/>
                <a:gd name="T19" fmla="*/ 53 h 90"/>
                <a:gd name="T20" fmla="*/ 18 w 67"/>
                <a:gd name="T21" fmla="*/ 53 h 90"/>
                <a:gd name="T22" fmla="*/ 18 w 67"/>
                <a:gd name="T23" fmla="*/ 90 h 90"/>
                <a:gd name="T24" fmla="*/ 0 w 67"/>
                <a:gd name="T25" fmla="*/ 90 h 90"/>
                <a:gd name="T26" fmla="*/ 0 w 67"/>
                <a:gd name="T27" fmla="*/ 1 h 90"/>
                <a:gd name="T28" fmla="*/ 18 w 67"/>
                <a:gd name="T29" fmla="*/ 39 h 90"/>
                <a:gd name="T30" fmla="*/ 24 w 67"/>
                <a:gd name="T31" fmla="*/ 39 h 90"/>
                <a:gd name="T32" fmla="*/ 43 w 67"/>
                <a:gd name="T33" fmla="*/ 27 h 90"/>
                <a:gd name="T34" fmla="*/ 24 w 67"/>
                <a:gd name="T35" fmla="*/ 15 h 90"/>
                <a:gd name="T36" fmla="*/ 18 w 67"/>
                <a:gd name="T37" fmla="*/ 15 h 90"/>
                <a:gd name="T38" fmla="*/ 18 w 67"/>
                <a:gd name="T39" fmla="*/ 3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90">
                  <a:moveTo>
                    <a:pt x="0" y="1"/>
                  </a:moveTo>
                  <a:cubicBezTo>
                    <a:pt x="19" y="1"/>
                    <a:pt x="19" y="1"/>
                    <a:pt x="19" y="1"/>
                  </a:cubicBezTo>
                  <a:cubicBezTo>
                    <a:pt x="39" y="1"/>
                    <a:pt x="62" y="0"/>
                    <a:pt x="62" y="25"/>
                  </a:cubicBezTo>
                  <a:cubicBezTo>
                    <a:pt x="62" y="36"/>
                    <a:pt x="54" y="44"/>
                    <a:pt x="43" y="46"/>
                  </a:cubicBezTo>
                  <a:cubicBezTo>
                    <a:pt x="43" y="46"/>
                    <a:pt x="43" y="46"/>
                    <a:pt x="43" y="46"/>
                  </a:cubicBezTo>
                  <a:cubicBezTo>
                    <a:pt x="48" y="46"/>
                    <a:pt x="51" y="51"/>
                    <a:pt x="53" y="55"/>
                  </a:cubicBezTo>
                  <a:cubicBezTo>
                    <a:pt x="67" y="90"/>
                    <a:pt x="67" y="90"/>
                    <a:pt x="67" y="90"/>
                  </a:cubicBezTo>
                  <a:cubicBezTo>
                    <a:pt x="47" y="90"/>
                    <a:pt x="47" y="90"/>
                    <a:pt x="47" y="90"/>
                  </a:cubicBezTo>
                  <a:cubicBezTo>
                    <a:pt x="36" y="62"/>
                    <a:pt x="36" y="62"/>
                    <a:pt x="36" y="62"/>
                  </a:cubicBezTo>
                  <a:cubicBezTo>
                    <a:pt x="34" y="56"/>
                    <a:pt x="31" y="53"/>
                    <a:pt x="24" y="53"/>
                  </a:cubicBezTo>
                  <a:cubicBezTo>
                    <a:pt x="18" y="53"/>
                    <a:pt x="18" y="53"/>
                    <a:pt x="18" y="53"/>
                  </a:cubicBezTo>
                  <a:cubicBezTo>
                    <a:pt x="18" y="90"/>
                    <a:pt x="18" y="90"/>
                    <a:pt x="18" y="90"/>
                  </a:cubicBezTo>
                  <a:cubicBezTo>
                    <a:pt x="0" y="90"/>
                    <a:pt x="0" y="90"/>
                    <a:pt x="0" y="90"/>
                  </a:cubicBezTo>
                  <a:lnTo>
                    <a:pt x="0" y="1"/>
                  </a:lnTo>
                  <a:close/>
                  <a:moveTo>
                    <a:pt x="18" y="39"/>
                  </a:moveTo>
                  <a:cubicBezTo>
                    <a:pt x="24" y="39"/>
                    <a:pt x="24" y="39"/>
                    <a:pt x="24" y="39"/>
                  </a:cubicBezTo>
                  <a:cubicBezTo>
                    <a:pt x="33" y="39"/>
                    <a:pt x="43" y="38"/>
                    <a:pt x="43" y="27"/>
                  </a:cubicBezTo>
                  <a:cubicBezTo>
                    <a:pt x="43" y="16"/>
                    <a:pt x="33" y="15"/>
                    <a:pt x="24" y="15"/>
                  </a:cubicBezTo>
                  <a:cubicBezTo>
                    <a:pt x="18" y="15"/>
                    <a:pt x="18" y="15"/>
                    <a:pt x="18" y="15"/>
                  </a:cubicBezTo>
                  <a:lnTo>
                    <a:pt x="1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600">
              <a:extLst>
                <a:ext uri="{FF2B5EF4-FFF2-40B4-BE49-F238E27FC236}">
                  <a16:creationId xmlns:a16="http://schemas.microsoft.com/office/drawing/2014/main" id="{2E470D2E-0A1A-4123-B761-7939E7340F22}"/>
                </a:ext>
              </a:extLst>
            </p:cNvPr>
            <p:cNvSpPr>
              <a:spLocks/>
            </p:cNvSpPr>
            <p:nvPr/>
          </p:nvSpPr>
          <p:spPr bwMode="auto">
            <a:xfrm>
              <a:off x="1327" y="2216"/>
              <a:ext cx="59" cy="75"/>
            </a:xfrm>
            <a:custGeom>
              <a:avLst/>
              <a:gdLst>
                <a:gd name="T0" fmla="*/ 22 w 59"/>
                <a:gd name="T1" fmla="*/ 12 h 75"/>
                <a:gd name="T2" fmla="*/ 0 w 59"/>
                <a:gd name="T3" fmla="*/ 12 h 75"/>
                <a:gd name="T4" fmla="*/ 0 w 59"/>
                <a:gd name="T5" fmla="*/ 0 h 75"/>
                <a:gd name="T6" fmla="*/ 59 w 59"/>
                <a:gd name="T7" fmla="*/ 0 h 75"/>
                <a:gd name="T8" fmla="*/ 59 w 59"/>
                <a:gd name="T9" fmla="*/ 12 h 75"/>
                <a:gd name="T10" fmla="*/ 37 w 59"/>
                <a:gd name="T11" fmla="*/ 12 h 75"/>
                <a:gd name="T12" fmla="*/ 37 w 59"/>
                <a:gd name="T13" fmla="*/ 75 h 75"/>
                <a:gd name="T14" fmla="*/ 22 w 59"/>
                <a:gd name="T15" fmla="*/ 75 h 75"/>
                <a:gd name="T16" fmla="*/ 22 w 59"/>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75">
                  <a:moveTo>
                    <a:pt x="22" y="12"/>
                  </a:moveTo>
                  <a:lnTo>
                    <a:pt x="0" y="12"/>
                  </a:lnTo>
                  <a:lnTo>
                    <a:pt x="0" y="0"/>
                  </a:lnTo>
                  <a:lnTo>
                    <a:pt x="59" y="0"/>
                  </a:lnTo>
                  <a:lnTo>
                    <a:pt x="59" y="12"/>
                  </a:lnTo>
                  <a:lnTo>
                    <a:pt x="37" y="12"/>
                  </a:lnTo>
                  <a:lnTo>
                    <a:pt x="37" y="75"/>
                  </a:lnTo>
                  <a:lnTo>
                    <a:pt x="22" y="75"/>
                  </a:lnTo>
                  <a:lnTo>
                    <a:pt x="2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601">
              <a:extLst>
                <a:ext uri="{FF2B5EF4-FFF2-40B4-BE49-F238E27FC236}">
                  <a16:creationId xmlns:a16="http://schemas.microsoft.com/office/drawing/2014/main" id="{0C832A57-B28E-444A-BF97-CCF9CF3ABF7D}"/>
                </a:ext>
              </a:extLst>
            </p:cNvPr>
            <p:cNvSpPr>
              <a:spLocks/>
            </p:cNvSpPr>
            <p:nvPr/>
          </p:nvSpPr>
          <p:spPr bwMode="auto">
            <a:xfrm>
              <a:off x="1032" y="2188"/>
              <a:ext cx="10" cy="308"/>
            </a:xfrm>
            <a:custGeom>
              <a:avLst/>
              <a:gdLst>
                <a:gd name="T0" fmla="*/ 6 w 12"/>
                <a:gd name="T1" fmla="*/ 368 h 368"/>
                <a:gd name="T2" fmla="*/ 0 w 12"/>
                <a:gd name="T3" fmla="*/ 362 h 368"/>
                <a:gd name="T4" fmla="*/ 0 w 12"/>
                <a:gd name="T5" fmla="*/ 6 h 368"/>
                <a:gd name="T6" fmla="*/ 6 w 12"/>
                <a:gd name="T7" fmla="*/ 0 h 368"/>
                <a:gd name="T8" fmla="*/ 12 w 12"/>
                <a:gd name="T9" fmla="*/ 6 h 368"/>
                <a:gd name="T10" fmla="*/ 12 w 12"/>
                <a:gd name="T11" fmla="*/ 362 h 368"/>
                <a:gd name="T12" fmla="*/ 6 w 12"/>
                <a:gd name="T13" fmla="*/ 368 h 368"/>
              </a:gdLst>
              <a:ahLst/>
              <a:cxnLst>
                <a:cxn ang="0">
                  <a:pos x="T0" y="T1"/>
                </a:cxn>
                <a:cxn ang="0">
                  <a:pos x="T2" y="T3"/>
                </a:cxn>
                <a:cxn ang="0">
                  <a:pos x="T4" y="T5"/>
                </a:cxn>
                <a:cxn ang="0">
                  <a:pos x="T6" y="T7"/>
                </a:cxn>
                <a:cxn ang="0">
                  <a:pos x="T8" y="T9"/>
                </a:cxn>
                <a:cxn ang="0">
                  <a:pos x="T10" y="T11"/>
                </a:cxn>
                <a:cxn ang="0">
                  <a:pos x="T12" y="T13"/>
                </a:cxn>
              </a:cxnLst>
              <a:rect l="0" t="0" r="r" b="b"/>
              <a:pathLst>
                <a:path w="12" h="368">
                  <a:moveTo>
                    <a:pt x="6" y="368"/>
                  </a:moveTo>
                  <a:cubicBezTo>
                    <a:pt x="3" y="368"/>
                    <a:pt x="0" y="366"/>
                    <a:pt x="0" y="362"/>
                  </a:cubicBezTo>
                  <a:cubicBezTo>
                    <a:pt x="0" y="6"/>
                    <a:pt x="0" y="6"/>
                    <a:pt x="0" y="6"/>
                  </a:cubicBezTo>
                  <a:cubicBezTo>
                    <a:pt x="0" y="2"/>
                    <a:pt x="3" y="0"/>
                    <a:pt x="6" y="0"/>
                  </a:cubicBezTo>
                  <a:cubicBezTo>
                    <a:pt x="9" y="0"/>
                    <a:pt x="12" y="2"/>
                    <a:pt x="12" y="6"/>
                  </a:cubicBezTo>
                  <a:cubicBezTo>
                    <a:pt x="12" y="362"/>
                    <a:pt x="12" y="362"/>
                    <a:pt x="12" y="362"/>
                  </a:cubicBezTo>
                  <a:cubicBezTo>
                    <a:pt x="12" y="366"/>
                    <a:pt x="9" y="368"/>
                    <a:pt x="6"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602">
              <a:extLst>
                <a:ext uri="{FF2B5EF4-FFF2-40B4-BE49-F238E27FC236}">
                  <a16:creationId xmlns:a16="http://schemas.microsoft.com/office/drawing/2014/main" id="{A19CD1AC-B629-43B9-8A1C-4507D646993B}"/>
                </a:ext>
              </a:extLst>
            </p:cNvPr>
            <p:cNvSpPr>
              <a:spLocks/>
            </p:cNvSpPr>
            <p:nvPr/>
          </p:nvSpPr>
          <p:spPr bwMode="auto">
            <a:xfrm>
              <a:off x="1424" y="2188"/>
              <a:ext cx="10" cy="308"/>
            </a:xfrm>
            <a:custGeom>
              <a:avLst/>
              <a:gdLst>
                <a:gd name="T0" fmla="*/ 6 w 12"/>
                <a:gd name="T1" fmla="*/ 368 h 368"/>
                <a:gd name="T2" fmla="*/ 0 w 12"/>
                <a:gd name="T3" fmla="*/ 362 h 368"/>
                <a:gd name="T4" fmla="*/ 0 w 12"/>
                <a:gd name="T5" fmla="*/ 6 h 368"/>
                <a:gd name="T6" fmla="*/ 6 w 12"/>
                <a:gd name="T7" fmla="*/ 0 h 368"/>
                <a:gd name="T8" fmla="*/ 12 w 12"/>
                <a:gd name="T9" fmla="*/ 6 h 368"/>
                <a:gd name="T10" fmla="*/ 12 w 12"/>
                <a:gd name="T11" fmla="*/ 362 h 368"/>
                <a:gd name="T12" fmla="*/ 6 w 12"/>
                <a:gd name="T13" fmla="*/ 368 h 368"/>
              </a:gdLst>
              <a:ahLst/>
              <a:cxnLst>
                <a:cxn ang="0">
                  <a:pos x="T0" y="T1"/>
                </a:cxn>
                <a:cxn ang="0">
                  <a:pos x="T2" y="T3"/>
                </a:cxn>
                <a:cxn ang="0">
                  <a:pos x="T4" y="T5"/>
                </a:cxn>
                <a:cxn ang="0">
                  <a:pos x="T6" y="T7"/>
                </a:cxn>
                <a:cxn ang="0">
                  <a:pos x="T8" y="T9"/>
                </a:cxn>
                <a:cxn ang="0">
                  <a:pos x="T10" y="T11"/>
                </a:cxn>
                <a:cxn ang="0">
                  <a:pos x="T12" y="T13"/>
                </a:cxn>
              </a:cxnLst>
              <a:rect l="0" t="0" r="r" b="b"/>
              <a:pathLst>
                <a:path w="12" h="368">
                  <a:moveTo>
                    <a:pt x="6" y="368"/>
                  </a:moveTo>
                  <a:cubicBezTo>
                    <a:pt x="2" y="368"/>
                    <a:pt x="0" y="366"/>
                    <a:pt x="0" y="362"/>
                  </a:cubicBezTo>
                  <a:cubicBezTo>
                    <a:pt x="0" y="6"/>
                    <a:pt x="0" y="6"/>
                    <a:pt x="0" y="6"/>
                  </a:cubicBezTo>
                  <a:cubicBezTo>
                    <a:pt x="0" y="2"/>
                    <a:pt x="2" y="0"/>
                    <a:pt x="6" y="0"/>
                  </a:cubicBezTo>
                  <a:cubicBezTo>
                    <a:pt x="9" y="0"/>
                    <a:pt x="12" y="2"/>
                    <a:pt x="12" y="6"/>
                  </a:cubicBezTo>
                  <a:cubicBezTo>
                    <a:pt x="12" y="362"/>
                    <a:pt x="12" y="362"/>
                    <a:pt x="12" y="362"/>
                  </a:cubicBezTo>
                  <a:cubicBezTo>
                    <a:pt x="12" y="366"/>
                    <a:pt x="9" y="368"/>
                    <a:pt x="6"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61" name="Group 132">
            <a:extLst>
              <a:ext uri="{FF2B5EF4-FFF2-40B4-BE49-F238E27FC236}">
                <a16:creationId xmlns:a16="http://schemas.microsoft.com/office/drawing/2014/main" id="{2D21505B-13FA-4EBE-90D8-4F21D2D3B5FB}"/>
              </a:ext>
            </a:extLst>
          </p:cNvPr>
          <p:cNvGrpSpPr>
            <a:grpSpLocks noChangeAspect="1"/>
          </p:cNvGrpSpPr>
          <p:nvPr/>
        </p:nvGrpSpPr>
        <p:grpSpPr bwMode="auto">
          <a:xfrm>
            <a:off x="2978612" y="1556792"/>
            <a:ext cx="525100" cy="560874"/>
            <a:chOff x="2582" y="2110"/>
            <a:chExt cx="411" cy="439"/>
          </a:xfrm>
          <a:solidFill>
            <a:schemeClr val="accent1"/>
          </a:solidFill>
        </p:grpSpPr>
        <p:sp>
          <p:nvSpPr>
            <p:cNvPr id="62" name="Freeform 133">
              <a:extLst>
                <a:ext uri="{FF2B5EF4-FFF2-40B4-BE49-F238E27FC236}">
                  <a16:creationId xmlns:a16="http://schemas.microsoft.com/office/drawing/2014/main" id="{E5423ECD-97C1-4278-8485-F3F246340E29}"/>
                </a:ext>
              </a:extLst>
            </p:cNvPr>
            <p:cNvSpPr>
              <a:spLocks/>
            </p:cNvSpPr>
            <p:nvPr/>
          </p:nvSpPr>
          <p:spPr bwMode="auto">
            <a:xfrm>
              <a:off x="2601" y="2145"/>
              <a:ext cx="0" cy="398"/>
            </a:xfrm>
            <a:custGeom>
              <a:avLst/>
              <a:gdLst>
                <a:gd name="T0" fmla="*/ 398 h 398"/>
                <a:gd name="T1" fmla="*/ 0 h 398"/>
                <a:gd name="T2" fmla="*/ 398 h 398"/>
              </a:gdLst>
              <a:ahLst/>
              <a:cxnLst>
                <a:cxn ang="0">
                  <a:pos x="0" y="T0"/>
                </a:cxn>
                <a:cxn ang="0">
                  <a:pos x="0" y="T1"/>
                </a:cxn>
                <a:cxn ang="0">
                  <a:pos x="0" y="T2"/>
                </a:cxn>
              </a:cxnLst>
              <a:rect l="0" t="0" r="r" b="b"/>
              <a:pathLst>
                <a:path h="398">
                  <a:moveTo>
                    <a:pt x="0" y="398"/>
                  </a:moveTo>
                  <a:lnTo>
                    <a:pt x="0" y="0"/>
                  </a:lnTo>
                  <a:lnTo>
                    <a:pt x="0" y="3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3" name="Line 134">
              <a:extLst>
                <a:ext uri="{FF2B5EF4-FFF2-40B4-BE49-F238E27FC236}">
                  <a16:creationId xmlns:a16="http://schemas.microsoft.com/office/drawing/2014/main" id="{8BFF6741-5B32-48A5-B7D9-38413847AF22}"/>
                </a:ext>
              </a:extLst>
            </p:cNvPr>
            <p:cNvSpPr>
              <a:spLocks noChangeShapeType="1"/>
            </p:cNvSpPr>
            <p:nvPr/>
          </p:nvSpPr>
          <p:spPr bwMode="auto">
            <a:xfrm flipV="1">
              <a:off x="2601" y="2145"/>
              <a:ext cx="0" cy="398"/>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4" name="Freeform 135">
              <a:extLst>
                <a:ext uri="{FF2B5EF4-FFF2-40B4-BE49-F238E27FC236}">
                  <a16:creationId xmlns:a16="http://schemas.microsoft.com/office/drawing/2014/main" id="{CCDA9D3F-1288-4409-9628-13F5F1ECC40C}"/>
                </a:ext>
              </a:extLst>
            </p:cNvPr>
            <p:cNvSpPr>
              <a:spLocks/>
            </p:cNvSpPr>
            <p:nvPr/>
          </p:nvSpPr>
          <p:spPr bwMode="auto">
            <a:xfrm>
              <a:off x="2594" y="2138"/>
              <a:ext cx="13" cy="411"/>
            </a:xfrm>
            <a:custGeom>
              <a:avLst/>
              <a:gdLst>
                <a:gd name="T0" fmla="*/ 6 w 12"/>
                <a:gd name="T1" fmla="*/ 392 h 392"/>
                <a:gd name="T2" fmla="*/ 0 w 12"/>
                <a:gd name="T3" fmla="*/ 386 h 392"/>
                <a:gd name="T4" fmla="*/ 0 w 12"/>
                <a:gd name="T5" fmla="*/ 6 h 392"/>
                <a:gd name="T6" fmla="*/ 6 w 12"/>
                <a:gd name="T7" fmla="*/ 0 h 392"/>
                <a:gd name="T8" fmla="*/ 12 w 12"/>
                <a:gd name="T9" fmla="*/ 6 h 392"/>
                <a:gd name="T10" fmla="*/ 12 w 12"/>
                <a:gd name="T11" fmla="*/ 386 h 392"/>
                <a:gd name="T12" fmla="*/ 6 w 12"/>
                <a:gd name="T13" fmla="*/ 392 h 392"/>
              </a:gdLst>
              <a:ahLst/>
              <a:cxnLst>
                <a:cxn ang="0">
                  <a:pos x="T0" y="T1"/>
                </a:cxn>
                <a:cxn ang="0">
                  <a:pos x="T2" y="T3"/>
                </a:cxn>
                <a:cxn ang="0">
                  <a:pos x="T4" y="T5"/>
                </a:cxn>
                <a:cxn ang="0">
                  <a:pos x="T6" y="T7"/>
                </a:cxn>
                <a:cxn ang="0">
                  <a:pos x="T8" y="T9"/>
                </a:cxn>
                <a:cxn ang="0">
                  <a:pos x="T10" y="T11"/>
                </a:cxn>
                <a:cxn ang="0">
                  <a:pos x="T12" y="T13"/>
                </a:cxn>
              </a:cxnLst>
              <a:rect l="0" t="0" r="r" b="b"/>
              <a:pathLst>
                <a:path w="12" h="392">
                  <a:moveTo>
                    <a:pt x="6" y="392"/>
                  </a:moveTo>
                  <a:cubicBezTo>
                    <a:pt x="3" y="392"/>
                    <a:pt x="0" y="390"/>
                    <a:pt x="0" y="386"/>
                  </a:cubicBezTo>
                  <a:cubicBezTo>
                    <a:pt x="0" y="6"/>
                    <a:pt x="0" y="6"/>
                    <a:pt x="0" y="6"/>
                  </a:cubicBezTo>
                  <a:cubicBezTo>
                    <a:pt x="0" y="3"/>
                    <a:pt x="3" y="0"/>
                    <a:pt x="6" y="0"/>
                  </a:cubicBezTo>
                  <a:cubicBezTo>
                    <a:pt x="10" y="0"/>
                    <a:pt x="12" y="3"/>
                    <a:pt x="12" y="6"/>
                  </a:cubicBezTo>
                  <a:cubicBezTo>
                    <a:pt x="12" y="386"/>
                    <a:pt x="12" y="386"/>
                    <a:pt x="12" y="386"/>
                  </a:cubicBezTo>
                  <a:cubicBezTo>
                    <a:pt x="12" y="390"/>
                    <a:pt x="10" y="392"/>
                    <a:pt x="6" y="3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5" name="Oval 136">
              <a:extLst>
                <a:ext uri="{FF2B5EF4-FFF2-40B4-BE49-F238E27FC236}">
                  <a16:creationId xmlns:a16="http://schemas.microsoft.com/office/drawing/2014/main" id="{C023019D-7E5E-4EE5-AE4B-CB4A8ACEA708}"/>
                </a:ext>
              </a:extLst>
            </p:cNvPr>
            <p:cNvSpPr>
              <a:spLocks noChangeArrowheads="1"/>
            </p:cNvSpPr>
            <p:nvPr/>
          </p:nvSpPr>
          <p:spPr bwMode="auto">
            <a:xfrm>
              <a:off x="2582" y="2110"/>
              <a:ext cx="39" cy="3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6" name="Freeform 137">
              <a:extLst>
                <a:ext uri="{FF2B5EF4-FFF2-40B4-BE49-F238E27FC236}">
                  <a16:creationId xmlns:a16="http://schemas.microsoft.com/office/drawing/2014/main" id="{EA2F1481-AD57-4016-92ED-91545B835E0F}"/>
                </a:ext>
              </a:extLst>
            </p:cNvPr>
            <p:cNvSpPr>
              <a:spLocks noEditPoints="1"/>
            </p:cNvSpPr>
            <p:nvPr/>
          </p:nvSpPr>
          <p:spPr bwMode="auto">
            <a:xfrm>
              <a:off x="2614" y="2124"/>
              <a:ext cx="379" cy="290"/>
            </a:xfrm>
            <a:custGeom>
              <a:avLst/>
              <a:gdLst>
                <a:gd name="T0" fmla="*/ 6 w 362"/>
                <a:gd name="T1" fmla="*/ 270 h 277"/>
                <a:gd name="T2" fmla="*/ 4 w 362"/>
                <a:gd name="T3" fmla="*/ 269 h 277"/>
                <a:gd name="T4" fmla="*/ 0 w 362"/>
                <a:gd name="T5" fmla="*/ 264 h 277"/>
                <a:gd name="T6" fmla="*/ 0 w 362"/>
                <a:gd name="T7" fmla="*/ 63 h 277"/>
                <a:gd name="T8" fmla="*/ 1 w 362"/>
                <a:gd name="T9" fmla="*/ 59 h 277"/>
                <a:gd name="T10" fmla="*/ 208 w 362"/>
                <a:gd name="T11" fmla="*/ 28 h 277"/>
                <a:gd name="T12" fmla="*/ 355 w 362"/>
                <a:gd name="T13" fmla="*/ 30 h 277"/>
                <a:gd name="T14" fmla="*/ 360 w 362"/>
                <a:gd name="T15" fmla="*/ 31 h 277"/>
                <a:gd name="T16" fmla="*/ 362 w 362"/>
                <a:gd name="T17" fmla="*/ 36 h 277"/>
                <a:gd name="T18" fmla="*/ 362 w 362"/>
                <a:gd name="T19" fmla="*/ 246 h 277"/>
                <a:gd name="T20" fmla="*/ 359 w 362"/>
                <a:gd name="T21" fmla="*/ 252 h 277"/>
                <a:gd name="T22" fmla="*/ 185 w 362"/>
                <a:gd name="T23" fmla="*/ 226 h 277"/>
                <a:gd name="T24" fmla="*/ 11 w 362"/>
                <a:gd name="T25" fmla="*/ 268 h 277"/>
                <a:gd name="T26" fmla="*/ 6 w 362"/>
                <a:gd name="T27" fmla="*/ 270 h 277"/>
                <a:gd name="T28" fmla="*/ 128 w 362"/>
                <a:gd name="T29" fmla="*/ 202 h 277"/>
                <a:gd name="T30" fmla="*/ 190 w 362"/>
                <a:gd name="T31" fmla="*/ 215 h 277"/>
                <a:gd name="T32" fmla="*/ 350 w 362"/>
                <a:gd name="T33" fmla="*/ 242 h 277"/>
                <a:gd name="T34" fmla="*/ 350 w 362"/>
                <a:gd name="T35" fmla="*/ 43 h 277"/>
                <a:gd name="T36" fmla="*/ 202 w 362"/>
                <a:gd name="T37" fmla="*/ 38 h 277"/>
                <a:gd name="T38" fmla="*/ 12 w 362"/>
                <a:gd name="T39" fmla="*/ 65 h 277"/>
                <a:gd name="T40" fmla="*/ 12 w 362"/>
                <a:gd name="T41" fmla="*/ 250 h 277"/>
                <a:gd name="T42" fmla="*/ 128 w 362"/>
                <a:gd name="T43"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2" h="277">
                  <a:moveTo>
                    <a:pt x="6" y="270"/>
                  </a:moveTo>
                  <a:cubicBezTo>
                    <a:pt x="5" y="270"/>
                    <a:pt x="5" y="270"/>
                    <a:pt x="4" y="269"/>
                  </a:cubicBezTo>
                  <a:cubicBezTo>
                    <a:pt x="2" y="269"/>
                    <a:pt x="0" y="266"/>
                    <a:pt x="0" y="264"/>
                  </a:cubicBezTo>
                  <a:cubicBezTo>
                    <a:pt x="0" y="63"/>
                    <a:pt x="0" y="63"/>
                    <a:pt x="0" y="63"/>
                  </a:cubicBezTo>
                  <a:cubicBezTo>
                    <a:pt x="0" y="61"/>
                    <a:pt x="1" y="60"/>
                    <a:pt x="1" y="59"/>
                  </a:cubicBezTo>
                  <a:cubicBezTo>
                    <a:pt x="42" y="4"/>
                    <a:pt x="157" y="0"/>
                    <a:pt x="208" y="28"/>
                  </a:cubicBezTo>
                  <a:cubicBezTo>
                    <a:pt x="255" y="53"/>
                    <a:pt x="354" y="30"/>
                    <a:pt x="355" y="30"/>
                  </a:cubicBezTo>
                  <a:cubicBezTo>
                    <a:pt x="357" y="29"/>
                    <a:pt x="359" y="30"/>
                    <a:pt x="360" y="31"/>
                  </a:cubicBezTo>
                  <a:cubicBezTo>
                    <a:pt x="362" y="32"/>
                    <a:pt x="362" y="34"/>
                    <a:pt x="362" y="36"/>
                  </a:cubicBezTo>
                  <a:cubicBezTo>
                    <a:pt x="362" y="246"/>
                    <a:pt x="362" y="246"/>
                    <a:pt x="362" y="246"/>
                  </a:cubicBezTo>
                  <a:cubicBezTo>
                    <a:pt x="362" y="249"/>
                    <a:pt x="361" y="251"/>
                    <a:pt x="359" y="252"/>
                  </a:cubicBezTo>
                  <a:cubicBezTo>
                    <a:pt x="300" y="277"/>
                    <a:pt x="289" y="272"/>
                    <a:pt x="185" y="226"/>
                  </a:cubicBezTo>
                  <a:cubicBezTo>
                    <a:pt x="87" y="183"/>
                    <a:pt x="11" y="267"/>
                    <a:pt x="11" y="268"/>
                  </a:cubicBezTo>
                  <a:cubicBezTo>
                    <a:pt x="9" y="269"/>
                    <a:pt x="8" y="270"/>
                    <a:pt x="6" y="270"/>
                  </a:cubicBezTo>
                  <a:close/>
                  <a:moveTo>
                    <a:pt x="128" y="202"/>
                  </a:moveTo>
                  <a:cubicBezTo>
                    <a:pt x="147" y="202"/>
                    <a:pt x="168" y="206"/>
                    <a:pt x="190" y="215"/>
                  </a:cubicBezTo>
                  <a:cubicBezTo>
                    <a:pt x="289" y="259"/>
                    <a:pt x="300" y="264"/>
                    <a:pt x="350" y="242"/>
                  </a:cubicBezTo>
                  <a:cubicBezTo>
                    <a:pt x="350" y="43"/>
                    <a:pt x="350" y="43"/>
                    <a:pt x="350" y="43"/>
                  </a:cubicBezTo>
                  <a:cubicBezTo>
                    <a:pt x="326" y="48"/>
                    <a:pt x="246" y="62"/>
                    <a:pt x="202" y="38"/>
                  </a:cubicBezTo>
                  <a:cubicBezTo>
                    <a:pt x="156" y="14"/>
                    <a:pt x="50" y="16"/>
                    <a:pt x="12" y="65"/>
                  </a:cubicBezTo>
                  <a:cubicBezTo>
                    <a:pt x="12" y="250"/>
                    <a:pt x="12" y="250"/>
                    <a:pt x="12" y="250"/>
                  </a:cubicBezTo>
                  <a:cubicBezTo>
                    <a:pt x="31" y="233"/>
                    <a:pt x="73" y="202"/>
                    <a:pt x="128"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7" name="Oval 138">
              <a:extLst>
                <a:ext uri="{FF2B5EF4-FFF2-40B4-BE49-F238E27FC236}">
                  <a16:creationId xmlns:a16="http://schemas.microsoft.com/office/drawing/2014/main" id="{80071FF8-BF76-478E-B70D-0F662C445D57}"/>
                </a:ext>
              </a:extLst>
            </p:cNvPr>
            <p:cNvSpPr>
              <a:spLocks noChangeArrowheads="1"/>
            </p:cNvSpPr>
            <p:nvPr/>
          </p:nvSpPr>
          <p:spPr bwMode="auto">
            <a:xfrm>
              <a:off x="2784" y="2183"/>
              <a:ext cx="14" cy="1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8" name="Freeform 139">
              <a:extLst>
                <a:ext uri="{FF2B5EF4-FFF2-40B4-BE49-F238E27FC236}">
                  <a16:creationId xmlns:a16="http://schemas.microsoft.com/office/drawing/2014/main" id="{6DC8D73A-930D-412A-8B0B-23EEC72E86F0}"/>
                </a:ext>
              </a:extLst>
            </p:cNvPr>
            <p:cNvSpPr>
              <a:spLocks noEditPoints="1"/>
            </p:cNvSpPr>
            <p:nvPr/>
          </p:nvSpPr>
          <p:spPr bwMode="auto">
            <a:xfrm>
              <a:off x="2778" y="2177"/>
              <a:ext cx="27" cy="27"/>
            </a:xfrm>
            <a:custGeom>
              <a:avLst/>
              <a:gdLst>
                <a:gd name="T0" fmla="*/ 13 w 26"/>
                <a:gd name="T1" fmla="*/ 26 h 26"/>
                <a:gd name="T2" fmla="*/ 0 w 26"/>
                <a:gd name="T3" fmla="*/ 13 h 26"/>
                <a:gd name="T4" fmla="*/ 13 w 26"/>
                <a:gd name="T5" fmla="*/ 0 h 26"/>
                <a:gd name="T6" fmla="*/ 26 w 26"/>
                <a:gd name="T7" fmla="*/ 13 h 26"/>
                <a:gd name="T8" fmla="*/ 13 w 26"/>
                <a:gd name="T9" fmla="*/ 26 h 26"/>
                <a:gd name="T10" fmla="*/ 13 w 26"/>
                <a:gd name="T11" fmla="*/ 12 h 26"/>
                <a:gd name="T12" fmla="*/ 12 w 26"/>
                <a:gd name="T13" fmla="*/ 13 h 26"/>
                <a:gd name="T14" fmla="*/ 14 w 26"/>
                <a:gd name="T15" fmla="*/ 13 h 26"/>
                <a:gd name="T16" fmla="*/ 13 w 26"/>
                <a:gd name="T1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6">
                  <a:moveTo>
                    <a:pt x="13" y="26"/>
                  </a:moveTo>
                  <a:cubicBezTo>
                    <a:pt x="6" y="26"/>
                    <a:pt x="0" y="20"/>
                    <a:pt x="0" y="13"/>
                  </a:cubicBezTo>
                  <a:cubicBezTo>
                    <a:pt x="0" y="6"/>
                    <a:pt x="6" y="0"/>
                    <a:pt x="13" y="0"/>
                  </a:cubicBezTo>
                  <a:cubicBezTo>
                    <a:pt x="20" y="0"/>
                    <a:pt x="26" y="6"/>
                    <a:pt x="26" y="13"/>
                  </a:cubicBezTo>
                  <a:cubicBezTo>
                    <a:pt x="26" y="20"/>
                    <a:pt x="20" y="26"/>
                    <a:pt x="13" y="26"/>
                  </a:cubicBezTo>
                  <a:close/>
                  <a:moveTo>
                    <a:pt x="13" y="12"/>
                  </a:moveTo>
                  <a:cubicBezTo>
                    <a:pt x="12" y="12"/>
                    <a:pt x="12" y="13"/>
                    <a:pt x="12" y="13"/>
                  </a:cubicBezTo>
                  <a:cubicBezTo>
                    <a:pt x="12" y="14"/>
                    <a:pt x="14" y="14"/>
                    <a:pt x="14" y="13"/>
                  </a:cubicBezTo>
                  <a:cubicBezTo>
                    <a:pt x="14" y="13"/>
                    <a:pt x="13" y="12"/>
                    <a:pt x="1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9" name="Freeform 140">
              <a:extLst>
                <a:ext uri="{FF2B5EF4-FFF2-40B4-BE49-F238E27FC236}">
                  <a16:creationId xmlns:a16="http://schemas.microsoft.com/office/drawing/2014/main" id="{12E57B9F-F666-44A3-BBA7-DCB149B78DC5}"/>
                </a:ext>
              </a:extLst>
            </p:cNvPr>
            <p:cNvSpPr>
              <a:spLocks/>
            </p:cNvSpPr>
            <p:nvPr/>
          </p:nvSpPr>
          <p:spPr bwMode="auto">
            <a:xfrm>
              <a:off x="2813" y="2192"/>
              <a:ext cx="17" cy="15"/>
            </a:xfrm>
            <a:custGeom>
              <a:avLst/>
              <a:gdLst>
                <a:gd name="T0" fmla="*/ 14 w 16"/>
                <a:gd name="T1" fmla="*/ 11 h 15"/>
                <a:gd name="T2" fmla="*/ 4 w 16"/>
                <a:gd name="T3" fmla="*/ 13 h 15"/>
                <a:gd name="T4" fmla="*/ 2 w 16"/>
                <a:gd name="T5" fmla="*/ 4 h 15"/>
                <a:gd name="T6" fmla="*/ 12 w 16"/>
                <a:gd name="T7" fmla="*/ 2 h 15"/>
                <a:gd name="T8" fmla="*/ 14 w 16"/>
                <a:gd name="T9" fmla="*/ 11 h 15"/>
              </a:gdLst>
              <a:ahLst/>
              <a:cxnLst>
                <a:cxn ang="0">
                  <a:pos x="T0" y="T1"/>
                </a:cxn>
                <a:cxn ang="0">
                  <a:pos x="T2" y="T3"/>
                </a:cxn>
                <a:cxn ang="0">
                  <a:pos x="T4" y="T5"/>
                </a:cxn>
                <a:cxn ang="0">
                  <a:pos x="T6" y="T7"/>
                </a:cxn>
                <a:cxn ang="0">
                  <a:pos x="T8" y="T9"/>
                </a:cxn>
              </a:cxnLst>
              <a:rect l="0" t="0" r="r" b="b"/>
              <a:pathLst>
                <a:path w="16" h="15">
                  <a:moveTo>
                    <a:pt x="14" y="11"/>
                  </a:moveTo>
                  <a:cubicBezTo>
                    <a:pt x="12" y="14"/>
                    <a:pt x="7" y="15"/>
                    <a:pt x="4" y="13"/>
                  </a:cubicBezTo>
                  <a:cubicBezTo>
                    <a:pt x="1" y="11"/>
                    <a:pt x="0" y="7"/>
                    <a:pt x="2" y="4"/>
                  </a:cubicBezTo>
                  <a:cubicBezTo>
                    <a:pt x="4" y="1"/>
                    <a:pt x="9" y="0"/>
                    <a:pt x="12" y="2"/>
                  </a:cubicBezTo>
                  <a:cubicBezTo>
                    <a:pt x="15" y="4"/>
                    <a:pt x="16" y="8"/>
                    <a:pt x="1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0" name="Freeform 141">
              <a:extLst>
                <a:ext uri="{FF2B5EF4-FFF2-40B4-BE49-F238E27FC236}">
                  <a16:creationId xmlns:a16="http://schemas.microsoft.com/office/drawing/2014/main" id="{8E1D501B-3E8B-485B-B26C-ADA786F80AA9}"/>
                </a:ext>
              </a:extLst>
            </p:cNvPr>
            <p:cNvSpPr>
              <a:spLocks noEditPoints="1"/>
            </p:cNvSpPr>
            <p:nvPr/>
          </p:nvSpPr>
          <p:spPr bwMode="auto">
            <a:xfrm>
              <a:off x="2807" y="2185"/>
              <a:ext cx="28" cy="28"/>
            </a:xfrm>
            <a:custGeom>
              <a:avLst/>
              <a:gdLst>
                <a:gd name="T0" fmla="*/ 14 w 27"/>
                <a:gd name="T1" fmla="*/ 26 h 26"/>
                <a:gd name="T2" fmla="*/ 7 w 27"/>
                <a:gd name="T3" fmla="*/ 24 h 26"/>
                <a:gd name="T4" fmla="*/ 3 w 27"/>
                <a:gd name="T5" fmla="*/ 7 h 26"/>
                <a:gd name="T6" fmla="*/ 11 w 27"/>
                <a:gd name="T7" fmla="*/ 1 h 26"/>
                <a:gd name="T8" fmla="*/ 21 w 27"/>
                <a:gd name="T9" fmla="*/ 3 h 26"/>
                <a:gd name="T10" fmla="*/ 27 w 27"/>
                <a:gd name="T11" fmla="*/ 11 h 26"/>
                <a:gd name="T12" fmla="*/ 25 w 27"/>
                <a:gd name="T13" fmla="*/ 21 h 26"/>
                <a:gd name="T14" fmla="*/ 25 w 27"/>
                <a:gd name="T15" fmla="*/ 21 h 26"/>
                <a:gd name="T16" fmla="*/ 14 w 27"/>
                <a:gd name="T17" fmla="*/ 26 h 26"/>
                <a:gd name="T18" fmla="*/ 14 w 27"/>
                <a:gd name="T19" fmla="*/ 13 h 26"/>
                <a:gd name="T20" fmla="*/ 13 w 27"/>
                <a:gd name="T21" fmla="*/ 13 h 26"/>
                <a:gd name="T22" fmla="*/ 14 w 27"/>
                <a:gd name="T23" fmla="*/ 14 h 26"/>
                <a:gd name="T24" fmla="*/ 15 w 27"/>
                <a:gd name="T25" fmla="*/ 14 h 26"/>
                <a:gd name="T26" fmla="*/ 14 w 27"/>
                <a:gd name="T27" fmla="*/ 13 h 26"/>
                <a:gd name="T28" fmla="*/ 14 w 27"/>
                <a:gd name="T29"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6">
                  <a:moveTo>
                    <a:pt x="14" y="26"/>
                  </a:moveTo>
                  <a:cubicBezTo>
                    <a:pt x="12" y="26"/>
                    <a:pt x="9" y="26"/>
                    <a:pt x="7" y="24"/>
                  </a:cubicBezTo>
                  <a:cubicBezTo>
                    <a:pt x="1" y="20"/>
                    <a:pt x="0" y="13"/>
                    <a:pt x="3" y="7"/>
                  </a:cubicBezTo>
                  <a:cubicBezTo>
                    <a:pt x="5" y="4"/>
                    <a:pt x="8" y="2"/>
                    <a:pt x="11" y="1"/>
                  </a:cubicBezTo>
                  <a:cubicBezTo>
                    <a:pt x="15" y="0"/>
                    <a:pt x="18" y="1"/>
                    <a:pt x="21" y="3"/>
                  </a:cubicBezTo>
                  <a:cubicBezTo>
                    <a:pt x="24" y="5"/>
                    <a:pt x="26" y="8"/>
                    <a:pt x="27" y="11"/>
                  </a:cubicBezTo>
                  <a:cubicBezTo>
                    <a:pt x="27" y="14"/>
                    <a:pt x="27" y="18"/>
                    <a:pt x="25" y="21"/>
                  </a:cubicBezTo>
                  <a:cubicBezTo>
                    <a:pt x="25" y="21"/>
                    <a:pt x="25" y="21"/>
                    <a:pt x="25" y="21"/>
                  </a:cubicBezTo>
                  <a:cubicBezTo>
                    <a:pt x="22" y="24"/>
                    <a:pt x="18" y="26"/>
                    <a:pt x="14" y="26"/>
                  </a:cubicBezTo>
                  <a:close/>
                  <a:moveTo>
                    <a:pt x="14" y="13"/>
                  </a:moveTo>
                  <a:cubicBezTo>
                    <a:pt x="14" y="13"/>
                    <a:pt x="14" y="13"/>
                    <a:pt x="13" y="13"/>
                  </a:cubicBezTo>
                  <a:cubicBezTo>
                    <a:pt x="13" y="14"/>
                    <a:pt x="13" y="14"/>
                    <a:pt x="14" y="14"/>
                  </a:cubicBezTo>
                  <a:cubicBezTo>
                    <a:pt x="14" y="15"/>
                    <a:pt x="14" y="14"/>
                    <a:pt x="15" y="14"/>
                  </a:cubicBezTo>
                  <a:cubicBezTo>
                    <a:pt x="15" y="14"/>
                    <a:pt x="15" y="13"/>
                    <a:pt x="14" y="13"/>
                  </a:cubicBezTo>
                  <a:cubicBezTo>
                    <a:pt x="14" y="13"/>
                    <a:pt x="14" y="13"/>
                    <a:pt x="14"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1" name="Freeform 142">
              <a:extLst>
                <a:ext uri="{FF2B5EF4-FFF2-40B4-BE49-F238E27FC236}">
                  <a16:creationId xmlns:a16="http://schemas.microsoft.com/office/drawing/2014/main" id="{EC625FF5-3395-43DD-A1A1-383A3566EB54}"/>
                </a:ext>
              </a:extLst>
            </p:cNvPr>
            <p:cNvSpPr>
              <a:spLocks/>
            </p:cNvSpPr>
            <p:nvPr/>
          </p:nvSpPr>
          <p:spPr bwMode="auto">
            <a:xfrm>
              <a:off x="2751" y="2192"/>
              <a:ext cx="16" cy="15"/>
            </a:xfrm>
            <a:custGeom>
              <a:avLst/>
              <a:gdLst>
                <a:gd name="T0" fmla="*/ 13 w 15"/>
                <a:gd name="T1" fmla="*/ 11 h 15"/>
                <a:gd name="T2" fmla="*/ 4 w 15"/>
                <a:gd name="T3" fmla="*/ 13 h 15"/>
                <a:gd name="T4" fmla="*/ 2 w 15"/>
                <a:gd name="T5" fmla="*/ 4 h 15"/>
                <a:gd name="T6" fmla="*/ 11 w 15"/>
                <a:gd name="T7" fmla="*/ 2 h 15"/>
                <a:gd name="T8" fmla="*/ 13 w 15"/>
                <a:gd name="T9" fmla="*/ 11 h 15"/>
              </a:gdLst>
              <a:ahLst/>
              <a:cxnLst>
                <a:cxn ang="0">
                  <a:pos x="T0" y="T1"/>
                </a:cxn>
                <a:cxn ang="0">
                  <a:pos x="T2" y="T3"/>
                </a:cxn>
                <a:cxn ang="0">
                  <a:pos x="T4" y="T5"/>
                </a:cxn>
                <a:cxn ang="0">
                  <a:pos x="T6" y="T7"/>
                </a:cxn>
                <a:cxn ang="0">
                  <a:pos x="T8" y="T9"/>
                </a:cxn>
              </a:cxnLst>
              <a:rect l="0" t="0" r="r" b="b"/>
              <a:pathLst>
                <a:path w="15" h="15">
                  <a:moveTo>
                    <a:pt x="13" y="11"/>
                  </a:moveTo>
                  <a:cubicBezTo>
                    <a:pt x="11" y="14"/>
                    <a:pt x="7" y="15"/>
                    <a:pt x="4" y="13"/>
                  </a:cubicBezTo>
                  <a:cubicBezTo>
                    <a:pt x="1" y="11"/>
                    <a:pt x="0" y="7"/>
                    <a:pt x="2" y="4"/>
                  </a:cubicBezTo>
                  <a:cubicBezTo>
                    <a:pt x="4" y="1"/>
                    <a:pt x="8" y="0"/>
                    <a:pt x="11" y="2"/>
                  </a:cubicBezTo>
                  <a:cubicBezTo>
                    <a:pt x="14" y="4"/>
                    <a:pt x="15" y="8"/>
                    <a:pt x="1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2" name="Freeform 143">
              <a:extLst>
                <a:ext uri="{FF2B5EF4-FFF2-40B4-BE49-F238E27FC236}">
                  <a16:creationId xmlns:a16="http://schemas.microsoft.com/office/drawing/2014/main" id="{DE92F429-794F-4E69-A798-962B5A2CFA8D}"/>
                </a:ext>
              </a:extLst>
            </p:cNvPr>
            <p:cNvSpPr>
              <a:spLocks noEditPoints="1"/>
            </p:cNvSpPr>
            <p:nvPr/>
          </p:nvSpPr>
          <p:spPr bwMode="auto">
            <a:xfrm>
              <a:off x="2744" y="2184"/>
              <a:ext cx="29" cy="29"/>
            </a:xfrm>
            <a:custGeom>
              <a:avLst/>
              <a:gdLst>
                <a:gd name="T0" fmla="*/ 14 w 28"/>
                <a:gd name="T1" fmla="*/ 27 h 27"/>
                <a:gd name="T2" fmla="*/ 7 w 28"/>
                <a:gd name="T3" fmla="*/ 25 h 27"/>
                <a:gd name="T4" fmla="*/ 4 w 28"/>
                <a:gd name="T5" fmla="*/ 8 h 27"/>
                <a:gd name="T6" fmla="*/ 21 w 28"/>
                <a:gd name="T7" fmla="*/ 4 h 27"/>
                <a:gd name="T8" fmla="*/ 27 w 28"/>
                <a:gd name="T9" fmla="*/ 12 h 27"/>
                <a:gd name="T10" fmla="*/ 25 w 28"/>
                <a:gd name="T11" fmla="*/ 22 h 27"/>
                <a:gd name="T12" fmla="*/ 17 w 28"/>
                <a:gd name="T13" fmla="*/ 27 h 27"/>
                <a:gd name="T14" fmla="*/ 14 w 28"/>
                <a:gd name="T15" fmla="*/ 27 h 27"/>
                <a:gd name="T16" fmla="*/ 14 w 28"/>
                <a:gd name="T17" fmla="*/ 14 h 27"/>
                <a:gd name="T18" fmla="*/ 14 w 28"/>
                <a:gd name="T19" fmla="*/ 14 h 27"/>
                <a:gd name="T20" fmla="*/ 14 w 28"/>
                <a:gd name="T21" fmla="*/ 15 h 27"/>
                <a:gd name="T22" fmla="*/ 15 w 28"/>
                <a:gd name="T23" fmla="*/ 15 h 27"/>
                <a:gd name="T24" fmla="*/ 15 w 28"/>
                <a:gd name="T25" fmla="*/ 14 h 27"/>
                <a:gd name="T26" fmla="*/ 14 w 28"/>
                <a:gd name="T27"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7">
                  <a:moveTo>
                    <a:pt x="14" y="27"/>
                  </a:moveTo>
                  <a:cubicBezTo>
                    <a:pt x="12" y="27"/>
                    <a:pt x="10" y="27"/>
                    <a:pt x="7" y="25"/>
                  </a:cubicBezTo>
                  <a:cubicBezTo>
                    <a:pt x="2" y="21"/>
                    <a:pt x="0" y="14"/>
                    <a:pt x="4" y="8"/>
                  </a:cubicBezTo>
                  <a:cubicBezTo>
                    <a:pt x="8" y="2"/>
                    <a:pt x="16" y="0"/>
                    <a:pt x="21" y="4"/>
                  </a:cubicBezTo>
                  <a:cubicBezTo>
                    <a:pt x="24" y="6"/>
                    <a:pt x="26" y="9"/>
                    <a:pt x="27" y="12"/>
                  </a:cubicBezTo>
                  <a:cubicBezTo>
                    <a:pt x="28" y="15"/>
                    <a:pt x="27" y="19"/>
                    <a:pt x="25" y="22"/>
                  </a:cubicBezTo>
                  <a:cubicBezTo>
                    <a:pt x="23" y="24"/>
                    <a:pt x="20" y="26"/>
                    <a:pt x="17" y="27"/>
                  </a:cubicBezTo>
                  <a:cubicBezTo>
                    <a:pt x="16" y="27"/>
                    <a:pt x="15" y="27"/>
                    <a:pt x="14" y="27"/>
                  </a:cubicBezTo>
                  <a:close/>
                  <a:moveTo>
                    <a:pt x="14" y="14"/>
                  </a:moveTo>
                  <a:cubicBezTo>
                    <a:pt x="14" y="14"/>
                    <a:pt x="14" y="14"/>
                    <a:pt x="14" y="14"/>
                  </a:cubicBezTo>
                  <a:cubicBezTo>
                    <a:pt x="14" y="15"/>
                    <a:pt x="14" y="15"/>
                    <a:pt x="14" y="15"/>
                  </a:cubicBezTo>
                  <a:cubicBezTo>
                    <a:pt x="14" y="15"/>
                    <a:pt x="15" y="15"/>
                    <a:pt x="15" y="15"/>
                  </a:cubicBezTo>
                  <a:cubicBezTo>
                    <a:pt x="15" y="15"/>
                    <a:pt x="15" y="14"/>
                    <a:pt x="15" y="14"/>
                  </a:cubicBezTo>
                  <a:cubicBezTo>
                    <a:pt x="15" y="14"/>
                    <a:pt x="15" y="14"/>
                    <a:pt x="14"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3" name="Freeform 144">
              <a:extLst>
                <a:ext uri="{FF2B5EF4-FFF2-40B4-BE49-F238E27FC236}">
                  <a16:creationId xmlns:a16="http://schemas.microsoft.com/office/drawing/2014/main" id="{90A1AAA2-3FD1-440D-A43F-5FF93C42BA4C}"/>
                </a:ext>
              </a:extLst>
            </p:cNvPr>
            <p:cNvSpPr>
              <a:spLocks/>
            </p:cNvSpPr>
            <p:nvPr/>
          </p:nvSpPr>
          <p:spPr bwMode="auto">
            <a:xfrm>
              <a:off x="2836" y="2218"/>
              <a:ext cx="16" cy="16"/>
            </a:xfrm>
            <a:custGeom>
              <a:avLst/>
              <a:gdLst>
                <a:gd name="T0" fmla="*/ 13 w 15"/>
                <a:gd name="T1" fmla="*/ 11 h 15"/>
                <a:gd name="T2" fmla="*/ 4 w 15"/>
                <a:gd name="T3" fmla="*/ 13 h 15"/>
                <a:gd name="T4" fmla="*/ 2 w 15"/>
                <a:gd name="T5" fmla="*/ 4 h 15"/>
                <a:gd name="T6" fmla="*/ 11 w 15"/>
                <a:gd name="T7" fmla="*/ 2 h 15"/>
                <a:gd name="T8" fmla="*/ 13 w 15"/>
                <a:gd name="T9" fmla="*/ 11 h 15"/>
              </a:gdLst>
              <a:ahLst/>
              <a:cxnLst>
                <a:cxn ang="0">
                  <a:pos x="T0" y="T1"/>
                </a:cxn>
                <a:cxn ang="0">
                  <a:pos x="T2" y="T3"/>
                </a:cxn>
                <a:cxn ang="0">
                  <a:pos x="T4" y="T5"/>
                </a:cxn>
                <a:cxn ang="0">
                  <a:pos x="T6" y="T7"/>
                </a:cxn>
                <a:cxn ang="0">
                  <a:pos x="T8" y="T9"/>
                </a:cxn>
              </a:cxnLst>
              <a:rect l="0" t="0" r="r" b="b"/>
              <a:pathLst>
                <a:path w="15" h="15">
                  <a:moveTo>
                    <a:pt x="13" y="11"/>
                  </a:moveTo>
                  <a:cubicBezTo>
                    <a:pt x="11" y="14"/>
                    <a:pt x="7" y="15"/>
                    <a:pt x="4" y="13"/>
                  </a:cubicBezTo>
                  <a:cubicBezTo>
                    <a:pt x="0" y="11"/>
                    <a:pt x="0" y="7"/>
                    <a:pt x="2" y="4"/>
                  </a:cubicBezTo>
                  <a:cubicBezTo>
                    <a:pt x="4" y="1"/>
                    <a:pt x="8" y="0"/>
                    <a:pt x="11" y="2"/>
                  </a:cubicBezTo>
                  <a:cubicBezTo>
                    <a:pt x="14" y="4"/>
                    <a:pt x="15" y="8"/>
                    <a:pt x="1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4" name="Freeform 145">
              <a:extLst>
                <a:ext uri="{FF2B5EF4-FFF2-40B4-BE49-F238E27FC236}">
                  <a16:creationId xmlns:a16="http://schemas.microsoft.com/office/drawing/2014/main" id="{1C01062E-1A80-418B-9ABC-0313C991420B}"/>
                </a:ext>
              </a:extLst>
            </p:cNvPr>
            <p:cNvSpPr>
              <a:spLocks noEditPoints="1"/>
            </p:cNvSpPr>
            <p:nvPr/>
          </p:nvSpPr>
          <p:spPr bwMode="auto">
            <a:xfrm>
              <a:off x="2829" y="2211"/>
              <a:ext cx="30" cy="28"/>
            </a:xfrm>
            <a:custGeom>
              <a:avLst/>
              <a:gdLst>
                <a:gd name="T0" fmla="*/ 14 w 29"/>
                <a:gd name="T1" fmla="*/ 27 h 27"/>
                <a:gd name="T2" fmla="*/ 7 w 29"/>
                <a:gd name="T3" fmla="*/ 25 h 27"/>
                <a:gd name="T4" fmla="*/ 4 w 29"/>
                <a:gd name="T5" fmla="*/ 7 h 27"/>
                <a:gd name="T6" fmla="*/ 21 w 29"/>
                <a:gd name="T7" fmla="*/ 4 h 27"/>
                <a:gd name="T8" fmla="*/ 25 w 29"/>
                <a:gd name="T9" fmla="*/ 21 h 27"/>
                <a:gd name="T10" fmla="*/ 25 w 29"/>
                <a:gd name="T11" fmla="*/ 21 h 27"/>
                <a:gd name="T12" fmla="*/ 14 w 29"/>
                <a:gd name="T13" fmla="*/ 27 h 27"/>
                <a:gd name="T14" fmla="*/ 14 w 29"/>
                <a:gd name="T15" fmla="*/ 14 h 27"/>
                <a:gd name="T16" fmla="*/ 14 w 29"/>
                <a:gd name="T17" fmla="*/ 14 h 27"/>
                <a:gd name="T18" fmla="*/ 14 w 29"/>
                <a:gd name="T19" fmla="*/ 15 h 27"/>
                <a:gd name="T20" fmla="*/ 15 w 29"/>
                <a:gd name="T21" fmla="*/ 15 h 27"/>
                <a:gd name="T22" fmla="*/ 15 w 29"/>
                <a:gd name="T23" fmla="*/ 14 h 27"/>
                <a:gd name="T24" fmla="*/ 14 w 29"/>
                <a:gd name="T25"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27">
                  <a:moveTo>
                    <a:pt x="14" y="27"/>
                  </a:moveTo>
                  <a:cubicBezTo>
                    <a:pt x="12" y="27"/>
                    <a:pt x="9" y="26"/>
                    <a:pt x="7" y="25"/>
                  </a:cubicBezTo>
                  <a:cubicBezTo>
                    <a:pt x="1" y="21"/>
                    <a:pt x="0" y="13"/>
                    <a:pt x="4" y="7"/>
                  </a:cubicBezTo>
                  <a:cubicBezTo>
                    <a:pt x="7" y="2"/>
                    <a:pt x="15" y="0"/>
                    <a:pt x="21" y="4"/>
                  </a:cubicBezTo>
                  <a:cubicBezTo>
                    <a:pt x="27" y="8"/>
                    <a:pt x="29" y="15"/>
                    <a:pt x="25" y="21"/>
                  </a:cubicBezTo>
                  <a:cubicBezTo>
                    <a:pt x="25" y="21"/>
                    <a:pt x="25" y="21"/>
                    <a:pt x="25" y="21"/>
                  </a:cubicBezTo>
                  <a:cubicBezTo>
                    <a:pt x="23" y="25"/>
                    <a:pt x="18" y="27"/>
                    <a:pt x="14" y="27"/>
                  </a:cubicBezTo>
                  <a:close/>
                  <a:moveTo>
                    <a:pt x="14" y="14"/>
                  </a:moveTo>
                  <a:cubicBezTo>
                    <a:pt x="14" y="14"/>
                    <a:pt x="14" y="14"/>
                    <a:pt x="14" y="14"/>
                  </a:cubicBezTo>
                  <a:cubicBezTo>
                    <a:pt x="13" y="14"/>
                    <a:pt x="13" y="15"/>
                    <a:pt x="14" y="15"/>
                  </a:cubicBezTo>
                  <a:cubicBezTo>
                    <a:pt x="14" y="15"/>
                    <a:pt x="15" y="15"/>
                    <a:pt x="15" y="15"/>
                  </a:cubicBezTo>
                  <a:cubicBezTo>
                    <a:pt x="15" y="14"/>
                    <a:pt x="15" y="14"/>
                    <a:pt x="15" y="14"/>
                  </a:cubicBezTo>
                  <a:cubicBezTo>
                    <a:pt x="15" y="14"/>
                    <a:pt x="14" y="14"/>
                    <a:pt x="14"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5" name="Freeform 146">
              <a:extLst>
                <a:ext uri="{FF2B5EF4-FFF2-40B4-BE49-F238E27FC236}">
                  <a16:creationId xmlns:a16="http://schemas.microsoft.com/office/drawing/2014/main" id="{A0E270E3-6583-4DE8-9AEE-05A0D0D868D3}"/>
                </a:ext>
              </a:extLst>
            </p:cNvPr>
            <p:cNvSpPr>
              <a:spLocks/>
            </p:cNvSpPr>
            <p:nvPr/>
          </p:nvSpPr>
          <p:spPr bwMode="auto">
            <a:xfrm>
              <a:off x="2730" y="2218"/>
              <a:ext cx="17" cy="16"/>
            </a:xfrm>
            <a:custGeom>
              <a:avLst/>
              <a:gdLst>
                <a:gd name="T0" fmla="*/ 14 w 16"/>
                <a:gd name="T1" fmla="*/ 11 h 15"/>
                <a:gd name="T2" fmla="*/ 4 w 16"/>
                <a:gd name="T3" fmla="*/ 13 h 15"/>
                <a:gd name="T4" fmla="*/ 2 w 16"/>
                <a:gd name="T5" fmla="*/ 4 h 15"/>
                <a:gd name="T6" fmla="*/ 12 w 16"/>
                <a:gd name="T7" fmla="*/ 2 h 15"/>
                <a:gd name="T8" fmla="*/ 14 w 16"/>
                <a:gd name="T9" fmla="*/ 11 h 15"/>
              </a:gdLst>
              <a:ahLst/>
              <a:cxnLst>
                <a:cxn ang="0">
                  <a:pos x="T0" y="T1"/>
                </a:cxn>
                <a:cxn ang="0">
                  <a:pos x="T2" y="T3"/>
                </a:cxn>
                <a:cxn ang="0">
                  <a:pos x="T4" y="T5"/>
                </a:cxn>
                <a:cxn ang="0">
                  <a:pos x="T6" y="T7"/>
                </a:cxn>
                <a:cxn ang="0">
                  <a:pos x="T8" y="T9"/>
                </a:cxn>
              </a:cxnLst>
              <a:rect l="0" t="0" r="r" b="b"/>
              <a:pathLst>
                <a:path w="16" h="15">
                  <a:moveTo>
                    <a:pt x="14" y="11"/>
                  </a:moveTo>
                  <a:cubicBezTo>
                    <a:pt x="12" y="14"/>
                    <a:pt x="7" y="15"/>
                    <a:pt x="4" y="13"/>
                  </a:cubicBezTo>
                  <a:cubicBezTo>
                    <a:pt x="1" y="11"/>
                    <a:pt x="0" y="7"/>
                    <a:pt x="2" y="4"/>
                  </a:cubicBezTo>
                  <a:cubicBezTo>
                    <a:pt x="4" y="1"/>
                    <a:pt x="9" y="0"/>
                    <a:pt x="12" y="2"/>
                  </a:cubicBezTo>
                  <a:cubicBezTo>
                    <a:pt x="15" y="4"/>
                    <a:pt x="16" y="8"/>
                    <a:pt x="1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6" name="Freeform 147">
              <a:extLst>
                <a:ext uri="{FF2B5EF4-FFF2-40B4-BE49-F238E27FC236}">
                  <a16:creationId xmlns:a16="http://schemas.microsoft.com/office/drawing/2014/main" id="{F3EA0D5C-E48E-43CA-9232-2DBD38655569}"/>
                </a:ext>
              </a:extLst>
            </p:cNvPr>
            <p:cNvSpPr>
              <a:spLocks noEditPoints="1"/>
            </p:cNvSpPr>
            <p:nvPr/>
          </p:nvSpPr>
          <p:spPr bwMode="auto">
            <a:xfrm>
              <a:off x="2723" y="2211"/>
              <a:ext cx="32" cy="28"/>
            </a:xfrm>
            <a:custGeom>
              <a:avLst/>
              <a:gdLst>
                <a:gd name="T0" fmla="*/ 15 w 30"/>
                <a:gd name="T1" fmla="*/ 27 h 27"/>
                <a:gd name="T2" fmla="*/ 8 w 30"/>
                <a:gd name="T3" fmla="*/ 25 h 27"/>
                <a:gd name="T4" fmla="*/ 4 w 30"/>
                <a:gd name="T5" fmla="*/ 7 h 27"/>
                <a:gd name="T6" fmla="*/ 22 w 30"/>
                <a:gd name="T7" fmla="*/ 4 h 27"/>
                <a:gd name="T8" fmla="*/ 26 w 30"/>
                <a:gd name="T9" fmla="*/ 21 h 27"/>
                <a:gd name="T10" fmla="*/ 26 w 30"/>
                <a:gd name="T11" fmla="*/ 21 h 27"/>
                <a:gd name="T12" fmla="*/ 15 w 30"/>
                <a:gd name="T13" fmla="*/ 27 h 27"/>
                <a:gd name="T14" fmla="*/ 15 w 30"/>
                <a:gd name="T15" fmla="*/ 14 h 27"/>
                <a:gd name="T16" fmla="*/ 14 w 30"/>
                <a:gd name="T17" fmla="*/ 14 h 27"/>
                <a:gd name="T18" fmla="*/ 15 w 30"/>
                <a:gd name="T19" fmla="*/ 15 h 27"/>
                <a:gd name="T20" fmla="*/ 16 w 30"/>
                <a:gd name="T21" fmla="*/ 15 h 27"/>
                <a:gd name="T22" fmla="*/ 15 w 30"/>
                <a:gd name="T23" fmla="*/ 14 h 27"/>
                <a:gd name="T24" fmla="*/ 15 w 30"/>
                <a:gd name="T25"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27">
                  <a:moveTo>
                    <a:pt x="15" y="27"/>
                  </a:moveTo>
                  <a:cubicBezTo>
                    <a:pt x="13" y="27"/>
                    <a:pt x="10" y="26"/>
                    <a:pt x="8" y="25"/>
                  </a:cubicBezTo>
                  <a:cubicBezTo>
                    <a:pt x="2" y="21"/>
                    <a:pt x="0" y="13"/>
                    <a:pt x="4" y="7"/>
                  </a:cubicBezTo>
                  <a:cubicBezTo>
                    <a:pt x="8" y="2"/>
                    <a:pt x="16" y="0"/>
                    <a:pt x="22" y="4"/>
                  </a:cubicBezTo>
                  <a:cubicBezTo>
                    <a:pt x="28" y="8"/>
                    <a:pt x="30" y="15"/>
                    <a:pt x="26" y="21"/>
                  </a:cubicBezTo>
                  <a:cubicBezTo>
                    <a:pt x="26" y="21"/>
                    <a:pt x="26" y="21"/>
                    <a:pt x="26" y="21"/>
                  </a:cubicBezTo>
                  <a:cubicBezTo>
                    <a:pt x="23" y="25"/>
                    <a:pt x="19" y="27"/>
                    <a:pt x="15" y="27"/>
                  </a:cubicBezTo>
                  <a:close/>
                  <a:moveTo>
                    <a:pt x="15" y="14"/>
                  </a:moveTo>
                  <a:cubicBezTo>
                    <a:pt x="15" y="14"/>
                    <a:pt x="15" y="14"/>
                    <a:pt x="14" y="14"/>
                  </a:cubicBezTo>
                  <a:cubicBezTo>
                    <a:pt x="14" y="14"/>
                    <a:pt x="14" y="15"/>
                    <a:pt x="15" y="15"/>
                  </a:cubicBezTo>
                  <a:cubicBezTo>
                    <a:pt x="15" y="15"/>
                    <a:pt x="15" y="15"/>
                    <a:pt x="16" y="15"/>
                  </a:cubicBezTo>
                  <a:cubicBezTo>
                    <a:pt x="16" y="14"/>
                    <a:pt x="16" y="14"/>
                    <a:pt x="15" y="14"/>
                  </a:cubicBezTo>
                  <a:cubicBezTo>
                    <a:pt x="15" y="14"/>
                    <a:pt x="15" y="14"/>
                    <a:pt x="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7" name="Freeform 148">
              <a:extLst>
                <a:ext uri="{FF2B5EF4-FFF2-40B4-BE49-F238E27FC236}">
                  <a16:creationId xmlns:a16="http://schemas.microsoft.com/office/drawing/2014/main" id="{2D7A8A0D-BEE0-49A4-A8A5-2434C0643722}"/>
                </a:ext>
              </a:extLst>
            </p:cNvPr>
            <p:cNvSpPr>
              <a:spLocks/>
            </p:cNvSpPr>
            <p:nvPr/>
          </p:nvSpPr>
          <p:spPr bwMode="auto">
            <a:xfrm>
              <a:off x="2840" y="2249"/>
              <a:ext cx="17" cy="16"/>
            </a:xfrm>
            <a:custGeom>
              <a:avLst/>
              <a:gdLst>
                <a:gd name="T0" fmla="*/ 14 w 16"/>
                <a:gd name="T1" fmla="*/ 11 h 15"/>
                <a:gd name="T2" fmla="*/ 4 w 16"/>
                <a:gd name="T3" fmla="*/ 13 h 15"/>
                <a:gd name="T4" fmla="*/ 2 w 16"/>
                <a:gd name="T5" fmla="*/ 4 h 15"/>
                <a:gd name="T6" fmla="*/ 12 w 16"/>
                <a:gd name="T7" fmla="*/ 2 h 15"/>
                <a:gd name="T8" fmla="*/ 14 w 16"/>
                <a:gd name="T9" fmla="*/ 11 h 15"/>
              </a:gdLst>
              <a:ahLst/>
              <a:cxnLst>
                <a:cxn ang="0">
                  <a:pos x="T0" y="T1"/>
                </a:cxn>
                <a:cxn ang="0">
                  <a:pos x="T2" y="T3"/>
                </a:cxn>
                <a:cxn ang="0">
                  <a:pos x="T4" y="T5"/>
                </a:cxn>
                <a:cxn ang="0">
                  <a:pos x="T6" y="T7"/>
                </a:cxn>
                <a:cxn ang="0">
                  <a:pos x="T8" y="T9"/>
                </a:cxn>
              </a:cxnLst>
              <a:rect l="0" t="0" r="r" b="b"/>
              <a:pathLst>
                <a:path w="16" h="15">
                  <a:moveTo>
                    <a:pt x="14" y="11"/>
                  </a:moveTo>
                  <a:cubicBezTo>
                    <a:pt x="11" y="15"/>
                    <a:pt x="7" y="15"/>
                    <a:pt x="4" y="13"/>
                  </a:cubicBezTo>
                  <a:cubicBezTo>
                    <a:pt x="1" y="11"/>
                    <a:pt x="0" y="7"/>
                    <a:pt x="2" y="4"/>
                  </a:cubicBezTo>
                  <a:cubicBezTo>
                    <a:pt x="4" y="1"/>
                    <a:pt x="8" y="0"/>
                    <a:pt x="12" y="2"/>
                  </a:cubicBezTo>
                  <a:cubicBezTo>
                    <a:pt x="15" y="4"/>
                    <a:pt x="16" y="8"/>
                    <a:pt x="1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8" name="Freeform 149">
              <a:extLst>
                <a:ext uri="{FF2B5EF4-FFF2-40B4-BE49-F238E27FC236}">
                  <a16:creationId xmlns:a16="http://schemas.microsoft.com/office/drawing/2014/main" id="{3B46CCF1-E263-401B-8870-5B3C6BC522D7}"/>
                </a:ext>
              </a:extLst>
            </p:cNvPr>
            <p:cNvSpPr>
              <a:spLocks noEditPoints="1"/>
            </p:cNvSpPr>
            <p:nvPr/>
          </p:nvSpPr>
          <p:spPr bwMode="auto">
            <a:xfrm>
              <a:off x="2833" y="2244"/>
              <a:ext cx="29" cy="27"/>
            </a:xfrm>
            <a:custGeom>
              <a:avLst/>
              <a:gdLst>
                <a:gd name="T0" fmla="*/ 15 w 28"/>
                <a:gd name="T1" fmla="*/ 26 h 26"/>
                <a:gd name="T2" fmla="*/ 8 w 28"/>
                <a:gd name="T3" fmla="*/ 23 h 26"/>
                <a:gd name="T4" fmla="*/ 4 w 28"/>
                <a:gd name="T5" fmla="*/ 6 h 26"/>
                <a:gd name="T6" fmla="*/ 12 w 28"/>
                <a:gd name="T7" fmla="*/ 0 h 26"/>
                <a:gd name="T8" fmla="*/ 22 w 28"/>
                <a:gd name="T9" fmla="*/ 2 h 26"/>
                <a:gd name="T10" fmla="*/ 27 w 28"/>
                <a:gd name="T11" fmla="*/ 10 h 26"/>
                <a:gd name="T12" fmla="*/ 26 w 28"/>
                <a:gd name="T13" fmla="*/ 20 h 26"/>
                <a:gd name="T14" fmla="*/ 26 w 28"/>
                <a:gd name="T15" fmla="*/ 20 h 26"/>
                <a:gd name="T16" fmla="*/ 15 w 28"/>
                <a:gd name="T17" fmla="*/ 26 h 26"/>
                <a:gd name="T18" fmla="*/ 15 w 28"/>
                <a:gd name="T19" fmla="*/ 12 h 26"/>
                <a:gd name="T20" fmla="*/ 14 w 28"/>
                <a:gd name="T21" fmla="*/ 12 h 26"/>
                <a:gd name="T22" fmla="*/ 14 w 28"/>
                <a:gd name="T23" fmla="*/ 13 h 26"/>
                <a:gd name="T24" fmla="*/ 15 w 28"/>
                <a:gd name="T25" fmla="*/ 13 h 26"/>
                <a:gd name="T26" fmla="*/ 15 w 28"/>
                <a:gd name="T27" fmla="*/ 13 h 26"/>
                <a:gd name="T28" fmla="*/ 16 w 28"/>
                <a:gd name="T29" fmla="*/ 13 h 26"/>
                <a:gd name="T30" fmla="*/ 15 w 28"/>
                <a:gd name="T31" fmla="*/ 12 h 26"/>
                <a:gd name="T32" fmla="*/ 15 w 28"/>
                <a:gd name="T3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6">
                  <a:moveTo>
                    <a:pt x="15" y="26"/>
                  </a:moveTo>
                  <a:cubicBezTo>
                    <a:pt x="12" y="26"/>
                    <a:pt x="10" y="25"/>
                    <a:pt x="8" y="23"/>
                  </a:cubicBezTo>
                  <a:cubicBezTo>
                    <a:pt x="2" y="20"/>
                    <a:pt x="0" y="12"/>
                    <a:pt x="4" y="6"/>
                  </a:cubicBezTo>
                  <a:cubicBezTo>
                    <a:pt x="6" y="3"/>
                    <a:pt x="9" y="1"/>
                    <a:pt x="12" y="0"/>
                  </a:cubicBezTo>
                  <a:cubicBezTo>
                    <a:pt x="16" y="0"/>
                    <a:pt x="19" y="0"/>
                    <a:pt x="22" y="2"/>
                  </a:cubicBezTo>
                  <a:cubicBezTo>
                    <a:pt x="25" y="4"/>
                    <a:pt x="27" y="7"/>
                    <a:pt x="27" y="10"/>
                  </a:cubicBezTo>
                  <a:cubicBezTo>
                    <a:pt x="28" y="13"/>
                    <a:pt x="27" y="17"/>
                    <a:pt x="26" y="20"/>
                  </a:cubicBezTo>
                  <a:cubicBezTo>
                    <a:pt x="26" y="20"/>
                    <a:pt x="26" y="20"/>
                    <a:pt x="26" y="20"/>
                  </a:cubicBezTo>
                  <a:cubicBezTo>
                    <a:pt x="23" y="24"/>
                    <a:pt x="19" y="26"/>
                    <a:pt x="15" y="26"/>
                  </a:cubicBezTo>
                  <a:close/>
                  <a:moveTo>
                    <a:pt x="15" y="12"/>
                  </a:moveTo>
                  <a:cubicBezTo>
                    <a:pt x="15" y="12"/>
                    <a:pt x="14" y="12"/>
                    <a:pt x="14" y="12"/>
                  </a:cubicBezTo>
                  <a:cubicBezTo>
                    <a:pt x="14" y="13"/>
                    <a:pt x="14" y="13"/>
                    <a:pt x="14" y="13"/>
                  </a:cubicBezTo>
                  <a:cubicBezTo>
                    <a:pt x="15" y="14"/>
                    <a:pt x="15" y="14"/>
                    <a:pt x="15" y="13"/>
                  </a:cubicBezTo>
                  <a:cubicBezTo>
                    <a:pt x="15" y="13"/>
                    <a:pt x="15" y="13"/>
                    <a:pt x="15" y="13"/>
                  </a:cubicBezTo>
                  <a:cubicBezTo>
                    <a:pt x="16" y="13"/>
                    <a:pt x="16" y="13"/>
                    <a:pt x="16" y="13"/>
                  </a:cubicBezTo>
                  <a:cubicBezTo>
                    <a:pt x="16" y="12"/>
                    <a:pt x="15" y="12"/>
                    <a:pt x="15" y="12"/>
                  </a:cubicBezTo>
                  <a:cubicBezTo>
                    <a:pt x="15" y="12"/>
                    <a:pt x="15" y="12"/>
                    <a:pt x="1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9" name="Freeform 150">
              <a:extLst>
                <a:ext uri="{FF2B5EF4-FFF2-40B4-BE49-F238E27FC236}">
                  <a16:creationId xmlns:a16="http://schemas.microsoft.com/office/drawing/2014/main" id="{117A6896-E7B4-4D88-A993-B2D9BBE53424}"/>
                </a:ext>
              </a:extLst>
            </p:cNvPr>
            <p:cNvSpPr>
              <a:spLocks/>
            </p:cNvSpPr>
            <p:nvPr/>
          </p:nvSpPr>
          <p:spPr bwMode="auto">
            <a:xfrm>
              <a:off x="2724" y="2249"/>
              <a:ext cx="17" cy="16"/>
            </a:xfrm>
            <a:custGeom>
              <a:avLst/>
              <a:gdLst>
                <a:gd name="T0" fmla="*/ 13 w 16"/>
                <a:gd name="T1" fmla="*/ 11 h 15"/>
                <a:gd name="T2" fmla="*/ 4 w 16"/>
                <a:gd name="T3" fmla="*/ 13 h 15"/>
                <a:gd name="T4" fmla="*/ 2 w 16"/>
                <a:gd name="T5" fmla="*/ 4 h 15"/>
                <a:gd name="T6" fmla="*/ 11 w 16"/>
                <a:gd name="T7" fmla="*/ 2 h 15"/>
                <a:gd name="T8" fmla="*/ 13 w 16"/>
                <a:gd name="T9" fmla="*/ 11 h 15"/>
              </a:gdLst>
              <a:ahLst/>
              <a:cxnLst>
                <a:cxn ang="0">
                  <a:pos x="T0" y="T1"/>
                </a:cxn>
                <a:cxn ang="0">
                  <a:pos x="T2" y="T3"/>
                </a:cxn>
                <a:cxn ang="0">
                  <a:pos x="T4" y="T5"/>
                </a:cxn>
                <a:cxn ang="0">
                  <a:pos x="T6" y="T7"/>
                </a:cxn>
                <a:cxn ang="0">
                  <a:pos x="T8" y="T9"/>
                </a:cxn>
              </a:cxnLst>
              <a:rect l="0" t="0" r="r" b="b"/>
              <a:pathLst>
                <a:path w="16" h="15">
                  <a:moveTo>
                    <a:pt x="13" y="11"/>
                  </a:moveTo>
                  <a:cubicBezTo>
                    <a:pt x="11" y="15"/>
                    <a:pt x="7" y="15"/>
                    <a:pt x="4" y="13"/>
                  </a:cubicBezTo>
                  <a:cubicBezTo>
                    <a:pt x="1" y="11"/>
                    <a:pt x="0" y="7"/>
                    <a:pt x="2" y="4"/>
                  </a:cubicBezTo>
                  <a:cubicBezTo>
                    <a:pt x="4" y="1"/>
                    <a:pt x="8" y="0"/>
                    <a:pt x="11" y="2"/>
                  </a:cubicBezTo>
                  <a:cubicBezTo>
                    <a:pt x="15" y="4"/>
                    <a:pt x="16" y="8"/>
                    <a:pt x="1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0" name="Freeform 151">
              <a:extLst>
                <a:ext uri="{FF2B5EF4-FFF2-40B4-BE49-F238E27FC236}">
                  <a16:creationId xmlns:a16="http://schemas.microsoft.com/office/drawing/2014/main" id="{61C849DE-59C1-4265-8FB8-4399FD416F67}"/>
                </a:ext>
              </a:extLst>
            </p:cNvPr>
            <p:cNvSpPr>
              <a:spLocks noEditPoints="1"/>
            </p:cNvSpPr>
            <p:nvPr/>
          </p:nvSpPr>
          <p:spPr bwMode="auto">
            <a:xfrm>
              <a:off x="2717" y="2244"/>
              <a:ext cx="29" cy="27"/>
            </a:xfrm>
            <a:custGeom>
              <a:avLst/>
              <a:gdLst>
                <a:gd name="T0" fmla="*/ 15 w 28"/>
                <a:gd name="T1" fmla="*/ 26 h 26"/>
                <a:gd name="T2" fmla="*/ 8 w 28"/>
                <a:gd name="T3" fmla="*/ 23 h 26"/>
                <a:gd name="T4" fmla="*/ 4 w 28"/>
                <a:gd name="T5" fmla="*/ 6 h 26"/>
                <a:gd name="T6" fmla="*/ 12 w 28"/>
                <a:gd name="T7" fmla="*/ 0 h 26"/>
                <a:gd name="T8" fmla="*/ 22 w 28"/>
                <a:gd name="T9" fmla="*/ 2 h 26"/>
                <a:gd name="T10" fmla="*/ 27 w 28"/>
                <a:gd name="T11" fmla="*/ 10 h 26"/>
                <a:gd name="T12" fmla="*/ 25 w 28"/>
                <a:gd name="T13" fmla="*/ 20 h 26"/>
                <a:gd name="T14" fmla="*/ 15 w 28"/>
                <a:gd name="T15" fmla="*/ 26 h 26"/>
                <a:gd name="T16" fmla="*/ 15 w 28"/>
                <a:gd name="T17" fmla="*/ 12 h 26"/>
                <a:gd name="T18" fmla="*/ 14 w 28"/>
                <a:gd name="T19" fmla="*/ 12 h 26"/>
                <a:gd name="T20" fmla="*/ 14 w 28"/>
                <a:gd name="T21" fmla="*/ 13 h 26"/>
                <a:gd name="T22" fmla="*/ 15 w 28"/>
                <a:gd name="T23" fmla="*/ 13 h 26"/>
                <a:gd name="T24" fmla="*/ 15 w 28"/>
                <a:gd name="T25" fmla="*/ 13 h 26"/>
                <a:gd name="T26" fmla="*/ 15 w 28"/>
                <a:gd name="T27" fmla="*/ 12 h 26"/>
                <a:gd name="T28" fmla="*/ 15 w 28"/>
                <a:gd name="T29"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6">
                  <a:moveTo>
                    <a:pt x="15" y="26"/>
                  </a:moveTo>
                  <a:cubicBezTo>
                    <a:pt x="12" y="26"/>
                    <a:pt x="10" y="25"/>
                    <a:pt x="8" y="23"/>
                  </a:cubicBezTo>
                  <a:cubicBezTo>
                    <a:pt x="2" y="20"/>
                    <a:pt x="0" y="12"/>
                    <a:pt x="4" y="6"/>
                  </a:cubicBezTo>
                  <a:cubicBezTo>
                    <a:pt x="6" y="3"/>
                    <a:pt x="9" y="1"/>
                    <a:pt x="12" y="0"/>
                  </a:cubicBezTo>
                  <a:cubicBezTo>
                    <a:pt x="16" y="0"/>
                    <a:pt x="19" y="0"/>
                    <a:pt x="22" y="2"/>
                  </a:cubicBezTo>
                  <a:cubicBezTo>
                    <a:pt x="25" y="4"/>
                    <a:pt x="27" y="7"/>
                    <a:pt x="27" y="10"/>
                  </a:cubicBezTo>
                  <a:cubicBezTo>
                    <a:pt x="28" y="13"/>
                    <a:pt x="27" y="17"/>
                    <a:pt x="25" y="20"/>
                  </a:cubicBezTo>
                  <a:cubicBezTo>
                    <a:pt x="23" y="24"/>
                    <a:pt x="19" y="26"/>
                    <a:pt x="15" y="26"/>
                  </a:cubicBezTo>
                  <a:close/>
                  <a:moveTo>
                    <a:pt x="15" y="12"/>
                  </a:moveTo>
                  <a:cubicBezTo>
                    <a:pt x="15" y="12"/>
                    <a:pt x="14" y="12"/>
                    <a:pt x="14" y="12"/>
                  </a:cubicBezTo>
                  <a:cubicBezTo>
                    <a:pt x="14" y="13"/>
                    <a:pt x="14" y="13"/>
                    <a:pt x="14" y="13"/>
                  </a:cubicBezTo>
                  <a:cubicBezTo>
                    <a:pt x="15" y="14"/>
                    <a:pt x="15" y="14"/>
                    <a:pt x="15" y="13"/>
                  </a:cubicBezTo>
                  <a:cubicBezTo>
                    <a:pt x="15" y="13"/>
                    <a:pt x="15" y="13"/>
                    <a:pt x="15" y="13"/>
                  </a:cubicBezTo>
                  <a:cubicBezTo>
                    <a:pt x="16" y="13"/>
                    <a:pt x="16" y="12"/>
                    <a:pt x="15" y="12"/>
                  </a:cubicBezTo>
                  <a:cubicBezTo>
                    <a:pt x="15" y="12"/>
                    <a:pt x="15" y="12"/>
                    <a:pt x="1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1" name="Freeform 152">
              <a:extLst>
                <a:ext uri="{FF2B5EF4-FFF2-40B4-BE49-F238E27FC236}">
                  <a16:creationId xmlns:a16="http://schemas.microsoft.com/office/drawing/2014/main" id="{60B5E591-4D07-4CDD-83DD-D8040FBA267C}"/>
                </a:ext>
              </a:extLst>
            </p:cNvPr>
            <p:cNvSpPr>
              <a:spLocks/>
            </p:cNvSpPr>
            <p:nvPr/>
          </p:nvSpPr>
          <p:spPr bwMode="auto">
            <a:xfrm>
              <a:off x="2826" y="2278"/>
              <a:ext cx="15" cy="16"/>
            </a:xfrm>
            <a:custGeom>
              <a:avLst/>
              <a:gdLst>
                <a:gd name="T0" fmla="*/ 13 w 15"/>
                <a:gd name="T1" fmla="*/ 12 h 16"/>
                <a:gd name="T2" fmla="*/ 4 w 15"/>
                <a:gd name="T3" fmla="*/ 14 h 16"/>
                <a:gd name="T4" fmla="*/ 2 w 15"/>
                <a:gd name="T5" fmla="*/ 4 h 16"/>
                <a:gd name="T6" fmla="*/ 11 w 15"/>
                <a:gd name="T7" fmla="*/ 2 h 16"/>
                <a:gd name="T8" fmla="*/ 13 w 15"/>
                <a:gd name="T9" fmla="*/ 12 h 16"/>
              </a:gdLst>
              <a:ahLst/>
              <a:cxnLst>
                <a:cxn ang="0">
                  <a:pos x="T0" y="T1"/>
                </a:cxn>
                <a:cxn ang="0">
                  <a:pos x="T2" y="T3"/>
                </a:cxn>
                <a:cxn ang="0">
                  <a:pos x="T4" y="T5"/>
                </a:cxn>
                <a:cxn ang="0">
                  <a:pos x="T6" y="T7"/>
                </a:cxn>
                <a:cxn ang="0">
                  <a:pos x="T8" y="T9"/>
                </a:cxn>
              </a:cxnLst>
              <a:rect l="0" t="0" r="r" b="b"/>
              <a:pathLst>
                <a:path w="15" h="16">
                  <a:moveTo>
                    <a:pt x="13" y="12"/>
                  </a:moveTo>
                  <a:cubicBezTo>
                    <a:pt x="11" y="15"/>
                    <a:pt x="7" y="16"/>
                    <a:pt x="4" y="14"/>
                  </a:cubicBezTo>
                  <a:cubicBezTo>
                    <a:pt x="1" y="12"/>
                    <a:pt x="0" y="7"/>
                    <a:pt x="2" y="4"/>
                  </a:cubicBezTo>
                  <a:cubicBezTo>
                    <a:pt x="4" y="1"/>
                    <a:pt x="8" y="0"/>
                    <a:pt x="11" y="2"/>
                  </a:cubicBezTo>
                  <a:cubicBezTo>
                    <a:pt x="15" y="4"/>
                    <a:pt x="15" y="9"/>
                    <a:pt x="1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 name="Freeform 153">
              <a:extLst>
                <a:ext uri="{FF2B5EF4-FFF2-40B4-BE49-F238E27FC236}">
                  <a16:creationId xmlns:a16="http://schemas.microsoft.com/office/drawing/2014/main" id="{7039756D-276B-4DDD-999D-291759D5D2FE}"/>
                </a:ext>
              </a:extLst>
            </p:cNvPr>
            <p:cNvSpPr>
              <a:spLocks noEditPoints="1"/>
            </p:cNvSpPr>
            <p:nvPr/>
          </p:nvSpPr>
          <p:spPr bwMode="auto">
            <a:xfrm>
              <a:off x="2820" y="2272"/>
              <a:ext cx="28" cy="28"/>
            </a:xfrm>
            <a:custGeom>
              <a:avLst/>
              <a:gdLst>
                <a:gd name="T0" fmla="*/ 13 w 26"/>
                <a:gd name="T1" fmla="*/ 26 h 26"/>
                <a:gd name="T2" fmla="*/ 6 w 26"/>
                <a:gd name="T3" fmla="*/ 24 h 26"/>
                <a:gd name="T4" fmla="*/ 0 w 26"/>
                <a:gd name="T5" fmla="*/ 16 h 26"/>
                <a:gd name="T6" fmla="*/ 2 w 26"/>
                <a:gd name="T7" fmla="*/ 6 h 26"/>
                <a:gd name="T8" fmla="*/ 10 w 26"/>
                <a:gd name="T9" fmla="*/ 0 h 26"/>
                <a:gd name="T10" fmla="*/ 20 w 26"/>
                <a:gd name="T11" fmla="*/ 2 h 26"/>
                <a:gd name="T12" fmla="*/ 25 w 26"/>
                <a:gd name="T13" fmla="*/ 10 h 26"/>
                <a:gd name="T14" fmla="*/ 23 w 26"/>
                <a:gd name="T15" fmla="*/ 20 h 26"/>
                <a:gd name="T16" fmla="*/ 23 w 26"/>
                <a:gd name="T17" fmla="*/ 20 h 26"/>
                <a:gd name="T18" fmla="*/ 23 w 26"/>
                <a:gd name="T19" fmla="*/ 20 h 26"/>
                <a:gd name="T20" fmla="*/ 15 w 26"/>
                <a:gd name="T21" fmla="*/ 25 h 26"/>
                <a:gd name="T22" fmla="*/ 13 w 26"/>
                <a:gd name="T23" fmla="*/ 26 h 26"/>
                <a:gd name="T24" fmla="*/ 13 w 26"/>
                <a:gd name="T25" fmla="*/ 12 h 26"/>
                <a:gd name="T26" fmla="*/ 12 w 26"/>
                <a:gd name="T27" fmla="*/ 13 h 26"/>
                <a:gd name="T28" fmla="*/ 12 w 26"/>
                <a:gd name="T29" fmla="*/ 14 h 26"/>
                <a:gd name="T30" fmla="*/ 13 w 26"/>
                <a:gd name="T31" fmla="*/ 13 h 26"/>
                <a:gd name="T32" fmla="*/ 13 w 26"/>
                <a:gd name="T33" fmla="*/ 13 h 26"/>
                <a:gd name="T34" fmla="*/ 13 w 26"/>
                <a:gd name="T35" fmla="*/ 13 h 26"/>
                <a:gd name="T36" fmla="*/ 13 w 26"/>
                <a:gd name="T37" fmla="*/ 12 h 26"/>
                <a:gd name="T38" fmla="*/ 13 w 26"/>
                <a:gd name="T39"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26">
                  <a:moveTo>
                    <a:pt x="13" y="26"/>
                  </a:moveTo>
                  <a:cubicBezTo>
                    <a:pt x="10" y="26"/>
                    <a:pt x="8" y="25"/>
                    <a:pt x="6" y="24"/>
                  </a:cubicBezTo>
                  <a:cubicBezTo>
                    <a:pt x="3" y="22"/>
                    <a:pt x="1" y="19"/>
                    <a:pt x="0" y="16"/>
                  </a:cubicBezTo>
                  <a:cubicBezTo>
                    <a:pt x="0" y="12"/>
                    <a:pt x="0" y="9"/>
                    <a:pt x="2" y="6"/>
                  </a:cubicBezTo>
                  <a:cubicBezTo>
                    <a:pt x="4" y="3"/>
                    <a:pt x="7" y="1"/>
                    <a:pt x="10" y="0"/>
                  </a:cubicBezTo>
                  <a:cubicBezTo>
                    <a:pt x="13" y="0"/>
                    <a:pt x="17" y="0"/>
                    <a:pt x="20" y="2"/>
                  </a:cubicBezTo>
                  <a:cubicBezTo>
                    <a:pt x="23" y="4"/>
                    <a:pt x="25" y="7"/>
                    <a:pt x="25" y="10"/>
                  </a:cubicBezTo>
                  <a:cubicBezTo>
                    <a:pt x="26" y="14"/>
                    <a:pt x="25" y="17"/>
                    <a:pt x="23" y="20"/>
                  </a:cubicBezTo>
                  <a:cubicBezTo>
                    <a:pt x="23" y="20"/>
                    <a:pt x="23" y="20"/>
                    <a:pt x="23" y="20"/>
                  </a:cubicBezTo>
                  <a:cubicBezTo>
                    <a:pt x="23" y="20"/>
                    <a:pt x="23" y="20"/>
                    <a:pt x="23" y="20"/>
                  </a:cubicBezTo>
                  <a:cubicBezTo>
                    <a:pt x="22" y="23"/>
                    <a:pt x="19" y="25"/>
                    <a:pt x="15" y="25"/>
                  </a:cubicBezTo>
                  <a:cubicBezTo>
                    <a:pt x="14" y="26"/>
                    <a:pt x="14" y="26"/>
                    <a:pt x="13" y="26"/>
                  </a:cubicBezTo>
                  <a:close/>
                  <a:moveTo>
                    <a:pt x="13" y="12"/>
                  </a:moveTo>
                  <a:cubicBezTo>
                    <a:pt x="12" y="12"/>
                    <a:pt x="12" y="12"/>
                    <a:pt x="12" y="13"/>
                  </a:cubicBezTo>
                  <a:cubicBezTo>
                    <a:pt x="12" y="13"/>
                    <a:pt x="12" y="13"/>
                    <a:pt x="12" y="14"/>
                  </a:cubicBezTo>
                  <a:cubicBezTo>
                    <a:pt x="13" y="14"/>
                    <a:pt x="13" y="14"/>
                    <a:pt x="13" y="13"/>
                  </a:cubicBezTo>
                  <a:cubicBezTo>
                    <a:pt x="13" y="13"/>
                    <a:pt x="13" y="13"/>
                    <a:pt x="13" y="13"/>
                  </a:cubicBezTo>
                  <a:cubicBezTo>
                    <a:pt x="13" y="13"/>
                    <a:pt x="14" y="13"/>
                    <a:pt x="13" y="13"/>
                  </a:cubicBezTo>
                  <a:cubicBezTo>
                    <a:pt x="13" y="13"/>
                    <a:pt x="13" y="12"/>
                    <a:pt x="13" y="12"/>
                  </a:cubicBezTo>
                  <a:cubicBezTo>
                    <a:pt x="13" y="12"/>
                    <a:pt x="13" y="12"/>
                    <a:pt x="1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3" name="Freeform 154">
              <a:extLst>
                <a:ext uri="{FF2B5EF4-FFF2-40B4-BE49-F238E27FC236}">
                  <a16:creationId xmlns:a16="http://schemas.microsoft.com/office/drawing/2014/main" id="{5FB2DB89-5ACD-44C4-A2D7-1CCA5DD2D581}"/>
                </a:ext>
              </a:extLst>
            </p:cNvPr>
            <p:cNvSpPr>
              <a:spLocks/>
            </p:cNvSpPr>
            <p:nvPr/>
          </p:nvSpPr>
          <p:spPr bwMode="auto">
            <a:xfrm>
              <a:off x="2799" y="2295"/>
              <a:ext cx="17" cy="16"/>
            </a:xfrm>
            <a:custGeom>
              <a:avLst/>
              <a:gdLst>
                <a:gd name="T0" fmla="*/ 14 w 16"/>
                <a:gd name="T1" fmla="*/ 11 h 15"/>
                <a:gd name="T2" fmla="*/ 4 w 16"/>
                <a:gd name="T3" fmla="*/ 13 h 15"/>
                <a:gd name="T4" fmla="*/ 3 w 16"/>
                <a:gd name="T5" fmla="*/ 4 h 15"/>
                <a:gd name="T6" fmla="*/ 12 w 16"/>
                <a:gd name="T7" fmla="*/ 2 h 15"/>
                <a:gd name="T8" fmla="*/ 14 w 16"/>
                <a:gd name="T9" fmla="*/ 11 h 15"/>
              </a:gdLst>
              <a:ahLst/>
              <a:cxnLst>
                <a:cxn ang="0">
                  <a:pos x="T0" y="T1"/>
                </a:cxn>
                <a:cxn ang="0">
                  <a:pos x="T2" y="T3"/>
                </a:cxn>
                <a:cxn ang="0">
                  <a:pos x="T4" y="T5"/>
                </a:cxn>
                <a:cxn ang="0">
                  <a:pos x="T6" y="T7"/>
                </a:cxn>
                <a:cxn ang="0">
                  <a:pos x="T8" y="T9"/>
                </a:cxn>
              </a:cxnLst>
              <a:rect l="0" t="0" r="r" b="b"/>
              <a:pathLst>
                <a:path w="16" h="15">
                  <a:moveTo>
                    <a:pt x="14" y="11"/>
                  </a:moveTo>
                  <a:cubicBezTo>
                    <a:pt x="12" y="15"/>
                    <a:pt x="8" y="15"/>
                    <a:pt x="4" y="13"/>
                  </a:cubicBezTo>
                  <a:cubicBezTo>
                    <a:pt x="1" y="11"/>
                    <a:pt x="0" y="7"/>
                    <a:pt x="3" y="4"/>
                  </a:cubicBezTo>
                  <a:cubicBezTo>
                    <a:pt x="5" y="1"/>
                    <a:pt x="9" y="0"/>
                    <a:pt x="12" y="2"/>
                  </a:cubicBezTo>
                  <a:cubicBezTo>
                    <a:pt x="15" y="4"/>
                    <a:pt x="16" y="8"/>
                    <a:pt x="1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4" name="Freeform 155">
              <a:extLst>
                <a:ext uri="{FF2B5EF4-FFF2-40B4-BE49-F238E27FC236}">
                  <a16:creationId xmlns:a16="http://schemas.microsoft.com/office/drawing/2014/main" id="{5D65F023-2BBE-4393-AE22-8078FD57F811}"/>
                </a:ext>
              </a:extLst>
            </p:cNvPr>
            <p:cNvSpPr>
              <a:spLocks noEditPoints="1"/>
            </p:cNvSpPr>
            <p:nvPr/>
          </p:nvSpPr>
          <p:spPr bwMode="auto">
            <a:xfrm>
              <a:off x="2793" y="2289"/>
              <a:ext cx="31" cy="27"/>
            </a:xfrm>
            <a:custGeom>
              <a:avLst/>
              <a:gdLst>
                <a:gd name="T0" fmla="*/ 14 w 29"/>
                <a:gd name="T1" fmla="*/ 26 h 26"/>
                <a:gd name="T2" fmla="*/ 7 w 29"/>
                <a:gd name="T3" fmla="*/ 24 h 26"/>
                <a:gd name="T4" fmla="*/ 4 w 29"/>
                <a:gd name="T5" fmla="*/ 7 h 26"/>
                <a:gd name="T6" fmla="*/ 12 w 29"/>
                <a:gd name="T7" fmla="*/ 1 h 26"/>
                <a:gd name="T8" fmla="*/ 21 w 29"/>
                <a:gd name="T9" fmla="*/ 3 h 26"/>
                <a:gd name="T10" fmla="*/ 25 w 29"/>
                <a:gd name="T11" fmla="*/ 21 h 26"/>
                <a:gd name="T12" fmla="*/ 25 w 29"/>
                <a:gd name="T13" fmla="*/ 21 h 26"/>
                <a:gd name="T14" fmla="*/ 14 w 29"/>
                <a:gd name="T15" fmla="*/ 26 h 26"/>
                <a:gd name="T16" fmla="*/ 14 w 29"/>
                <a:gd name="T17" fmla="*/ 13 h 26"/>
                <a:gd name="T18" fmla="*/ 14 w 29"/>
                <a:gd name="T19" fmla="*/ 13 h 26"/>
                <a:gd name="T20" fmla="*/ 14 w 29"/>
                <a:gd name="T21" fmla="*/ 14 h 26"/>
                <a:gd name="T22" fmla="*/ 15 w 29"/>
                <a:gd name="T23" fmla="*/ 14 h 26"/>
                <a:gd name="T24" fmla="*/ 15 w 29"/>
                <a:gd name="T25" fmla="*/ 13 h 26"/>
                <a:gd name="T26" fmla="*/ 14 w 29"/>
                <a:gd name="T27"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6">
                  <a:moveTo>
                    <a:pt x="14" y="26"/>
                  </a:moveTo>
                  <a:cubicBezTo>
                    <a:pt x="12" y="26"/>
                    <a:pt x="9" y="26"/>
                    <a:pt x="7" y="24"/>
                  </a:cubicBezTo>
                  <a:cubicBezTo>
                    <a:pt x="1" y="21"/>
                    <a:pt x="0" y="13"/>
                    <a:pt x="4" y="7"/>
                  </a:cubicBezTo>
                  <a:cubicBezTo>
                    <a:pt x="5" y="4"/>
                    <a:pt x="8" y="2"/>
                    <a:pt x="12" y="1"/>
                  </a:cubicBezTo>
                  <a:cubicBezTo>
                    <a:pt x="15" y="0"/>
                    <a:pt x="18" y="1"/>
                    <a:pt x="21" y="3"/>
                  </a:cubicBezTo>
                  <a:cubicBezTo>
                    <a:pt x="27" y="7"/>
                    <a:pt x="29" y="15"/>
                    <a:pt x="25" y="21"/>
                  </a:cubicBezTo>
                  <a:cubicBezTo>
                    <a:pt x="25" y="21"/>
                    <a:pt x="25" y="21"/>
                    <a:pt x="25" y="21"/>
                  </a:cubicBezTo>
                  <a:cubicBezTo>
                    <a:pt x="22" y="24"/>
                    <a:pt x="18" y="26"/>
                    <a:pt x="14" y="26"/>
                  </a:cubicBezTo>
                  <a:close/>
                  <a:moveTo>
                    <a:pt x="14" y="13"/>
                  </a:moveTo>
                  <a:cubicBezTo>
                    <a:pt x="14" y="13"/>
                    <a:pt x="14" y="13"/>
                    <a:pt x="14" y="13"/>
                  </a:cubicBezTo>
                  <a:cubicBezTo>
                    <a:pt x="13" y="14"/>
                    <a:pt x="13" y="14"/>
                    <a:pt x="14" y="14"/>
                  </a:cubicBezTo>
                  <a:cubicBezTo>
                    <a:pt x="14" y="15"/>
                    <a:pt x="15" y="14"/>
                    <a:pt x="15" y="14"/>
                  </a:cubicBezTo>
                  <a:cubicBezTo>
                    <a:pt x="15" y="14"/>
                    <a:pt x="15" y="13"/>
                    <a:pt x="15" y="13"/>
                  </a:cubicBezTo>
                  <a:cubicBezTo>
                    <a:pt x="15" y="13"/>
                    <a:pt x="14" y="13"/>
                    <a:pt x="14"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5" name="Freeform 156">
              <a:extLst>
                <a:ext uri="{FF2B5EF4-FFF2-40B4-BE49-F238E27FC236}">
                  <a16:creationId xmlns:a16="http://schemas.microsoft.com/office/drawing/2014/main" id="{1CB4A825-6595-417A-AFE5-725A9EA32AAF}"/>
                </a:ext>
              </a:extLst>
            </p:cNvPr>
            <p:cNvSpPr>
              <a:spLocks/>
            </p:cNvSpPr>
            <p:nvPr/>
          </p:nvSpPr>
          <p:spPr bwMode="auto">
            <a:xfrm>
              <a:off x="2767" y="2288"/>
              <a:ext cx="16" cy="16"/>
            </a:xfrm>
            <a:custGeom>
              <a:avLst/>
              <a:gdLst>
                <a:gd name="T0" fmla="*/ 13 w 15"/>
                <a:gd name="T1" fmla="*/ 11 h 15"/>
                <a:gd name="T2" fmla="*/ 4 w 15"/>
                <a:gd name="T3" fmla="*/ 13 h 15"/>
                <a:gd name="T4" fmla="*/ 2 w 15"/>
                <a:gd name="T5" fmla="*/ 4 h 15"/>
                <a:gd name="T6" fmla="*/ 11 w 15"/>
                <a:gd name="T7" fmla="*/ 2 h 15"/>
                <a:gd name="T8" fmla="*/ 13 w 15"/>
                <a:gd name="T9" fmla="*/ 11 h 15"/>
              </a:gdLst>
              <a:ahLst/>
              <a:cxnLst>
                <a:cxn ang="0">
                  <a:pos x="T0" y="T1"/>
                </a:cxn>
                <a:cxn ang="0">
                  <a:pos x="T2" y="T3"/>
                </a:cxn>
                <a:cxn ang="0">
                  <a:pos x="T4" y="T5"/>
                </a:cxn>
                <a:cxn ang="0">
                  <a:pos x="T6" y="T7"/>
                </a:cxn>
                <a:cxn ang="0">
                  <a:pos x="T8" y="T9"/>
                </a:cxn>
              </a:cxnLst>
              <a:rect l="0" t="0" r="r" b="b"/>
              <a:pathLst>
                <a:path w="15" h="15">
                  <a:moveTo>
                    <a:pt x="13" y="11"/>
                  </a:moveTo>
                  <a:cubicBezTo>
                    <a:pt x="11" y="15"/>
                    <a:pt x="7" y="15"/>
                    <a:pt x="4" y="13"/>
                  </a:cubicBezTo>
                  <a:cubicBezTo>
                    <a:pt x="1" y="11"/>
                    <a:pt x="0" y="7"/>
                    <a:pt x="2" y="4"/>
                  </a:cubicBezTo>
                  <a:cubicBezTo>
                    <a:pt x="4" y="1"/>
                    <a:pt x="8" y="0"/>
                    <a:pt x="11" y="2"/>
                  </a:cubicBezTo>
                  <a:cubicBezTo>
                    <a:pt x="15" y="4"/>
                    <a:pt x="15" y="8"/>
                    <a:pt x="13"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6" name="Freeform 157">
              <a:extLst>
                <a:ext uri="{FF2B5EF4-FFF2-40B4-BE49-F238E27FC236}">
                  <a16:creationId xmlns:a16="http://schemas.microsoft.com/office/drawing/2014/main" id="{8B198FF6-DB3C-41EF-8586-4BAA510B7C5E}"/>
                </a:ext>
              </a:extLst>
            </p:cNvPr>
            <p:cNvSpPr>
              <a:spLocks noEditPoints="1"/>
            </p:cNvSpPr>
            <p:nvPr/>
          </p:nvSpPr>
          <p:spPr bwMode="auto">
            <a:xfrm>
              <a:off x="2762" y="2281"/>
              <a:ext cx="28" cy="29"/>
            </a:xfrm>
            <a:custGeom>
              <a:avLst/>
              <a:gdLst>
                <a:gd name="T0" fmla="*/ 13 w 27"/>
                <a:gd name="T1" fmla="*/ 28 h 28"/>
                <a:gd name="T2" fmla="*/ 6 w 27"/>
                <a:gd name="T3" fmla="*/ 25 h 28"/>
                <a:gd name="T4" fmla="*/ 0 w 27"/>
                <a:gd name="T5" fmla="*/ 17 h 28"/>
                <a:gd name="T6" fmla="*/ 2 w 27"/>
                <a:gd name="T7" fmla="*/ 8 h 28"/>
                <a:gd name="T8" fmla="*/ 20 w 27"/>
                <a:gd name="T9" fmla="*/ 4 h 28"/>
                <a:gd name="T10" fmla="*/ 23 w 27"/>
                <a:gd name="T11" fmla="*/ 22 h 28"/>
                <a:gd name="T12" fmla="*/ 15 w 27"/>
                <a:gd name="T13" fmla="*/ 27 h 28"/>
                <a:gd name="T14" fmla="*/ 13 w 27"/>
                <a:gd name="T15" fmla="*/ 28 h 28"/>
                <a:gd name="T16" fmla="*/ 13 w 27"/>
                <a:gd name="T17" fmla="*/ 14 h 28"/>
                <a:gd name="T18" fmla="*/ 12 w 27"/>
                <a:gd name="T19" fmla="*/ 14 h 28"/>
                <a:gd name="T20" fmla="*/ 12 w 27"/>
                <a:gd name="T21" fmla="*/ 15 h 28"/>
                <a:gd name="T22" fmla="*/ 13 w 27"/>
                <a:gd name="T23" fmla="*/ 15 h 28"/>
                <a:gd name="T24" fmla="*/ 13 w 27"/>
                <a:gd name="T25" fmla="*/ 14 h 28"/>
                <a:gd name="T26" fmla="*/ 13 w 27"/>
                <a:gd name="T27"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8">
                  <a:moveTo>
                    <a:pt x="13" y="28"/>
                  </a:moveTo>
                  <a:cubicBezTo>
                    <a:pt x="10" y="28"/>
                    <a:pt x="8" y="27"/>
                    <a:pt x="6" y="25"/>
                  </a:cubicBezTo>
                  <a:cubicBezTo>
                    <a:pt x="3" y="24"/>
                    <a:pt x="1" y="21"/>
                    <a:pt x="0" y="17"/>
                  </a:cubicBezTo>
                  <a:cubicBezTo>
                    <a:pt x="0" y="14"/>
                    <a:pt x="0" y="11"/>
                    <a:pt x="2" y="8"/>
                  </a:cubicBezTo>
                  <a:cubicBezTo>
                    <a:pt x="6" y="2"/>
                    <a:pt x="14" y="0"/>
                    <a:pt x="20" y="4"/>
                  </a:cubicBezTo>
                  <a:cubicBezTo>
                    <a:pt x="26" y="8"/>
                    <a:pt x="27" y="16"/>
                    <a:pt x="23" y="22"/>
                  </a:cubicBezTo>
                  <a:cubicBezTo>
                    <a:pt x="22" y="25"/>
                    <a:pt x="19" y="27"/>
                    <a:pt x="15" y="27"/>
                  </a:cubicBezTo>
                  <a:cubicBezTo>
                    <a:pt x="14" y="27"/>
                    <a:pt x="14" y="28"/>
                    <a:pt x="13" y="28"/>
                  </a:cubicBezTo>
                  <a:close/>
                  <a:moveTo>
                    <a:pt x="13" y="14"/>
                  </a:moveTo>
                  <a:cubicBezTo>
                    <a:pt x="13" y="14"/>
                    <a:pt x="12" y="14"/>
                    <a:pt x="12" y="14"/>
                  </a:cubicBezTo>
                  <a:cubicBezTo>
                    <a:pt x="12" y="15"/>
                    <a:pt x="12" y="15"/>
                    <a:pt x="12" y="15"/>
                  </a:cubicBezTo>
                  <a:cubicBezTo>
                    <a:pt x="13" y="16"/>
                    <a:pt x="13" y="15"/>
                    <a:pt x="13" y="15"/>
                  </a:cubicBezTo>
                  <a:cubicBezTo>
                    <a:pt x="14" y="15"/>
                    <a:pt x="14" y="14"/>
                    <a:pt x="13" y="14"/>
                  </a:cubicBezTo>
                  <a:cubicBezTo>
                    <a:pt x="13" y="14"/>
                    <a:pt x="13" y="14"/>
                    <a:pt x="13"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7" name="Freeform 158">
              <a:extLst>
                <a:ext uri="{FF2B5EF4-FFF2-40B4-BE49-F238E27FC236}">
                  <a16:creationId xmlns:a16="http://schemas.microsoft.com/office/drawing/2014/main" id="{EE279449-3C2F-4B99-BA4C-28CA7912E924}"/>
                </a:ext>
              </a:extLst>
            </p:cNvPr>
            <p:cNvSpPr>
              <a:spLocks/>
            </p:cNvSpPr>
            <p:nvPr/>
          </p:nvSpPr>
          <p:spPr bwMode="auto">
            <a:xfrm>
              <a:off x="2738" y="2278"/>
              <a:ext cx="17" cy="16"/>
            </a:xfrm>
            <a:custGeom>
              <a:avLst/>
              <a:gdLst>
                <a:gd name="T0" fmla="*/ 14 w 16"/>
                <a:gd name="T1" fmla="*/ 12 h 16"/>
                <a:gd name="T2" fmla="*/ 4 w 16"/>
                <a:gd name="T3" fmla="*/ 14 h 16"/>
                <a:gd name="T4" fmla="*/ 2 w 16"/>
                <a:gd name="T5" fmla="*/ 4 h 16"/>
                <a:gd name="T6" fmla="*/ 12 w 16"/>
                <a:gd name="T7" fmla="*/ 2 h 16"/>
                <a:gd name="T8" fmla="*/ 14 w 16"/>
                <a:gd name="T9" fmla="*/ 12 h 16"/>
              </a:gdLst>
              <a:ahLst/>
              <a:cxnLst>
                <a:cxn ang="0">
                  <a:pos x="T0" y="T1"/>
                </a:cxn>
                <a:cxn ang="0">
                  <a:pos x="T2" y="T3"/>
                </a:cxn>
                <a:cxn ang="0">
                  <a:pos x="T4" y="T5"/>
                </a:cxn>
                <a:cxn ang="0">
                  <a:pos x="T6" y="T7"/>
                </a:cxn>
                <a:cxn ang="0">
                  <a:pos x="T8" y="T9"/>
                </a:cxn>
              </a:cxnLst>
              <a:rect l="0" t="0" r="r" b="b"/>
              <a:pathLst>
                <a:path w="16" h="16">
                  <a:moveTo>
                    <a:pt x="14" y="12"/>
                  </a:moveTo>
                  <a:cubicBezTo>
                    <a:pt x="11" y="15"/>
                    <a:pt x="7" y="16"/>
                    <a:pt x="4" y="14"/>
                  </a:cubicBezTo>
                  <a:cubicBezTo>
                    <a:pt x="1" y="12"/>
                    <a:pt x="0" y="7"/>
                    <a:pt x="2" y="4"/>
                  </a:cubicBezTo>
                  <a:cubicBezTo>
                    <a:pt x="4" y="1"/>
                    <a:pt x="8" y="0"/>
                    <a:pt x="12" y="2"/>
                  </a:cubicBezTo>
                  <a:cubicBezTo>
                    <a:pt x="15" y="4"/>
                    <a:pt x="16" y="9"/>
                    <a:pt x="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8" name="Freeform 159">
              <a:extLst>
                <a:ext uri="{FF2B5EF4-FFF2-40B4-BE49-F238E27FC236}">
                  <a16:creationId xmlns:a16="http://schemas.microsoft.com/office/drawing/2014/main" id="{22F83DDB-4459-4B34-A462-D24F44798ACB}"/>
                </a:ext>
              </a:extLst>
            </p:cNvPr>
            <p:cNvSpPr>
              <a:spLocks noEditPoints="1"/>
            </p:cNvSpPr>
            <p:nvPr/>
          </p:nvSpPr>
          <p:spPr bwMode="auto">
            <a:xfrm>
              <a:off x="2733" y="2272"/>
              <a:ext cx="27" cy="28"/>
            </a:xfrm>
            <a:custGeom>
              <a:avLst/>
              <a:gdLst>
                <a:gd name="T0" fmla="*/ 13 w 26"/>
                <a:gd name="T1" fmla="*/ 26 h 26"/>
                <a:gd name="T2" fmla="*/ 6 w 26"/>
                <a:gd name="T3" fmla="*/ 24 h 26"/>
                <a:gd name="T4" fmla="*/ 0 w 26"/>
                <a:gd name="T5" fmla="*/ 16 h 26"/>
                <a:gd name="T6" fmla="*/ 2 w 26"/>
                <a:gd name="T7" fmla="*/ 6 h 26"/>
                <a:gd name="T8" fmla="*/ 10 w 26"/>
                <a:gd name="T9" fmla="*/ 0 h 26"/>
                <a:gd name="T10" fmla="*/ 20 w 26"/>
                <a:gd name="T11" fmla="*/ 2 h 26"/>
                <a:gd name="T12" fmla="*/ 25 w 26"/>
                <a:gd name="T13" fmla="*/ 10 h 26"/>
                <a:gd name="T14" fmla="*/ 24 w 26"/>
                <a:gd name="T15" fmla="*/ 20 h 26"/>
                <a:gd name="T16" fmla="*/ 15 w 26"/>
                <a:gd name="T17" fmla="*/ 25 h 26"/>
                <a:gd name="T18" fmla="*/ 13 w 26"/>
                <a:gd name="T19" fmla="*/ 26 h 26"/>
                <a:gd name="T20" fmla="*/ 13 w 26"/>
                <a:gd name="T21" fmla="*/ 12 h 26"/>
                <a:gd name="T22" fmla="*/ 12 w 26"/>
                <a:gd name="T23" fmla="*/ 13 h 26"/>
                <a:gd name="T24" fmla="*/ 12 w 26"/>
                <a:gd name="T25" fmla="*/ 14 h 26"/>
                <a:gd name="T26" fmla="*/ 13 w 26"/>
                <a:gd name="T27" fmla="*/ 13 h 26"/>
                <a:gd name="T28" fmla="*/ 13 w 26"/>
                <a:gd name="T29" fmla="*/ 13 h 26"/>
                <a:gd name="T30" fmla="*/ 13 w 26"/>
                <a:gd name="T31" fmla="*/ 12 h 26"/>
                <a:gd name="T32" fmla="*/ 13 w 26"/>
                <a:gd name="T3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6">
                  <a:moveTo>
                    <a:pt x="13" y="26"/>
                  </a:moveTo>
                  <a:cubicBezTo>
                    <a:pt x="10" y="26"/>
                    <a:pt x="8" y="25"/>
                    <a:pt x="6" y="24"/>
                  </a:cubicBezTo>
                  <a:cubicBezTo>
                    <a:pt x="3" y="22"/>
                    <a:pt x="1" y="19"/>
                    <a:pt x="0" y="16"/>
                  </a:cubicBezTo>
                  <a:cubicBezTo>
                    <a:pt x="0" y="12"/>
                    <a:pt x="0" y="9"/>
                    <a:pt x="2" y="6"/>
                  </a:cubicBezTo>
                  <a:cubicBezTo>
                    <a:pt x="4" y="3"/>
                    <a:pt x="7" y="1"/>
                    <a:pt x="10" y="0"/>
                  </a:cubicBezTo>
                  <a:cubicBezTo>
                    <a:pt x="14" y="0"/>
                    <a:pt x="17" y="0"/>
                    <a:pt x="20" y="2"/>
                  </a:cubicBezTo>
                  <a:cubicBezTo>
                    <a:pt x="23" y="4"/>
                    <a:pt x="25" y="7"/>
                    <a:pt x="25" y="10"/>
                  </a:cubicBezTo>
                  <a:cubicBezTo>
                    <a:pt x="26" y="14"/>
                    <a:pt x="25" y="17"/>
                    <a:pt x="24" y="20"/>
                  </a:cubicBezTo>
                  <a:cubicBezTo>
                    <a:pt x="22" y="23"/>
                    <a:pt x="19" y="25"/>
                    <a:pt x="15" y="25"/>
                  </a:cubicBezTo>
                  <a:cubicBezTo>
                    <a:pt x="15" y="26"/>
                    <a:pt x="14" y="26"/>
                    <a:pt x="13" y="26"/>
                  </a:cubicBezTo>
                  <a:close/>
                  <a:moveTo>
                    <a:pt x="13" y="12"/>
                  </a:moveTo>
                  <a:cubicBezTo>
                    <a:pt x="13" y="12"/>
                    <a:pt x="12" y="12"/>
                    <a:pt x="12" y="13"/>
                  </a:cubicBezTo>
                  <a:cubicBezTo>
                    <a:pt x="12" y="13"/>
                    <a:pt x="12" y="13"/>
                    <a:pt x="12" y="14"/>
                  </a:cubicBezTo>
                  <a:cubicBezTo>
                    <a:pt x="13" y="14"/>
                    <a:pt x="13" y="14"/>
                    <a:pt x="13" y="13"/>
                  </a:cubicBezTo>
                  <a:cubicBezTo>
                    <a:pt x="13" y="13"/>
                    <a:pt x="13" y="13"/>
                    <a:pt x="13" y="13"/>
                  </a:cubicBezTo>
                  <a:cubicBezTo>
                    <a:pt x="14" y="13"/>
                    <a:pt x="14" y="13"/>
                    <a:pt x="13" y="12"/>
                  </a:cubicBezTo>
                  <a:cubicBezTo>
                    <a:pt x="13" y="12"/>
                    <a:pt x="13" y="12"/>
                    <a:pt x="1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91" name="Group 318">
            <a:extLst>
              <a:ext uri="{FF2B5EF4-FFF2-40B4-BE49-F238E27FC236}">
                <a16:creationId xmlns:a16="http://schemas.microsoft.com/office/drawing/2014/main" id="{5E71767A-F063-4725-B962-4CA12378E5E2}"/>
              </a:ext>
            </a:extLst>
          </p:cNvPr>
          <p:cNvGrpSpPr>
            <a:grpSpLocks noChangeAspect="1"/>
          </p:cNvGrpSpPr>
          <p:nvPr/>
        </p:nvGrpSpPr>
        <p:grpSpPr bwMode="auto">
          <a:xfrm>
            <a:off x="11356313" y="3902059"/>
            <a:ext cx="572335" cy="463045"/>
            <a:chOff x="6496" y="1276"/>
            <a:chExt cx="398" cy="322"/>
          </a:xfrm>
          <a:solidFill>
            <a:schemeClr val="tx1"/>
          </a:solidFill>
        </p:grpSpPr>
        <p:sp>
          <p:nvSpPr>
            <p:cNvPr id="92" name="Freeform 319">
              <a:extLst>
                <a:ext uri="{FF2B5EF4-FFF2-40B4-BE49-F238E27FC236}">
                  <a16:creationId xmlns:a16="http://schemas.microsoft.com/office/drawing/2014/main" id="{E1517CD1-F34E-49B9-841F-3D212339D861}"/>
                </a:ext>
              </a:extLst>
            </p:cNvPr>
            <p:cNvSpPr>
              <a:spLocks/>
            </p:cNvSpPr>
            <p:nvPr/>
          </p:nvSpPr>
          <p:spPr bwMode="auto">
            <a:xfrm>
              <a:off x="6496" y="1276"/>
              <a:ext cx="378" cy="262"/>
            </a:xfrm>
            <a:custGeom>
              <a:avLst/>
              <a:gdLst>
                <a:gd name="T0" fmla="*/ 284 w 502"/>
                <a:gd name="T1" fmla="*/ 347 h 347"/>
                <a:gd name="T2" fmla="*/ 6 w 502"/>
                <a:gd name="T3" fmla="*/ 347 h 347"/>
                <a:gd name="T4" fmla="*/ 0 w 502"/>
                <a:gd name="T5" fmla="*/ 341 h 347"/>
                <a:gd name="T6" fmla="*/ 0 w 502"/>
                <a:gd name="T7" fmla="*/ 6 h 347"/>
                <a:gd name="T8" fmla="*/ 6 w 502"/>
                <a:gd name="T9" fmla="*/ 0 h 347"/>
                <a:gd name="T10" fmla="*/ 405 w 502"/>
                <a:gd name="T11" fmla="*/ 0 h 347"/>
                <a:gd name="T12" fmla="*/ 409 w 502"/>
                <a:gd name="T13" fmla="*/ 1 h 347"/>
                <a:gd name="T14" fmla="*/ 500 w 502"/>
                <a:gd name="T15" fmla="*/ 72 h 347"/>
                <a:gd name="T16" fmla="*/ 502 w 502"/>
                <a:gd name="T17" fmla="*/ 77 h 347"/>
                <a:gd name="T18" fmla="*/ 502 w 502"/>
                <a:gd name="T19" fmla="*/ 223 h 347"/>
                <a:gd name="T20" fmla="*/ 496 w 502"/>
                <a:gd name="T21" fmla="*/ 229 h 347"/>
                <a:gd name="T22" fmla="*/ 490 w 502"/>
                <a:gd name="T23" fmla="*/ 223 h 347"/>
                <a:gd name="T24" fmla="*/ 490 w 502"/>
                <a:gd name="T25" fmla="*/ 80 h 347"/>
                <a:gd name="T26" fmla="*/ 403 w 502"/>
                <a:gd name="T27" fmla="*/ 12 h 347"/>
                <a:gd name="T28" fmla="*/ 12 w 502"/>
                <a:gd name="T29" fmla="*/ 12 h 347"/>
                <a:gd name="T30" fmla="*/ 12 w 502"/>
                <a:gd name="T31" fmla="*/ 335 h 347"/>
                <a:gd name="T32" fmla="*/ 284 w 502"/>
                <a:gd name="T33" fmla="*/ 335 h 347"/>
                <a:gd name="T34" fmla="*/ 290 w 502"/>
                <a:gd name="T35" fmla="*/ 341 h 347"/>
                <a:gd name="T36" fmla="*/ 284 w 502"/>
                <a:gd name="T37"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2" h="347">
                  <a:moveTo>
                    <a:pt x="284" y="347"/>
                  </a:moveTo>
                  <a:cubicBezTo>
                    <a:pt x="6" y="347"/>
                    <a:pt x="6" y="347"/>
                    <a:pt x="6" y="347"/>
                  </a:cubicBezTo>
                  <a:cubicBezTo>
                    <a:pt x="3" y="347"/>
                    <a:pt x="0" y="345"/>
                    <a:pt x="0" y="341"/>
                  </a:cubicBezTo>
                  <a:cubicBezTo>
                    <a:pt x="0" y="6"/>
                    <a:pt x="0" y="6"/>
                    <a:pt x="0" y="6"/>
                  </a:cubicBezTo>
                  <a:cubicBezTo>
                    <a:pt x="0" y="3"/>
                    <a:pt x="3" y="0"/>
                    <a:pt x="6" y="0"/>
                  </a:cubicBezTo>
                  <a:cubicBezTo>
                    <a:pt x="405" y="0"/>
                    <a:pt x="405" y="0"/>
                    <a:pt x="405" y="0"/>
                  </a:cubicBezTo>
                  <a:cubicBezTo>
                    <a:pt x="407" y="0"/>
                    <a:pt x="408" y="1"/>
                    <a:pt x="409" y="1"/>
                  </a:cubicBezTo>
                  <a:cubicBezTo>
                    <a:pt x="500" y="72"/>
                    <a:pt x="500" y="72"/>
                    <a:pt x="500" y="72"/>
                  </a:cubicBezTo>
                  <a:cubicBezTo>
                    <a:pt x="501" y="74"/>
                    <a:pt x="502" y="75"/>
                    <a:pt x="502" y="77"/>
                  </a:cubicBezTo>
                  <a:cubicBezTo>
                    <a:pt x="502" y="223"/>
                    <a:pt x="502" y="223"/>
                    <a:pt x="502" y="223"/>
                  </a:cubicBezTo>
                  <a:cubicBezTo>
                    <a:pt x="502" y="226"/>
                    <a:pt x="499" y="229"/>
                    <a:pt x="496" y="229"/>
                  </a:cubicBezTo>
                  <a:cubicBezTo>
                    <a:pt x="493" y="229"/>
                    <a:pt x="490" y="226"/>
                    <a:pt x="490" y="223"/>
                  </a:cubicBezTo>
                  <a:cubicBezTo>
                    <a:pt x="490" y="80"/>
                    <a:pt x="490" y="80"/>
                    <a:pt x="490" y="80"/>
                  </a:cubicBezTo>
                  <a:cubicBezTo>
                    <a:pt x="403" y="12"/>
                    <a:pt x="403" y="12"/>
                    <a:pt x="403" y="12"/>
                  </a:cubicBezTo>
                  <a:cubicBezTo>
                    <a:pt x="12" y="12"/>
                    <a:pt x="12" y="12"/>
                    <a:pt x="12" y="12"/>
                  </a:cubicBezTo>
                  <a:cubicBezTo>
                    <a:pt x="12" y="335"/>
                    <a:pt x="12" y="335"/>
                    <a:pt x="12" y="335"/>
                  </a:cubicBezTo>
                  <a:cubicBezTo>
                    <a:pt x="284" y="335"/>
                    <a:pt x="284" y="335"/>
                    <a:pt x="284" y="335"/>
                  </a:cubicBezTo>
                  <a:cubicBezTo>
                    <a:pt x="287" y="335"/>
                    <a:pt x="290" y="338"/>
                    <a:pt x="290" y="341"/>
                  </a:cubicBezTo>
                  <a:cubicBezTo>
                    <a:pt x="290" y="345"/>
                    <a:pt x="287" y="347"/>
                    <a:pt x="284" y="3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3" name="Freeform 320">
              <a:extLst>
                <a:ext uri="{FF2B5EF4-FFF2-40B4-BE49-F238E27FC236}">
                  <a16:creationId xmlns:a16="http://schemas.microsoft.com/office/drawing/2014/main" id="{63E687B0-552E-416B-8926-98C4E42DB693}"/>
                </a:ext>
              </a:extLst>
            </p:cNvPr>
            <p:cNvSpPr>
              <a:spLocks/>
            </p:cNvSpPr>
            <p:nvPr/>
          </p:nvSpPr>
          <p:spPr bwMode="auto">
            <a:xfrm>
              <a:off x="6797" y="1276"/>
              <a:ext cx="77" cy="71"/>
            </a:xfrm>
            <a:custGeom>
              <a:avLst/>
              <a:gdLst>
                <a:gd name="T0" fmla="*/ 6 w 103"/>
                <a:gd name="T1" fmla="*/ 94 h 94"/>
                <a:gd name="T2" fmla="*/ 2 w 103"/>
                <a:gd name="T3" fmla="*/ 92 h 94"/>
                <a:gd name="T4" fmla="*/ 0 w 103"/>
                <a:gd name="T5" fmla="*/ 88 h 94"/>
                <a:gd name="T6" fmla="*/ 0 w 103"/>
                <a:gd name="T7" fmla="*/ 6 h 94"/>
                <a:gd name="T8" fmla="*/ 6 w 103"/>
                <a:gd name="T9" fmla="*/ 0 h 94"/>
                <a:gd name="T10" fmla="*/ 12 w 103"/>
                <a:gd name="T11" fmla="*/ 6 h 94"/>
                <a:gd name="T12" fmla="*/ 12 w 103"/>
                <a:gd name="T13" fmla="*/ 81 h 94"/>
                <a:gd name="T14" fmla="*/ 96 w 103"/>
                <a:gd name="T15" fmla="*/ 71 h 94"/>
                <a:gd name="T16" fmla="*/ 103 w 103"/>
                <a:gd name="T17" fmla="*/ 76 h 94"/>
                <a:gd name="T18" fmla="*/ 98 w 103"/>
                <a:gd name="T19" fmla="*/ 83 h 94"/>
                <a:gd name="T20" fmla="*/ 7 w 103"/>
                <a:gd name="T21" fmla="*/ 94 h 94"/>
                <a:gd name="T22" fmla="*/ 6 w 103"/>
                <a:gd name="T23"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3" h="94">
                  <a:moveTo>
                    <a:pt x="6" y="94"/>
                  </a:moveTo>
                  <a:cubicBezTo>
                    <a:pt x="5" y="94"/>
                    <a:pt x="4" y="93"/>
                    <a:pt x="2" y="92"/>
                  </a:cubicBezTo>
                  <a:cubicBezTo>
                    <a:pt x="1" y="91"/>
                    <a:pt x="0" y="89"/>
                    <a:pt x="0" y="88"/>
                  </a:cubicBezTo>
                  <a:cubicBezTo>
                    <a:pt x="0" y="6"/>
                    <a:pt x="0" y="6"/>
                    <a:pt x="0" y="6"/>
                  </a:cubicBezTo>
                  <a:cubicBezTo>
                    <a:pt x="0" y="3"/>
                    <a:pt x="3" y="0"/>
                    <a:pt x="6" y="0"/>
                  </a:cubicBezTo>
                  <a:cubicBezTo>
                    <a:pt x="10" y="0"/>
                    <a:pt x="12" y="3"/>
                    <a:pt x="12" y="6"/>
                  </a:cubicBezTo>
                  <a:cubicBezTo>
                    <a:pt x="12" y="81"/>
                    <a:pt x="12" y="81"/>
                    <a:pt x="12" y="81"/>
                  </a:cubicBezTo>
                  <a:cubicBezTo>
                    <a:pt x="96" y="71"/>
                    <a:pt x="96" y="71"/>
                    <a:pt x="96" y="71"/>
                  </a:cubicBezTo>
                  <a:cubicBezTo>
                    <a:pt x="100" y="71"/>
                    <a:pt x="103" y="73"/>
                    <a:pt x="103" y="76"/>
                  </a:cubicBezTo>
                  <a:cubicBezTo>
                    <a:pt x="103" y="80"/>
                    <a:pt x="101" y="83"/>
                    <a:pt x="98" y="83"/>
                  </a:cubicBezTo>
                  <a:cubicBezTo>
                    <a:pt x="7" y="94"/>
                    <a:pt x="7" y="94"/>
                    <a:pt x="7" y="94"/>
                  </a:cubicBezTo>
                  <a:cubicBezTo>
                    <a:pt x="7" y="94"/>
                    <a:pt x="7" y="94"/>
                    <a:pt x="6"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4" name="Freeform 321">
              <a:extLst>
                <a:ext uri="{FF2B5EF4-FFF2-40B4-BE49-F238E27FC236}">
                  <a16:creationId xmlns:a16="http://schemas.microsoft.com/office/drawing/2014/main" id="{222AE9AE-6E19-48F7-A2E8-93A08B225BAD}"/>
                </a:ext>
              </a:extLst>
            </p:cNvPr>
            <p:cNvSpPr>
              <a:spLocks noEditPoints="1"/>
            </p:cNvSpPr>
            <p:nvPr/>
          </p:nvSpPr>
          <p:spPr bwMode="auto">
            <a:xfrm>
              <a:off x="6521" y="1276"/>
              <a:ext cx="84" cy="128"/>
            </a:xfrm>
            <a:custGeom>
              <a:avLst/>
              <a:gdLst>
                <a:gd name="T0" fmla="*/ 105 w 111"/>
                <a:gd name="T1" fmla="*/ 170 h 170"/>
                <a:gd name="T2" fmla="*/ 102 w 111"/>
                <a:gd name="T3" fmla="*/ 169 h 170"/>
                <a:gd name="T4" fmla="*/ 55 w 111"/>
                <a:gd name="T5" fmla="*/ 138 h 170"/>
                <a:gd name="T6" fmla="*/ 9 w 111"/>
                <a:gd name="T7" fmla="*/ 169 h 170"/>
                <a:gd name="T8" fmla="*/ 3 w 111"/>
                <a:gd name="T9" fmla="*/ 169 h 170"/>
                <a:gd name="T10" fmla="*/ 0 w 111"/>
                <a:gd name="T11" fmla="*/ 164 h 170"/>
                <a:gd name="T12" fmla="*/ 0 w 111"/>
                <a:gd name="T13" fmla="*/ 6 h 170"/>
                <a:gd name="T14" fmla="*/ 6 w 111"/>
                <a:gd name="T15" fmla="*/ 0 h 170"/>
                <a:gd name="T16" fmla="*/ 105 w 111"/>
                <a:gd name="T17" fmla="*/ 0 h 170"/>
                <a:gd name="T18" fmla="*/ 111 w 111"/>
                <a:gd name="T19" fmla="*/ 6 h 170"/>
                <a:gd name="T20" fmla="*/ 111 w 111"/>
                <a:gd name="T21" fmla="*/ 164 h 170"/>
                <a:gd name="T22" fmla="*/ 108 w 111"/>
                <a:gd name="T23" fmla="*/ 169 h 170"/>
                <a:gd name="T24" fmla="*/ 105 w 111"/>
                <a:gd name="T25" fmla="*/ 170 h 170"/>
                <a:gd name="T26" fmla="*/ 55 w 111"/>
                <a:gd name="T27" fmla="*/ 125 h 170"/>
                <a:gd name="T28" fmla="*/ 58 w 111"/>
                <a:gd name="T29" fmla="*/ 126 h 170"/>
                <a:gd name="T30" fmla="*/ 99 w 111"/>
                <a:gd name="T31" fmla="*/ 153 h 170"/>
                <a:gd name="T32" fmla="*/ 99 w 111"/>
                <a:gd name="T33" fmla="*/ 12 h 170"/>
                <a:gd name="T34" fmla="*/ 12 w 111"/>
                <a:gd name="T35" fmla="*/ 12 h 170"/>
                <a:gd name="T36" fmla="*/ 12 w 111"/>
                <a:gd name="T37" fmla="*/ 152 h 170"/>
                <a:gd name="T38" fmla="*/ 51 w 111"/>
                <a:gd name="T39" fmla="*/ 126 h 170"/>
                <a:gd name="T40" fmla="*/ 55 w 111"/>
                <a:gd name="T41" fmla="*/ 12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 h="170">
                  <a:moveTo>
                    <a:pt x="105" y="170"/>
                  </a:moveTo>
                  <a:cubicBezTo>
                    <a:pt x="104" y="170"/>
                    <a:pt x="103" y="169"/>
                    <a:pt x="102" y="169"/>
                  </a:cubicBezTo>
                  <a:cubicBezTo>
                    <a:pt x="55" y="138"/>
                    <a:pt x="55" y="138"/>
                    <a:pt x="55" y="138"/>
                  </a:cubicBezTo>
                  <a:cubicBezTo>
                    <a:pt x="9" y="169"/>
                    <a:pt x="9" y="169"/>
                    <a:pt x="9" y="169"/>
                  </a:cubicBezTo>
                  <a:cubicBezTo>
                    <a:pt x="7" y="170"/>
                    <a:pt x="5" y="170"/>
                    <a:pt x="3" y="169"/>
                  </a:cubicBezTo>
                  <a:cubicBezTo>
                    <a:pt x="1" y="168"/>
                    <a:pt x="0" y="166"/>
                    <a:pt x="0" y="164"/>
                  </a:cubicBezTo>
                  <a:cubicBezTo>
                    <a:pt x="0" y="6"/>
                    <a:pt x="0" y="6"/>
                    <a:pt x="0" y="6"/>
                  </a:cubicBezTo>
                  <a:cubicBezTo>
                    <a:pt x="0" y="3"/>
                    <a:pt x="3" y="0"/>
                    <a:pt x="6" y="0"/>
                  </a:cubicBezTo>
                  <a:cubicBezTo>
                    <a:pt x="105" y="0"/>
                    <a:pt x="105" y="0"/>
                    <a:pt x="105" y="0"/>
                  </a:cubicBezTo>
                  <a:cubicBezTo>
                    <a:pt x="108" y="0"/>
                    <a:pt x="111" y="3"/>
                    <a:pt x="111" y="6"/>
                  </a:cubicBezTo>
                  <a:cubicBezTo>
                    <a:pt x="111" y="164"/>
                    <a:pt x="111" y="164"/>
                    <a:pt x="111" y="164"/>
                  </a:cubicBezTo>
                  <a:cubicBezTo>
                    <a:pt x="111" y="166"/>
                    <a:pt x="110" y="168"/>
                    <a:pt x="108" y="169"/>
                  </a:cubicBezTo>
                  <a:cubicBezTo>
                    <a:pt x="107" y="169"/>
                    <a:pt x="106" y="170"/>
                    <a:pt x="105" y="170"/>
                  </a:cubicBezTo>
                  <a:close/>
                  <a:moveTo>
                    <a:pt x="55" y="125"/>
                  </a:moveTo>
                  <a:cubicBezTo>
                    <a:pt x="56" y="125"/>
                    <a:pt x="57" y="125"/>
                    <a:pt x="58" y="126"/>
                  </a:cubicBezTo>
                  <a:cubicBezTo>
                    <a:pt x="99" y="153"/>
                    <a:pt x="99" y="153"/>
                    <a:pt x="99" y="153"/>
                  </a:cubicBezTo>
                  <a:cubicBezTo>
                    <a:pt x="99" y="12"/>
                    <a:pt x="99" y="12"/>
                    <a:pt x="99" y="12"/>
                  </a:cubicBezTo>
                  <a:cubicBezTo>
                    <a:pt x="12" y="12"/>
                    <a:pt x="12" y="12"/>
                    <a:pt x="12" y="12"/>
                  </a:cubicBezTo>
                  <a:cubicBezTo>
                    <a:pt x="12" y="152"/>
                    <a:pt x="12" y="152"/>
                    <a:pt x="12" y="152"/>
                  </a:cubicBezTo>
                  <a:cubicBezTo>
                    <a:pt x="51" y="126"/>
                    <a:pt x="51" y="126"/>
                    <a:pt x="51" y="126"/>
                  </a:cubicBezTo>
                  <a:cubicBezTo>
                    <a:pt x="52" y="125"/>
                    <a:pt x="53" y="125"/>
                    <a:pt x="55" y="1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5" name="Freeform 322">
              <a:extLst>
                <a:ext uri="{FF2B5EF4-FFF2-40B4-BE49-F238E27FC236}">
                  <a16:creationId xmlns:a16="http://schemas.microsoft.com/office/drawing/2014/main" id="{A8C34CF4-8818-44CC-9AEC-CE88814ABFBA}"/>
                </a:ext>
              </a:extLst>
            </p:cNvPr>
            <p:cNvSpPr>
              <a:spLocks/>
            </p:cNvSpPr>
            <p:nvPr/>
          </p:nvSpPr>
          <p:spPr bwMode="auto">
            <a:xfrm>
              <a:off x="6630" y="1356"/>
              <a:ext cx="137" cy="0"/>
            </a:xfrm>
            <a:custGeom>
              <a:avLst/>
              <a:gdLst>
                <a:gd name="T0" fmla="*/ 0 w 137"/>
                <a:gd name="T1" fmla="*/ 137 w 137"/>
                <a:gd name="T2" fmla="*/ 0 w 137"/>
              </a:gdLst>
              <a:ahLst/>
              <a:cxnLst>
                <a:cxn ang="0">
                  <a:pos x="T0" y="0"/>
                </a:cxn>
                <a:cxn ang="0">
                  <a:pos x="T1" y="0"/>
                </a:cxn>
                <a:cxn ang="0">
                  <a:pos x="T2" y="0"/>
                </a:cxn>
              </a:cxnLst>
              <a:rect l="0" t="0" r="r" b="b"/>
              <a:pathLst>
                <a:path w="137">
                  <a:moveTo>
                    <a:pt x="0" y="0"/>
                  </a:moveTo>
                  <a:lnTo>
                    <a:pt x="137"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6" name="Line 323">
              <a:extLst>
                <a:ext uri="{FF2B5EF4-FFF2-40B4-BE49-F238E27FC236}">
                  <a16:creationId xmlns:a16="http://schemas.microsoft.com/office/drawing/2014/main" id="{3B31041E-2738-497A-AA61-32747160DA65}"/>
                </a:ext>
              </a:extLst>
            </p:cNvPr>
            <p:cNvSpPr>
              <a:spLocks noChangeShapeType="1"/>
            </p:cNvSpPr>
            <p:nvPr/>
          </p:nvSpPr>
          <p:spPr bwMode="auto">
            <a:xfrm>
              <a:off x="6630" y="1356"/>
              <a:ext cx="137"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7" name="Freeform 324">
              <a:extLst>
                <a:ext uri="{FF2B5EF4-FFF2-40B4-BE49-F238E27FC236}">
                  <a16:creationId xmlns:a16="http://schemas.microsoft.com/office/drawing/2014/main" id="{23814405-93B9-4E38-855D-19B386AF5C58}"/>
                </a:ext>
              </a:extLst>
            </p:cNvPr>
            <p:cNvSpPr>
              <a:spLocks/>
            </p:cNvSpPr>
            <p:nvPr/>
          </p:nvSpPr>
          <p:spPr bwMode="auto">
            <a:xfrm>
              <a:off x="6626" y="1351"/>
              <a:ext cx="145" cy="9"/>
            </a:xfrm>
            <a:custGeom>
              <a:avLst/>
              <a:gdLst>
                <a:gd name="T0" fmla="*/ 187 w 193"/>
                <a:gd name="T1" fmla="*/ 12 h 12"/>
                <a:gd name="T2" fmla="*/ 6 w 193"/>
                <a:gd name="T3" fmla="*/ 12 h 12"/>
                <a:gd name="T4" fmla="*/ 0 w 193"/>
                <a:gd name="T5" fmla="*/ 6 h 12"/>
                <a:gd name="T6" fmla="*/ 6 w 193"/>
                <a:gd name="T7" fmla="*/ 0 h 12"/>
                <a:gd name="T8" fmla="*/ 187 w 193"/>
                <a:gd name="T9" fmla="*/ 0 h 12"/>
                <a:gd name="T10" fmla="*/ 193 w 193"/>
                <a:gd name="T11" fmla="*/ 6 h 12"/>
                <a:gd name="T12" fmla="*/ 187 w 19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3" h="12">
                  <a:moveTo>
                    <a:pt x="187" y="12"/>
                  </a:moveTo>
                  <a:cubicBezTo>
                    <a:pt x="6" y="12"/>
                    <a:pt x="6" y="12"/>
                    <a:pt x="6" y="12"/>
                  </a:cubicBezTo>
                  <a:cubicBezTo>
                    <a:pt x="3" y="12"/>
                    <a:pt x="0" y="9"/>
                    <a:pt x="0" y="6"/>
                  </a:cubicBezTo>
                  <a:cubicBezTo>
                    <a:pt x="0" y="3"/>
                    <a:pt x="3" y="0"/>
                    <a:pt x="6" y="0"/>
                  </a:cubicBezTo>
                  <a:cubicBezTo>
                    <a:pt x="187" y="0"/>
                    <a:pt x="187" y="0"/>
                    <a:pt x="187" y="0"/>
                  </a:cubicBezTo>
                  <a:cubicBezTo>
                    <a:pt x="190" y="0"/>
                    <a:pt x="193" y="3"/>
                    <a:pt x="193" y="6"/>
                  </a:cubicBezTo>
                  <a:cubicBezTo>
                    <a:pt x="193" y="9"/>
                    <a:pt x="190" y="12"/>
                    <a:pt x="18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8" name="Freeform 325">
              <a:extLst>
                <a:ext uri="{FF2B5EF4-FFF2-40B4-BE49-F238E27FC236}">
                  <a16:creationId xmlns:a16="http://schemas.microsoft.com/office/drawing/2014/main" id="{7189A68B-63EE-4CB4-A6AB-365A50CD9278}"/>
                </a:ext>
              </a:extLst>
            </p:cNvPr>
            <p:cNvSpPr>
              <a:spLocks/>
            </p:cNvSpPr>
            <p:nvPr/>
          </p:nvSpPr>
          <p:spPr bwMode="auto">
            <a:xfrm>
              <a:off x="6630" y="1398"/>
              <a:ext cx="137" cy="0"/>
            </a:xfrm>
            <a:custGeom>
              <a:avLst/>
              <a:gdLst>
                <a:gd name="T0" fmla="*/ 0 w 137"/>
                <a:gd name="T1" fmla="*/ 137 w 137"/>
                <a:gd name="T2" fmla="*/ 0 w 137"/>
              </a:gdLst>
              <a:ahLst/>
              <a:cxnLst>
                <a:cxn ang="0">
                  <a:pos x="T0" y="0"/>
                </a:cxn>
                <a:cxn ang="0">
                  <a:pos x="T1" y="0"/>
                </a:cxn>
                <a:cxn ang="0">
                  <a:pos x="T2" y="0"/>
                </a:cxn>
              </a:cxnLst>
              <a:rect l="0" t="0" r="r" b="b"/>
              <a:pathLst>
                <a:path w="137">
                  <a:moveTo>
                    <a:pt x="0" y="0"/>
                  </a:moveTo>
                  <a:lnTo>
                    <a:pt x="137"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9" name="Line 326">
              <a:extLst>
                <a:ext uri="{FF2B5EF4-FFF2-40B4-BE49-F238E27FC236}">
                  <a16:creationId xmlns:a16="http://schemas.microsoft.com/office/drawing/2014/main" id="{B426B8E1-EB2C-44B1-A84A-C0E3B9BB98D8}"/>
                </a:ext>
              </a:extLst>
            </p:cNvPr>
            <p:cNvSpPr>
              <a:spLocks noChangeShapeType="1"/>
            </p:cNvSpPr>
            <p:nvPr/>
          </p:nvSpPr>
          <p:spPr bwMode="auto">
            <a:xfrm>
              <a:off x="6630" y="1398"/>
              <a:ext cx="137"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0" name="Freeform 327">
              <a:extLst>
                <a:ext uri="{FF2B5EF4-FFF2-40B4-BE49-F238E27FC236}">
                  <a16:creationId xmlns:a16="http://schemas.microsoft.com/office/drawing/2014/main" id="{6969A5AC-E19E-4F27-8712-9A4A78DCB8A0}"/>
                </a:ext>
              </a:extLst>
            </p:cNvPr>
            <p:cNvSpPr>
              <a:spLocks/>
            </p:cNvSpPr>
            <p:nvPr/>
          </p:nvSpPr>
          <p:spPr bwMode="auto">
            <a:xfrm>
              <a:off x="6626" y="1394"/>
              <a:ext cx="145" cy="9"/>
            </a:xfrm>
            <a:custGeom>
              <a:avLst/>
              <a:gdLst>
                <a:gd name="T0" fmla="*/ 187 w 193"/>
                <a:gd name="T1" fmla="*/ 12 h 12"/>
                <a:gd name="T2" fmla="*/ 6 w 193"/>
                <a:gd name="T3" fmla="*/ 12 h 12"/>
                <a:gd name="T4" fmla="*/ 0 w 193"/>
                <a:gd name="T5" fmla="*/ 6 h 12"/>
                <a:gd name="T6" fmla="*/ 6 w 193"/>
                <a:gd name="T7" fmla="*/ 0 h 12"/>
                <a:gd name="T8" fmla="*/ 187 w 193"/>
                <a:gd name="T9" fmla="*/ 0 h 12"/>
                <a:gd name="T10" fmla="*/ 193 w 193"/>
                <a:gd name="T11" fmla="*/ 6 h 12"/>
                <a:gd name="T12" fmla="*/ 187 w 19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3" h="12">
                  <a:moveTo>
                    <a:pt x="187" y="12"/>
                  </a:moveTo>
                  <a:cubicBezTo>
                    <a:pt x="6" y="12"/>
                    <a:pt x="6" y="12"/>
                    <a:pt x="6" y="12"/>
                  </a:cubicBezTo>
                  <a:cubicBezTo>
                    <a:pt x="3" y="12"/>
                    <a:pt x="0" y="9"/>
                    <a:pt x="0" y="6"/>
                  </a:cubicBezTo>
                  <a:cubicBezTo>
                    <a:pt x="0" y="3"/>
                    <a:pt x="3" y="0"/>
                    <a:pt x="6" y="0"/>
                  </a:cubicBezTo>
                  <a:cubicBezTo>
                    <a:pt x="187" y="0"/>
                    <a:pt x="187" y="0"/>
                    <a:pt x="187" y="0"/>
                  </a:cubicBezTo>
                  <a:cubicBezTo>
                    <a:pt x="190" y="0"/>
                    <a:pt x="193" y="3"/>
                    <a:pt x="193" y="6"/>
                  </a:cubicBezTo>
                  <a:cubicBezTo>
                    <a:pt x="193" y="9"/>
                    <a:pt x="190" y="12"/>
                    <a:pt x="18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1" name="Freeform 328">
              <a:extLst>
                <a:ext uri="{FF2B5EF4-FFF2-40B4-BE49-F238E27FC236}">
                  <a16:creationId xmlns:a16="http://schemas.microsoft.com/office/drawing/2014/main" id="{ED0769E8-DB76-40C8-8D3E-E69D353DCFF1}"/>
                </a:ext>
              </a:extLst>
            </p:cNvPr>
            <p:cNvSpPr>
              <a:spLocks/>
            </p:cNvSpPr>
            <p:nvPr/>
          </p:nvSpPr>
          <p:spPr bwMode="auto">
            <a:xfrm>
              <a:off x="6630" y="1441"/>
              <a:ext cx="100" cy="0"/>
            </a:xfrm>
            <a:custGeom>
              <a:avLst/>
              <a:gdLst>
                <a:gd name="T0" fmla="*/ 0 w 100"/>
                <a:gd name="T1" fmla="*/ 100 w 100"/>
                <a:gd name="T2" fmla="*/ 0 w 100"/>
              </a:gdLst>
              <a:ahLst/>
              <a:cxnLst>
                <a:cxn ang="0">
                  <a:pos x="T0" y="0"/>
                </a:cxn>
                <a:cxn ang="0">
                  <a:pos x="T1" y="0"/>
                </a:cxn>
                <a:cxn ang="0">
                  <a:pos x="T2" y="0"/>
                </a:cxn>
              </a:cxnLst>
              <a:rect l="0" t="0" r="r" b="b"/>
              <a:pathLst>
                <a:path w="100">
                  <a:moveTo>
                    <a:pt x="0" y="0"/>
                  </a:moveTo>
                  <a:lnTo>
                    <a:pt x="10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2" name="Line 329">
              <a:extLst>
                <a:ext uri="{FF2B5EF4-FFF2-40B4-BE49-F238E27FC236}">
                  <a16:creationId xmlns:a16="http://schemas.microsoft.com/office/drawing/2014/main" id="{977D69D3-6F20-46CC-9EC8-9A06D1798F97}"/>
                </a:ext>
              </a:extLst>
            </p:cNvPr>
            <p:cNvSpPr>
              <a:spLocks noChangeShapeType="1"/>
            </p:cNvSpPr>
            <p:nvPr/>
          </p:nvSpPr>
          <p:spPr bwMode="auto">
            <a:xfrm>
              <a:off x="6630" y="1441"/>
              <a:ext cx="10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3" name="Freeform 330">
              <a:extLst>
                <a:ext uri="{FF2B5EF4-FFF2-40B4-BE49-F238E27FC236}">
                  <a16:creationId xmlns:a16="http://schemas.microsoft.com/office/drawing/2014/main" id="{BDC9FC00-0A7F-498A-9951-B88D1B4427A3}"/>
                </a:ext>
              </a:extLst>
            </p:cNvPr>
            <p:cNvSpPr>
              <a:spLocks/>
            </p:cNvSpPr>
            <p:nvPr/>
          </p:nvSpPr>
          <p:spPr bwMode="auto">
            <a:xfrm>
              <a:off x="6626" y="1436"/>
              <a:ext cx="109" cy="9"/>
            </a:xfrm>
            <a:custGeom>
              <a:avLst/>
              <a:gdLst>
                <a:gd name="T0" fmla="*/ 139 w 145"/>
                <a:gd name="T1" fmla="*/ 12 h 12"/>
                <a:gd name="T2" fmla="*/ 6 w 145"/>
                <a:gd name="T3" fmla="*/ 12 h 12"/>
                <a:gd name="T4" fmla="*/ 0 w 145"/>
                <a:gd name="T5" fmla="*/ 6 h 12"/>
                <a:gd name="T6" fmla="*/ 6 w 145"/>
                <a:gd name="T7" fmla="*/ 0 h 12"/>
                <a:gd name="T8" fmla="*/ 139 w 145"/>
                <a:gd name="T9" fmla="*/ 0 h 12"/>
                <a:gd name="T10" fmla="*/ 145 w 145"/>
                <a:gd name="T11" fmla="*/ 6 h 12"/>
                <a:gd name="T12" fmla="*/ 139 w 14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5" h="12">
                  <a:moveTo>
                    <a:pt x="139" y="12"/>
                  </a:moveTo>
                  <a:cubicBezTo>
                    <a:pt x="6" y="12"/>
                    <a:pt x="6" y="12"/>
                    <a:pt x="6" y="12"/>
                  </a:cubicBezTo>
                  <a:cubicBezTo>
                    <a:pt x="3" y="12"/>
                    <a:pt x="0" y="9"/>
                    <a:pt x="0" y="6"/>
                  </a:cubicBezTo>
                  <a:cubicBezTo>
                    <a:pt x="0" y="2"/>
                    <a:pt x="3" y="0"/>
                    <a:pt x="6" y="0"/>
                  </a:cubicBezTo>
                  <a:cubicBezTo>
                    <a:pt x="139" y="0"/>
                    <a:pt x="139" y="0"/>
                    <a:pt x="139" y="0"/>
                  </a:cubicBezTo>
                  <a:cubicBezTo>
                    <a:pt x="142" y="0"/>
                    <a:pt x="145" y="2"/>
                    <a:pt x="145" y="6"/>
                  </a:cubicBezTo>
                  <a:cubicBezTo>
                    <a:pt x="145" y="9"/>
                    <a:pt x="142" y="12"/>
                    <a:pt x="13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4" name="Freeform 331">
              <a:extLst>
                <a:ext uri="{FF2B5EF4-FFF2-40B4-BE49-F238E27FC236}">
                  <a16:creationId xmlns:a16="http://schemas.microsoft.com/office/drawing/2014/main" id="{B2F8B367-46EA-4AD1-A084-55EF41E19522}"/>
                </a:ext>
              </a:extLst>
            </p:cNvPr>
            <p:cNvSpPr>
              <a:spLocks noEditPoints="1"/>
            </p:cNvSpPr>
            <p:nvPr/>
          </p:nvSpPr>
          <p:spPr bwMode="auto">
            <a:xfrm>
              <a:off x="6703" y="1406"/>
              <a:ext cx="191" cy="192"/>
            </a:xfrm>
            <a:custGeom>
              <a:avLst/>
              <a:gdLst>
                <a:gd name="T0" fmla="*/ 127 w 254"/>
                <a:gd name="T1" fmla="*/ 254 h 254"/>
                <a:gd name="T2" fmla="*/ 0 w 254"/>
                <a:gd name="T3" fmla="*/ 127 h 254"/>
                <a:gd name="T4" fmla="*/ 127 w 254"/>
                <a:gd name="T5" fmla="*/ 0 h 254"/>
                <a:gd name="T6" fmla="*/ 254 w 254"/>
                <a:gd name="T7" fmla="*/ 127 h 254"/>
                <a:gd name="T8" fmla="*/ 127 w 254"/>
                <a:gd name="T9" fmla="*/ 254 h 254"/>
                <a:gd name="T10" fmla="*/ 127 w 254"/>
                <a:gd name="T11" fmla="*/ 12 h 254"/>
                <a:gd name="T12" fmla="*/ 12 w 254"/>
                <a:gd name="T13" fmla="*/ 127 h 254"/>
                <a:gd name="T14" fmla="*/ 127 w 254"/>
                <a:gd name="T15" fmla="*/ 242 h 254"/>
                <a:gd name="T16" fmla="*/ 242 w 254"/>
                <a:gd name="T17" fmla="*/ 127 h 254"/>
                <a:gd name="T18" fmla="*/ 127 w 254"/>
                <a:gd name="T19" fmla="*/ 1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4" h="254">
                  <a:moveTo>
                    <a:pt x="127" y="254"/>
                  </a:moveTo>
                  <a:cubicBezTo>
                    <a:pt x="57" y="254"/>
                    <a:pt x="0" y="197"/>
                    <a:pt x="0" y="127"/>
                  </a:cubicBezTo>
                  <a:cubicBezTo>
                    <a:pt x="0" y="57"/>
                    <a:pt x="57" y="0"/>
                    <a:pt x="127" y="0"/>
                  </a:cubicBezTo>
                  <a:cubicBezTo>
                    <a:pt x="197" y="0"/>
                    <a:pt x="254" y="57"/>
                    <a:pt x="254" y="127"/>
                  </a:cubicBezTo>
                  <a:cubicBezTo>
                    <a:pt x="254" y="197"/>
                    <a:pt x="197" y="254"/>
                    <a:pt x="127" y="254"/>
                  </a:cubicBezTo>
                  <a:close/>
                  <a:moveTo>
                    <a:pt x="127" y="12"/>
                  </a:moveTo>
                  <a:cubicBezTo>
                    <a:pt x="64" y="12"/>
                    <a:pt x="12" y="64"/>
                    <a:pt x="12" y="127"/>
                  </a:cubicBezTo>
                  <a:cubicBezTo>
                    <a:pt x="12" y="190"/>
                    <a:pt x="64" y="242"/>
                    <a:pt x="127" y="242"/>
                  </a:cubicBezTo>
                  <a:cubicBezTo>
                    <a:pt x="190" y="242"/>
                    <a:pt x="242" y="190"/>
                    <a:pt x="242" y="127"/>
                  </a:cubicBezTo>
                  <a:cubicBezTo>
                    <a:pt x="242" y="64"/>
                    <a:pt x="190" y="12"/>
                    <a:pt x="12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5" name="Freeform 332">
              <a:extLst>
                <a:ext uri="{FF2B5EF4-FFF2-40B4-BE49-F238E27FC236}">
                  <a16:creationId xmlns:a16="http://schemas.microsoft.com/office/drawing/2014/main" id="{4314D3A3-2082-4858-942D-DF3C07FA0AA1}"/>
                </a:ext>
              </a:extLst>
            </p:cNvPr>
            <p:cNvSpPr>
              <a:spLocks/>
            </p:cNvSpPr>
            <p:nvPr/>
          </p:nvSpPr>
          <p:spPr bwMode="auto">
            <a:xfrm>
              <a:off x="6744" y="1444"/>
              <a:ext cx="84" cy="117"/>
            </a:xfrm>
            <a:custGeom>
              <a:avLst/>
              <a:gdLst>
                <a:gd name="T0" fmla="*/ 112 w 112"/>
                <a:gd name="T1" fmla="*/ 145 h 155"/>
                <a:gd name="T2" fmla="*/ 78 w 112"/>
                <a:gd name="T3" fmla="*/ 155 h 155"/>
                <a:gd name="T4" fmla="*/ 31 w 112"/>
                <a:gd name="T5" fmla="*/ 134 h 155"/>
                <a:gd name="T6" fmla="*/ 14 w 112"/>
                <a:gd name="T7" fmla="*/ 94 h 155"/>
                <a:gd name="T8" fmla="*/ 0 w 112"/>
                <a:gd name="T9" fmla="*/ 94 h 155"/>
                <a:gd name="T10" fmla="*/ 0 w 112"/>
                <a:gd name="T11" fmla="*/ 83 h 155"/>
                <a:gd name="T12" fmla="*/ 13 w 112"/>
                <a:gd name="T13" fmla="*/ 83 h 155"/>
                <a:gd name="T14" fmla="*/ 13 w 112"/>
                <a:gd name="T15" fmla="*/ 80 h 155"/>
                <a:gd name="T16" fmla="*/ 14 w 112"/>
                <a:gd name="T17" fmla="*/ 69 h 155"/>
                <a:gd name="T18" fmla="*/ 0 w 112"/>
                <a:gd name="T19" fmla="*/ 69 h 155"/>
                <a:gd name="T20" fmla="*/ 0 w 112"/>
                <a:gd name="T21" fmla="*/ 58 h 155"/>
                <a:gd name="T22" fmla="*/ 15 w 112"/>
                <a:gd name="T23" fmla="*/ 58 h 155"/>
                <a:gd name="T24" fmla="*/ 34 w 112"/>
                <a:gd name="T25" fmla="*/ 19 h 155"/>
                <a:gd name="T26" fmla="*/ 80 w 112"/>
                <a:gd name="T27" fmla="*/ 0 h 155"/>
                <a:gd name="T28" fmla="*/ 110 w 112"/>
                <a:gd name="T29" fmla="*/ 7 h 155"/>
                <a:gd name="T30" fmla="*/ 106 w 112"/>
                <a:gd name="T31" fmla="*/ 22 h 155"/>
                <a:gd name="T32" fmla="*/ 80 w 112"/>
                <a:gd name="T33" fmla="*/ 16 h 155"/>
                <a:gd name="T34" fmla="*/ 50 w 112"/>
                <a:gd name="T35" fmla="*/ 28 h 155"/>
                <a:gd name="T36" fmla="*/ 36 w 112"/>
                <a:gd name="T37" fmla="*/ 58 h 155"/>
                <a:gd name="T38" fmla="*/ 100 w 112"/>
                <a:gd name="T39" fmla="*/ 58 h 155"/>
                <a:gd name="T40" fmla="*/ 100 w 112"/>
                <a:gd name="T41" fmla="*/ 69 h 155"/>
                <a:gd name="T42" fmla="*/ 34 w 112"/>
                <a:gd name="T43" fmla="*/ 69 h 155"/>
                <a:gd name="T44" fmla="*/ 33 w 112"/>
                <a:gd name="T45" fmla="*/ 79 h 155"/>
                <a:gd name="T46" fmla="*/ 33 w 112"/>
                <a:gd name="T47" fmla="*/ 83 h 155"/>
                <a:gd name="T48" fmla="*/ 100 w 112"/>
                <a:gd name="T49" fmla="*/ 83 h 155"/>
                <a:gd name="T50" fmla="*/ 100 w 112"/>
                <a:gd name="T51" fmla="*/ 94 h 155"/>
                <a:gd name="T52" fmla="*/ 35 w 112"/>
                <a:gd name="T53" fmla="*/ 94 h 155"/>
                <a:gd name="T54" fmla="*/ 47 w 112"/>
                <a:gd name="T55" fmla="*/ 125 h 155"/>
                <a:gd name="T56" fmla="*/ 80 w 112"/>
                <a:gd name="T57" fmla="*/ 138 h 155"/>
                <a:gd name="T58" fmla="*/ 108 w 112"/>
                <a:gd name="T59" fmla="*/ 130 h 155"/>
                <a:gd name="T60" fmla="*/ 112 w 112"/>
                <a:gd name="T61" fmla="*/ 14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2" h="155">
                  <a:moveTo>
                    <a:pt x="112" y="145"/>
                  </a:moveTo>
                  <a:cubicBezTo>
                    <a:pt x="105" y="150"/>
                    <a:pt x="93" y="155"/>
                    <a:pt x="78" y="155"/>
                  </a:cubicBezTo>
                  <a:cubicBezTo>
                    <a:pt x="59" y="155"/>
                    <a:pt x="42" y="147"/>
                    <a:pt x="31" y="134"/>
                  </a:cubicBezTo>
                  <a:cubicBezTo>
                    <a:pt x="22" y="124"/>
                    <a:pt x="16" y="111"/>
                    <a:pt x="14" y="94"/>
                  </a:cubicBezTo>
                  <a:cubicBezTo>
                    <a:pt x="0" y="94"/>
                    <a:pt x="0" y="94"/>
                    <a:pt x="0" y="94"/>
                  </a:cubicBezTo>
                  <a:cubicBezTo>
                    <a:pt x="0" y="83"/>
                    <a:pt x="0" y="83"/>
                    <a:pt x="0" y="83"/>
                  </a:cubicBezTo>
                  <a:cubicBezTo>
                    <a:pt x="13" y="83"/>
                    <a:pt x="13" y="83"/>
                    <a:pt x="13" y="83"/>
                  </a:cubicBezTo>
                  <a:cubicBezTo>
                    <a:pt x="13" y="82"/>
                    <a:pt x="13" y="81"/>
                    <a:pt x="13" y="80"/>
                  </a:cubicBezTo>
                  <a:cubicBezTo>
                    <a:pt x="13" y="76"/>
                    <a:pt x="13" y="72"/>
                    <a:pt x="14" y="69"/>
                  </a:cubicBezTo>
                  <a:cubicBezTo>
                    <a:pt x="0" y="69"/>
                    <a:pt x="0" y="69"/>
                    <a:pt x="0" y="69"/>
                  </a:cubicBezTo>
                  <a:cubicBezTo>
                    <a:pt x="0" y="58"/>
                    <a:pt x="0" y="58"/>
                    <a:pt x="0" y="58"/>
                  </a:cubicBezTo>
                  <a:cubicBezTo>
                    <a:pt x="15" y="58"/>
                    <a:pt x="15" y="58"/>
                    <a:pt x="15" y="58"/>
                  </a:cubicBezTo>
                  <a:cubicBezTo>
                    <a:pt x="18" y="42"/>
                    <a:pt x="25" y="28"/>
                    <a:pt x="34" y="19"/>
                  </a:cubicBezTo>
                  <a:cubicBezTo>
                    <a:pt x="46" y="7"/>
                    <a:pt x="61" y="0"/>
                    <a:pt x="80" y="0"/>
                  </a:cubicBezTo>
                  <a:cubicBezTo>
                    <a:pt x="93" y="0"/>
                    <a:pt x="104" y="4"/>
                    <a:pt x="110" y="7"/>
                  </a:cubicBezTo>
                  <a:cubicBezTo>
                    <a:pt x="106" y="22"/>
                    <a:pt x="106" y="22"/>
                    <a:pt x="106" y="22"/>
                  </a:cubicBezTo>
                  <a:cubicBezTo>
                    <a:pt x="100" y="19"/>
                    <a:pt x="90" y="16"/>
                    <a:pt x="80" y="16"/>
                  </a:cubicBezTo>
                  <a:cubicBezTo>
                    <a:pt x="68" y="16"/>
                    <a:pt x="57" y="20"/>
                    <a:pt x="50" y="28"/>
                  </a:cubicBezTo>
                  <a:cubicBezTo>
                    <a:pt x="43" y="35"/>
                    <a:pt x="38" y="46"/>
                    <a:pt x="36" y="58"/>
                  </a:cubicBezTo>
                  <a:cubicBezTo>
                    <a:pt x="100" y="58"/>
                    <a:pt x="100" y="58"/>
                    <a:pt x="100" y="58"/>
                  </a:cubicBezTo>
                  <a:cubicBezTo>
                    <a:pt x="100" y="69"/>
                    <a:pt x="100" y="69"/>
                    <a:pt x="100" y="69"/>
                  </a:cubicBezTo>
                  <a:cubicBezTo>
                    <a:pt x="34" y="69"/>
                    <a:pt x="34" y="69"/>
                    <a:pt x="34" y="69"/>
                  </a:cubicBezTo>
                  <a:cubicBezTo>
                    <a:pt x="33" y="72"/>
                    <a:pt x="33" y="76"/>
                    <a:pt x="33" y="79"/>
                  </a:cubicBezTo>
                  <a:cubicBezTo>
                    <a:pt x="33" y="80"/>
                    <a:pt x="33" y="81"/>
                    <a:pt x="33" y="83"/>
                  </a:cubicBezTo>
                  <a:cubicBezTo>
                    <a:pt x="100" y="83"/>
                    <a:pt x="100" y="83"/>
                    <a:pt x="100" y="83"/>
                  </a:cubicBezTo>
                  <a:cubicBezTo>
                    <a:pt x="100" y="94"/>
                    <a:pt x="100" y="94"/>
                    <a:pt x="100" y="94"/>
                  </a:cubicBezTo>
                  <a:cubicBezTo>
                    <a:pt x="35" y="94"/>
                    <a:pt x="35" y="94"/>
                    <a:pt x="35" y="94"/>
                  </a:cubicBezTo>
                  <a:cubicBezTo>
                    <a:pt x="37" y="108"/>
                    <a:pt x="41" y="118"/>
                    <a:pt x="47" y="125"/>
                  </a:cubicBezTo>
                  <a:cubicBezTo>
                    <a:pt x="56" y="134"/>
                    <a:pt x="68" y="138"/>
                    <a:pt x="80" y="138"/>
                  </a:cubicBezTo>
                  <a:cubicBezTo>
                    <a:pt x="92" y="138"/>
                    <a:pt x="103" y="133"/>
                    <a:pt x="108" y="130"/>
                  </a:cubicBezTo>
                  <a:lnTo>
                    <a:pt x="112" y="1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8901108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DI VDE IT_Masterfolien_16-9">
  <a:themeElements>
    <a:clrScheme name="VDI | VDE c_neu">
      <a:dk1>
        <a:sysClr val="windowText" lastClr="000000"/>
      </a:dk1>
      <a:lt1>
        <a:sysClr val="window" lastClr="FFFFFF"/>
      </a:lt1>
      <a:dk2>
        <a:srgbClr val="5C2483"/>
      </a:dk2>
      <a:lt2>
        <a:srgbClr val="FFFFFF"/>
      </a:lt2>
      <a:accent1>
        <a:srgbClr val="09673D"/>
      </a:accent1>
      <a:accent2>
        <a:srgbClr val="A27E7D"/>
      </a:accent2>
      <a:accent3>
        <a:srgbClr val="004169"/>
      </a:accent3>
      <a:accent4>
        <a:srgbClr val="E49B00"/>
      </a:accent4>
      <a:accent5>
        <a:srgbClr val="878787"/>
      </a:accent5>
      <a:accent6>
        <a:srgbClr val="5C2483"/>
      </a:accent6>
      <a:hlink>
        <a:srgbClr val="5C2482"/>
      </a:hlink>
      <a:folHlink>
        <a:srgbClr val="DCC8C8"/>
      </a:folHlink>
    </a:clrScheme>
    <a:fontScheme name="VDEVDI-IT_c_neu">
      <a:majorFont>
        <a:latin typeface="Arial"/>
        <a:ea typeface="Arabic Typesetting"/>
        <a:cs typeface="Arial"/>
      </a:majorFont>
      <a:minorFont>
        <a:latin typeface="Arial"/>
        <a:ea typeface="Arial"/>
        <a:cs typeface="Arial"/>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DIVDE-IT_Masterfolien.pptx" id="{415344E2-2F2C-4B91-A216-C4EC8696C73E}" vid="{C406DD8D-DCD7-4EC5-90F7-5F328475DD1E}"/>
    </a:ext>
  </a:extLst>
</a:theme>
</file>

<file path=ppt/theme/theme2.xml><?xml version="1.0" encoding="utf-8"?>
<a:theme xmlns:a="http://schemas.openxmlformats.org/drawingml/2006/main" name="colour palette new PPT">
  <a:themeElements>
    <a:clrScheme name="EC Colour Palette 2024">
      <a:dk1>
        <a:sysClr val="windowText" lastClr="000000"/>
      </a:dk1>
      <a:lt1>
        <a:sysClr val="window" lastClr="FFFFFF"/>
      </a:lt1>
      <a:dk2>
        <a:srgbClr val="003399"/>
      </a:dk2>
      <a:lt2>
        <a:srgbClr val="C6E5DF"/>
      </a:lt2>
      <a:accent1>
        <a:srgbClr val="44BA7E"/>
      </a:accent1>
      <a:accent2>
        <a:srgbClr val="000083"/>
      </a:accent2>
      <a:accent3>
        <a:srgbClr val="48038C"/>
      </a:accent3>
      <a:accent4>
        <a:srgbClr val="FF712C"/>
      </a:accent4>
      <a:accent5>
        <a:srgbClr val="FFD34E"/>
      </a:accent5>
      <a:accent6>
        <a:srgbClr val="DD0C86"/>
      </a:accent6>
      <a:hlink>
        <a:srgbClr val="003399"/>
      </a:hlink>
      <a:folHlink>
        <a:srgbClr val="003399"/>
      </a:folHlink>
    </a:clrScheme>
    <a:fontScheme name="EC revam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lour palette new PPT" id="{E6BB5664-7BDD-4A65-BCFB-018F3705D2C3}" vid="{6B9E8826-94D2-4F42-A051-4126D816BAA4}"/>
    </a:ext>
  </a:extLst>
</a:theme>
</file>

<file path=ppt/theme/theme3.xml><?xml version="1.0" encoding="utf-8"?>
<a:theme xmlns:a="http://schemas.openxmlformats.org/drawingml/2006/main" name="4_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Ubuntu">
      <a:majorFont>
        <a:latin typeface="Ubuntu"/>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none" lIns="91440" tIns="45720" rIns="91440" bIns="45720" rtlCol="0" anchor="t">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mi2-factory_PP_Vorlage_V04" id="{3B2C743F-CFD9-43A1-BE7A-44428D8CF179}" vid="{6D91A79B-EB44-47D0-B945-F8030B446010}"/>
    </a:ext>
  </a:extLst>
</a:theme>
</file>

<file path=ppt/theme/theme4.xml><?xml version="1.0" encoding="utf-8"?>
<a:theme xmlns:a="http://schemas.openxmlformats.org/drawingml/2006/main" name="3_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Ubuntu">
      <a:majorFont>
        <a:latin typeface="Ubuntu"/>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none" lIns="91440" tIns="45720" rIns="91440" bIns="45720" rtlCol="0" anchor="t">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mi2-factory_PP_Vorlage_V04_Confidential" id="{50ED3689-A166-47D4-9FCE-873BF8940BB0}" vid="{33B8C630-6C0A-4348-BDFD-D0C04D4D4449}"/>
    </a:ext>
  </a:extLst>
</a:theme>
</file>

<file path=ppt/theme/theme5.xml><?xml version="1.0" encoding="utf-8"?>
<a:theme xmlns:a="http://schemas.openxmlformats.org/drawingml/2006/main" name="1_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Ubuntu">
      <a:majorFont>
        <a:latin typeface="Ubuntu"/>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none" lIns="91440" tIns="45720" rIns="91440" bIns="45720" rtlCol="0" anchor="t">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mi2-factory_PP_Vorlage_V04" id="{3B2C743F-CFD9-43A1-BE7A-44428D8CF179}" vid="{6D91A79B-EB44-47D0-B945-F8030B446010}"/>
    </a:ext>
  </a:extLst>
</a:theme>
</file>

<file path=ppt/theme/theme6.xml><?xml version="1.0" encoding="utf-8"?>
<a:theme xmlns:a="http://schemas.openxmlformats.org/drawingml/2006/main" name="Office Theme">
  <a:themeElements>
    <a:clrScheme name="VDIVDEIT_c">
      <a:dk1>
        <a:sysClr val="windowText" lastClr="000000"/>
      </a:dk1>
      <a:lt1>
        <a:sysClr val="window" lastClr="FFFFFF"/>
      </a:lt1>
      <a:dk2>
        <a:srgbClr val="5C2483"/>
      </a:dk2>
      <a:lt2>
        <a:srgbClr val="FFFFFF"/>
      </a:lt2>
      <a:accent1>
        <a:srgbClr val="5C2483"/>
      </a:accent1>
      <a:accent2>
        <a:srgbClr val="E49B00"/>
      </a:accent2>
      <a:accent3>
        <a:srgbClr val="09673D"/>
      </a:accent3>
      <a:accent4>
        <a:srgbClr val="878787"/>
      </a:accent4>
      <a:accent5>
        <a:srgbClr val="004169"/>
      </a:accent5>
      <a:accent6>
        <a:srgbClr val="A27E7D"/>
      </a:accent6>
      <a:hlink>
        <a:srgbClr val="5C2482"/>
      </a:hlink>
      <a:folHlink>
        <a:srgbClr val="DCC8C8"/>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a:themeElements>
    <a:clrScheme name="VDIVDEIT_c">
      <a:dk1>
        <a:sysClr val="windowText" lastClr="000000"/>
      </a:dk1>
      <a:lt1>
        <a:sysClr val="window" lastClr="FFFFFF"/>
      </a:lt1>
      <a:dk2>
        <a:srgbClr val="5C2483"/>
      </a:dk2>
      <a:lt2>
        <a:srgbClr val="FFFFFF"/>
      </a:lt2>
      <a:accent1>
        <a:srgbClr val="5C2483"/>
      </a:accent1>
      <a:accent2>
        <a:srgbClr val="E49B00"/>
      </a:accent2>
      <a:accent3>
        <a:srgbClr val="09673D"/>
      </a:accent3>
      <a:accent4>
        <a:srgbClr val="878787"/>
      </a:accent4>
      <a:accent5>
        <a:srgbClr val="004169"/>
      </a:accent5>
      <a:accent6>
        <a:srgbClr val="A27E7D"/>
      </a:accent6>
      <a:hlink>
        <a:srgbClr val="5C2482"/>
      </a:hlink>
      <a:folHlink>
        <a:srgbClr val="DCC8C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3446</Words>
  <Application>Microsoft Office PowerPoint</Application>
  <PresentationFormat>Breitbild</PresentationFormat>
  <Paragraphs>413</Paragraphs>
  <Slides>42</Slides>
  <Notes>9</Notes>
  <HiddenSlides>0</HiddenSlides>
  <MMClips>0</MMClips>
  <ScaleCrop>false</ScaleCrop>
  <HeadingPairs>
    <vt:vector size="8" baseType="variant">
      <vt:variant>
        <vt:lpstr>Verwendete Schriftarten</vt:lpstr>
      </vt:variant>
      <vt:variant>
        <vt:i4>10</vt:i4>
      </vt:variant>
      <vt:variant>
        <vt:lpstr>Design</vt:lpstr>
      </vt:variant>
      <vt:variant>
        <vt:i4>5</vt:i4>
      </vt:variant>
      <vt:variant>
        <vt:lpstr>Eingebettete OLE-Server</vt:lpstr>
      </vt:variant>
      <vt:variant>
        <vt:i4>1</vt:i4>
      </vt:variant>
      <vt:variant>
        <vt:lpstr>Folientitel</vt:lpstr>
      </vt:variant>
      <vt:variant>
        <vt:i4>42</vt:i4>
      </vt:variant>
    </vt:vector>
  </HeadingPairs>
  <TitlesOfParts>
    <vt:vector size="58" baseType="lpstr">
      <vt:lpstr>Aptos</vt:lpstr>
      <vt:lpstr>Arabic Typesetting</vt:lpstr>
      <vt:lpstr>Arial</vt:lpstr>
      <vt:lpstr>Calibri</vt:lpstr>
      <vt:lpstr>EC Square Sans Pro</vt:lpstr>
      <vt:lpstr>Symbol</vt:lpstr>
      <vt:lpstr>Times New Roman</vt:lpstr>
      <vt:lpstr>Ubuntu</vt:lpstr>
      <vt:lpstr>Ubuntu Medium</vt:lpstr>
      <vt:lpstr>Wingdings</vt:lpstr>
      <vt:lpstr>VDI VDE IT_Masterfolien_16-9</vt:lpstr>
      <vt:lpstr>colour palette new PPT</vt:lpstr>
      <vt:lpstr>4_Office</vt:lpstr>
      <vt:lpstr>3_Office</vt:lpstr>
      <vt:lpstr>1_Office</vt:lpstr>
      <vt:lpstr>think-cell Folie</vt:lpstr>
      <vt:lpstr>Online Informationsveranstaltung: Vorstellung IPCEI-Instrument im Rahmen der Mikroelektronik</vt:lpstr>
      <vt:lpstr>PowerPoint-Präsentation</vt:lpstr>
      <vt:lpstr>Vorstellung   Förderinstrument Important Project of Common European Interest (IPCEI)</vt:lpstr>
      <vt:lpstr>IPCEI | Hintergründe</vt:lpstr>
      <vt:lpstr>IPCEI | Beispiele</vt:lpstr>
      <vt:lpstr>IPCEI | Förderpolitische Ziele </vt:lpstr>
      <vt:lpstr>Teilnahme IPCEI | Motivation</vt:lpstr>
      <vt:lpstr>IPCEI | Anforderungen der KOM</vt:lpstr>
      <vt:lpstr>IPCEI-Förderung | Vorbereitung</vt:lpstr>
      <vt:lpstr>IPCEI-Förderung | Vorbereitung</vt:lpstr>
      <vt:lpstr>IPCEI Mikroelektronik |  Erfolge in Deutschland</vt:lpstr>
      <vt:lpstr>IPCEI-Instrument aus wettbewerbsrechtlicher Sicht </vt:lpstr>
      <vt:lpstr>Important Projects of Common European Interest (IPCEI)</vt:lpstr>
      <vt:lpstr>Beihilferecht und Beihilfekontrolle</vt:lpstr>
      <vt:lpstr>Der allgemeine EU-Beihilfetatbestand</vt:lpstr>
      <vt:lpstr>Die förmliche Beihilfekontrolle</vt:lpstr>
      <vt:lpstr>Wichtige Vorhaben von gemeinsamem europäischem Interesse</vt:lpstr>
      <vt:lpstr>Wie funktioniert das IPCEI-Verfahren?</vt:lpstr>
      <vt:lpstr>Rechtsgrundlage</vt:lpstr>
      <vt:lpstr>Kriterien – IPCEI und Einzelprojekte</vt:lpstr>
      <vt:lpstr>Vereinbarkeitskriterien – Einzelprüfung </vt:lpstr>
      <vt:lpstr>Phasen eines einzelnen FEI-Projekts</vt:lpstr>
      <vt:lpstr>Marktversagen Punkt 15</vt:lpstr>
      <vt:lpstr>Was ist ein Marktversagen und was nicht?</vt:lpstr>
      <vt:lpstr>Spill-over-Aktivitäten</vt:lpstr>
      <vt:lpstr>Prüfung der EU-Kommission</vt:lpstr>
      <vt:lpstr>Anmeldefreiheit  Art. 25 AGVO</vt:lpstr>
      <vt:lpstr>Erfolgreiche IPCEI-Projekte</vt:lpstr>
      <vt:lpstr>Exkurs: Joint European Forum IPCEI (JEF-IPCEI)</vt:lpstr>
      <vt:lpstr>Weitere Informationen:</vt:lpstr>
      <vt:lpstr>Vielen Dank</vt:lpstr>
      <vt:lpstr>geplantes IPCEI Advanced SemiConductor Technologies (AST)</vt:lpstr>
      <vt:lpstr>IPCEI AST | Einleitung</vt:lpstr>
      <vt:lpstr>IPCEI AST | Themenfindung Eu</vt:lpstr>
      <vt:lpstr>PowerPoint-Präsentation</vt:lpstr>
      <vt:lpstr>IPCEI AST | Themenfindung DEU</vt:lpstr>
      <vt:lpstr>IPCEI AST  Zeitplan und nächste Schritte</vt:lpstr>
      <vt:lpstr>IPCEI AST | Zeitplan</vt:lpstr>
      <vt:lpstr>IPCEI AST | Nächste Schritte  EU-Ebene</vt:lpstr>
      <vt:lpstr>IPCEI AST | Nächste Schritte  National</vt:lpstr>
      <vt:lpstr>IPCEI AST | Abfragebogen  Projektideen</vt:lpstr>
      <vt:lpstr>Schlusswort</vt:lpstr>
    </vt:vector>
  </TitlesOfParts>
  <Company>VDIVDE-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Wenzel, Marita</dc:creator>
  <cp:lastModifiedBy>Bielke, Tatjana</cp:lastModifiedBy>
  <cp:revision>284</cp:revision>
  <cp:lastPrinted>2018-03-22T11:43:43Z</cp:lastPrinted>
  <dcterms:created xsi:type="dcterms:W3CDTF">2021-09-09T08:26:17Z</dcterms:created>
  <dcterms:modified xsi:type="dcterms:W3CDTF">2025-07-22T07:36:19Z</dcterms:modified>
</cp:coreProperties>
</file>